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0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6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7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40"/>
  </p:notesMasterIdLst>
  <p:sldIdLst>
    <p:sldId id="256" r:id="rId6"/>
    <p:sldId id="260" r:id="rId7"/>
    <p:sldId id="1908" r:id="rId8"/>
    <p:sldId id="1909" r:id="rId9"/>
    <p:sldId id="591" r:id="rId10"/>
    <p:sldId id="378" r:id="rId11"/>
    <p:sldId id="264" r:id="rId12"/>
    <p:sldId id="405" r:id="rId13"/>
    <p:sldId id="396" r:id="rId14"/>
    <p:sldId id="379" r:id="rId15"/>
    <p:sldId id="395" r:id="rId16"/>
    <p:sldId id="366" r:id="rId17"/>
    <p:sldId id="381" r:id="rId18"/>
    <p:sldId id="1910" r:id="rId19"/>
    <p:sldId id="380" r:id="rId20"/>
    <p:sldId id="383" r:id="rId21"/>
    <p:sldId id="384" r:id="rId22"/>
    <p:sldId id="385" r:id="rId23"/>
    <p:sldId id="386" r:id="rId24"/>
    <p:sldId id="399" r:id="rId25"/>
    <p:sldId id="1912" r:id="rId26"/>
    <p:sldId id="1913" r:id="rId27"/>
    <p:sldId id="387" r:id="rId28"/>
    <p:sldId id="312" r:id="rId29"/>
    <p:sldId id="337" r:id="rId30"/>
    <p:sldId id="382" r:id="rId31"/>
    <p:sldId id="388" r:id="rId32"/>
    <p:sldId id="389" r:id="rId33"/>
    <p:sldId id="656" r:id="rId34"/>
    <p:sldId id="268" r:id="rId35"/>
    <p:sldId id="354" r:id="rId36"/>
    <p:sldId id="398" r:id="rId37"/>
    <p:sldId id="364" r:id="rId38"/>
    <p:sldId id="402" r:id="rId39"/>
  </p:sldIdLst>
  <p:sldSz cx="9215438" cy="5184775"/>
  <p:notesSz cx="6858000" cy="9144000"/>
  <p:custDataLst>
    <p:tags r:id="rId41"/>
  </p:custDataLst>
  <p:defaultTextStyle>
    <a:defPPr>
      <a:defRPr lang="nb-NO"/>
    </a:defPPr>
    <a:lvl1pPr marL="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1pPr>
    <a:lvl2pPr marL="345597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2pPr>
    <a:lvl3pPr marL="691195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3pPr>
    <a:lvl4pPr marL="1036792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4pPr>
    <a:lvl5pPr marL="138239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5pPr>
    <a:lvl6pPr marL="1727987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6pPr>
    <a:lvl7pPr marL="2073585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7pPr>
    <a:lvl8pPr marL="2419182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8pPr>
    <a:lvl9pPr marL="276478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tin H. Lind" initials="KHL" lastIdx="23" clrIdx="0">
    <p:extLst>
      <p:ext uri="{19B8F6BF-5375-455C-9EA6-DF929625EA0E}">
        <p15:presenceInfo xmlns:p15="http://schemas.microsoft.com/office/powerpoint/2012/main" userId="S::khl@energinorge.no::2509cb82-547e-4a6b-af51-dcaab903011a" providerId="AD"/>
      </p:ext>
    </p:extLst>
  </p:cmAuthor>
  <p:cmAuthor id="2" name="Kristine Fiksen" initials="KF" lastIdx="8" clrIdx="1">
    <p:extLst>
      <p:ext uri="{19B8F6BF-5375-455C-9EA6-DF929625EA0E}">
        <p15:presenceInfo xmlns:p15="http://schemas.microsoft.com/office/powerpoint/2012/main" userId="S::jp07@thema.no::d0d98e75-72fc-4cd4-b0ce-59c1ca83214a" providerId="AD"/>
      </p:ext>
    </p:extLst>
  </p:cmAuthor>
  <p:cmAuthor id="3" name="Ketil Sagen" initials="KS" lastIdx="5" clrIdx="2">
    <p:extLst>
      <p:ext uri="{19B8F6BF-5375-455C-9EA6-DF929625EA0E}">
        <p15:presenceInfo xmlns:p15="http://schemas.microsoft.com/office/powerpoint/2012/main" userId="S::ks@energinorge.no::0bd6a6f5-f7cc-4d2f-bd9c-abc00035ed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B006"/>
    <a:srgbClr val="1E4B50"/>
    <a:srgbClr val="004D72"/>
    <a:srgbClr val="C7DFE3"/>
    <a:srgbClr val="656565"/>
    <a:srgbClr val="72AEB8"/>
    <a:srgbClr val="B7CF73"/>
    <a:srgbClr val="0033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31" autoAdjust="0"/>
    <p:restoredTop sz="94660"/>
  </p:normalViewPr>
  <p:slideViewPr>
    <p:cSldViewPr snapToGrid="0">
      <p:cViewPr varScale="1">
        <p:scale>
          <a:sx n="213" d="100"/>
          <a:sy n="213" d="100"/>
        </p:scale>
        <p:origin x="7818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JP-SXD9E-001\Groups\3%20Projects\ENO-19-06%20-%20Oppdatert%20tariff-presentasjon%20-%20KFI\2%20Work%20documents\1%20Data%20and%20models\191210_Excelgrunnlag%20for%20oppdaterte%20figur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\\jpsvxd1e001\Groups\3%20Projects\ENO-15-27_tariffutvikling%20i%20nord\2%20Work%20documents\1%20Data%20and%20models\Regneeksempel%20fra%20EnergiNorge%20-%20str&#248;mregningen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JP-SXD9E-001\Groups\3%20Projects\ENO-19-06%20-%20Oppdatert%20tariff-presentasjon%20-%20KFI\2%20Work%20documents\1%20Data%20and%20models\20-02-10_Excelgrunnlag%20for%20oppdaterte%20figur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JP-SXD9E-001\Groups\3%20Projects\ENO-19-06%20-%20Oppdatert%20tariff-presentasjon%20-%20KFI\2%20Work%20documents\1%20Data%20and%20models\20-02-10_Excelgrunnlag%20for%20oppdaterte%20figur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jpsvxd1e001\Groups\3%20Projects\ENO-16-09%20-Nasjonal%20utgave%20av%20tarifforklaring%20-%20KFI\ENO-15-27_tariffutvikling%20i%20nord\2%20Work%20documents\1%20Data%20and%20models\THEMA_nettleiestatisitkk%202011-2016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milde\AppData\Local\Microsoft\Windows\INetCache\Content.Outlook\JL7J4STS\Pris%20KraftNettogAvg%20p&#229;%20fylker%202008-2015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milde\AppData\Local\Microsoft\Windows\INetCache\Content.Outlook\JL7J4STS\Pris%20KraftNettogAvg%20p&#229;%20fylker%202008-2015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A6A-43AF-8971-135F4ED8049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A6A-43AF-8971-135F4ED8049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A6A-43AF-8971-135F4ED80494}"/>
              </c:ext>
            </c:extLst>
          </c:dPt>
          <c:dLbls>
            <c:dLbl>
              <c:idx val="0"/>
              <c:layout>
                <c:manualLayout>
                  <c:x val="-0.17160192475940508"/>
                  <c:y val="4.607283464566928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6A-43AF-8971-135F4ED80494}"/>
                </c:ext>
              </c:extLst>
            </c:dLbl>
            <c:dLbl>
              <c:idx val="1"/>
              <c:layout>
                <c:manualLayout>
                  <c:x val="5.4757983377077865E-2"/>
                  <c:y val="-0.224652595508894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6A-43AF-8971-135F4ED80494}"/>
                </c:ext>
              </c:extLst>
            </c:dLbl>
            <c:dLbl>
              <c:idx val="2"/>
              <c:layout>
                <c:manualLayout>
                  <c:x val="0.15378762029746282"/>
                  <c:y val="0.10887795275590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6A-43AF-8971-135F4ED804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lide 9'!$N$14:$N$16</c:f>
              <c:strCache>
                <c:ptCount val="3"/>
                <c:pt idx="0">
                  <c:v>Avgifter %</c:v>
                </c:pt>
                <c:pt idx="1">
                  <c:v>Kraftpris %</c:v>
                </c:pt>
                <c:pt idx="2">
                  <c:v>Nettleie %</c:v>
                </c:pt>
              </c:strCache>
            </c:strRef>
          </c:cat>
          <c:val>
            <c:numRef>
              <c:f>'Slide 9'!$O$14:$O$16</c:f>
              <c:numCache>
                <c:formatCode>0%</c:formatCode>
                <c:ptCount val="3"/>
                <c:pt idx="0">
                  <c:v>0.38932538607423456</c:v>
                </c:pt>
                <c:pt idx="1">
                  <c:v>0.28718504470333239</c:v>
                </c:pt>
                <c:pt idx="2">
                  <c:v>0.32348956922243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A6A-43AF-8971-135F4ED80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nb-NO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71023972992319"/>
          <c:y val="0.11228074588965174"/>
          <c:w val="0.73201654638199187"/>
          <c:h val="0.74988097444061363"/>
        </c:manualLayout>
      </c:layout>
      <c:scatterChart>
        <c:scatterStyle val="lineMarker"/>
        <c:varyColors val="0"/>
        <c:ser>
          <c:idx val="0"/>
          <c:order val="0"/>
          <c:tx>
            <c:v>1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Slide 40'!$C$27:$C$118</c:f>
              <c:numCache>
                <c:formatCode>#,##0</c:formatCode>
                <c:ptCount val="92"/>
                <c:pt idx="0">
                  <c:v>825104.24473393802</c:v>
                </c:pt>
                <c:pt idx="1">
                  <c:v>82840.47235355161</c:v>
                </c:pt>
                <c:pt idx="2">
                  <c:v>28009.161902129737</c:v>
                </c:pt>
                <c:pt idx="3">
                  <c:v>17910.256454774903</c:v>
                </c:pt>
                <c:pt idx="4">
                  <c:v>30324.837516776308</c:v>
                </c:pt>
                <c:pt idx="5">
                  <c:v>22148.611853523747</c:v>
                </c:pt>
                <c:pt idx="6">
                  <c:v>10651.737305437535</c:v>
                </c:pt>
                <c:pt idx="7">
                  <c:v>869486.12211002083</c:v>
                </c:pt>
                <c:pt idx="8">
                  <c:v>23298.85696026697</c:v>
                </c:pt>
                <c:pt idx="9">
                  <c:v>847974.88101085706</c:v>
                </c:pt>
                <c:pt idx="10">
                  <c:v>14820.722513122502</c:v>
                </c:pt>
                <c:pt idx="11">
                  <c:v>46579.644864212009</c:v>
                </c:pt>
                <c:pt idx="12">
                  <c:v>24623.913837101947</c:v>
                </c:pt>
                <c:pt idx="13">
                  <c:v>14706.301988606039</c:v>
                </c:pt>
                <c:pt idx="14">
                  <c:v>23199.55909428485</c:v>
                </c:pt>
                <c:pt idx="15">
                  <c:v>65172.172723426746</c:v>
                </c:pt>
                <c:pt idx="16">
                  <c:v>25392.64056067495</c:v>
                </c:pt>
                <c:pt idx="17">
                  <c:v>34038.935291399699</c:v>
                </c:pt>
                <c:pt idx="18">
                  <c:v>354410.98950118921</c:v>
                </c:pt>
                <c:pt idx="19">
                  <c:v>93216.328092601689</c:v>
                </c:pt>
                <c:pt idx="20">
                  <c:v>120501.47444775808</c:v>
                </c:pt>
                <c:pt idx="21">
                  <c:v>54489.965229068541</c:v>
                </c:pt>
                <c:pt idx="22">
                  <c:v>48928.92374262774</c:v>
                </c:pt>
                <c:pt idx="23">
                  <c:v>339608.51935510308</c:v>
                </c:pt>
                <c:pt idx="24">
                  <c:v>324831.86846283497</c:v>
                </c:pt>
                <c:pt idx="25">
                  <c:v>37545.359700280242</c:v>
                </c:pt>
                <c:pt idx="26">
                  <c:v>17530.095228842445</c:v>
                </c:pt>
                <c:pt idx="27">
                  <c:v>20629.735003820242</c:v>
                </c:pt>
                <c:pt idx="28">
                  <c:v>138571.15371055994</c:v>
                </c:pt>
                <c:pt idx="29">
                  <c:v>49329.333004723623</c:v>
                </c:pt>
                <c:pt idx="30">
                  <c:v>142060.00397845637</c:v>
                </c:pt>
                <c:pt idx="31">
                  <c:v>50051.866080255146</c:v>
                </c:pt>
                <c:pt idx="32">
                  <c:v>14955.504549150224</c:v>
                </c:pt>
                <c:pt idx="33">
                  <c:v>42658.187281870858</c:v>
                </c:pt>
                <c:pt idx="34">
                  <c:v>27294.550879813341</c:v>
                </c:pt>
                <c:pt idx="35">
                  <c:v>47382.275507649763</c:v>
                </c:pt>
                <c:pt idx="36">
                  <c:v>155889.95083937081</c:v>
                </c:pt>
                <c:pt idx="37">
                  <c:v>38766.213980016473</c:v>
                </c:pt>
                <c:pt idx="38">
                  <c:v>25807.880852178605</c:v>
                </c:pt>
                <c:pt idx="39">
                  <c:v>615636.01251497655</c:v>
                </c:pt>
                <c:pt idx="40">
                  <c:v>15679.380210707595</c:v>
                </c:pt>
                <c:pt idx="41">
                  <c:v>37618.133771120498</c:v>
                </c:pt>
                <c:pt idx="42">
                  <c:v>71965.922026846514</c:v>
                </c:pt>
                <c:pt idx="43">
                  <c:v>60178.583253809629</c:v>
                </c:pt>
                <c:pt idx="44">
                  <c:v>22537.796523555662</c:v>
                </c:pt>
                <c:pt idx="45">
                  <c:v>3272.5590511843698</c:v>
                </c:pt>
                <c:pt idx="46">
                  <c:v>317756.83215099043</c:v>
                </c:pt>
                <c:pt idx="47">
                  <c:v>19737.408023861855</c:v>
                </c:pt>
                <c:pt idx="48">
                  <c:v>59076.737487054445</c:v>
                </c:pt>
                <c:pt idx="49">
                  <c:v>18538.15296211444</c:v>
                </c:pt>
                <c:pt idx="50">
                  <c:v>237839.26744555001</c:v>
                </c:pt>
                <c:pt idx="51">
                  <c:v>143955.46239060551</c:v>
                </c:pt>
                <c:pt idx="52">
                  <c:v>51781.471643533157</c:v>
                </c:pt>
                <c:pt idx="53">
                  <c:v>76831.562156141823</c:v>
                </c:pt>
                <c:pt idx="54">
                  <c:v>76662.459881408693</c:v>
                </c:pt>
                <c:pt idx="55">
                  <c:v>16012.650485724062</c:v>
                </c:pt>
                <c:pt idx="56">
                  <c:v>337335.28856898984</c:v>
                </c:pt>
                <c:pt idx="57">
                  <c:v>53554.088986951319</c:v>
                </c:pt>
                <c:pt idx="58">
                  <c:v>476045.73879350594</c:v>
                </c:pt>
                <c:pt idx="59">
                  <c:v>37130.371493959654</c:v>
                </c:pt>
                <c:pt idx="60">
                  <c:v>33917.028685147656</c:v>
                </c:pt>
                <c:pt idx="61">
                  <c:v>25295.336664766863</c:v>
                </c:pt>
                <c:pt idx="62">
                  <c:v>21843.311843907504</c:v>
                </c:pt>
                <c:pt idx="63">
                  <c:v>40736.43514466504</c:v>
                </c:pt>
                <c:pt idx="64">
                  <c:v>45698.89906640102</c:v>
                </c:pt>
                <c:pt idx="65">
                  <c:v>118164.6455963693</c:v>
                </c:pt>
                <c:pt idx="66">
                  <c:v>12422.60024606148</c:v>
                </c:pt>
                <c:pt idx="67">
                  <c:v>32511.184888792461</c:v>
                </c:pt>
                <c:pt idx="68">
                  <c:v>202128.31311424109</c:v>
                </c:pt>
                <c:pt idx="69">
                  <c:v>839854.48861706676</c:v>
                </c:pt>
                <c:pt idx="70">
                  <c:v>30087.055371606701</c:v>
                </c:pt>
                <c:pt idx="71">
                  <c:v>57366.801888974631</c:v>
                </c:pt>
                <c:pt idx="72">
                  <c:v>64207.866017106862</c:v>
                </c:pt>
                <c:pt idx="73">
                  <c:v>28654.696343669246</c:v>
                </c:pt>
                <c:pt idx="74">
                  <c:v>34442.069912734063</c:v>
                </c:pt>
                <c:pt idx="75">
                  <c:v>125949.84796170407</c:v>
                </c:pt>
                <c:pt idx="76">
                  <c:v>53999.986873952585</c:v>
                </c:pt>
                <c:pt idx="77">
                  <c:v>26810.183818839934</c:v>
                </c:pt>
                <c:pt idx="78">
                  <c:v>44988.351512496753</c:v>
                </c:pt>
                <c:pt idx="79">
                  <c:v>412350.19094597141</c:v>
                </c:pt>
                <c:pt idx="80">
                  <c:v>559190.13328577299</c:v>
                </c:pt>
                <c:pt idx="81">
                  <c:v>25983.539273846938</c:v>
                </c:pt>
                <c:pt idx="82">
                  <c:v>12658.320951168924</c:v>
                </c:pt>
                <c:pt idx="83">
                  <c:v>71493.6042135397</c:v>
                </c:pt>
                <c:pt idx="84">
                  <c:v>18965.105076446613</c:v>
                </c:pt>
                <c:pt idx="85">
                  <c:v>120725.71408570738</c:v>
                </c:pt>
                <c:pt idx="86">
                  <c:v>81961.398080907587</c:v>
                </c:pt>
                <c:pt idx="87">
                  <c:v>95418.850085820945</c:v>
                </c:pt>
                <c:pt idx="88">
                  <c:v>79156.838495038668</c:v>
                </c:pt>
                <c:pt idx="89">
                  <c:v>73352.502543699738</c:v>
                </c:pt>
                <c:pt idx="90">
                  <c:v>14963.052708342764</c:v>
                </c:pt>
                <c:pt idx="91">
                  <c:v>68677.359266718384</c:v>
                </c:pt>
              </c:numCache>
            </c:numRef>
          </c:xVal>
          <c:yVal>
            <c:numRef>
              <c:f>'Slide 40'!$E$27:$E$118</c:f>
              <c:numCache>
                <c:formatCode>0.00%</c:formatCode>
                <c:ptCount val="92"/>
                <c:pt idx="0">
                  <c:v>1.9029110685357002E-2</c:v>
                </c:pt>
                <c:pt idx="1">
                  <c:v>2.8355705046861572E-2</c:v>
                </c:pt>
                <c:pt idx="2">
                  <c:v>2.977597126662276E-2</c:v>
                </c:pt>
                <c:pt idx="3">
                  <c:v>0.10061274133903225</c:v>
                </c:pt>
                <c:pt idx="4">
                  <c:v>1.9851713951211165E-2</c:v>
                </c:pt>
                <c:pt idx="5">
                  <c:v>4.1673040554600478E-2</c:v>
                </c:pt>
                <c:pt idx="6">
                  <c:v>6.4872046708029124E-2</c:v>
                </c:pt>
                <c:pt idx="7">
                  <c:v>2.1391945802265997E-4</c:v>
                </c:pt>
                <c:pt idx="8">
                  <c:v>7.9102593021751488E-2</c:v>
                </c:pt>
                <c:pt idx="9">
                  <c:v>1.9839031057082228E-2</c:v>
                </c:pt>
                <c:pt idx="10">
                  <c:v>3.4681170202390352E-2</c:v>
                </c:pt>
                <c:pt idx="11">
                  <c:v>1.1378360688344549E-2</c:v>
                </c:pt>
                <c:pt idx="12">
                  <c:v>1.2954886136717572E-2</c:v>
                </c:pt>
                <c:pt idx="13">
                  <c:v>1.8971458645154985E-2</c:v>
                </c:pt>
                <c:pt idx="14">
                  <c:v>2.0819361179971123E-2</c:v>
                </c:pt>
                <c:pt idx="15">
                  <c:v>1.20450180989259E-2</c:v>
                </c:pt>
                <c:pt idx="16">
                  <c:v>2.0478374384006091E-2</c:v>
                </c:pt>
                <c:pt idx="17">
                  <c:v>3.7692130761920857E-2</c:v>
                </c:pt>
                <c:pt idx="18">
                  <c:v>3.019093740591838E-4</c:v>
                </c:pt>
                <c:pt idx="19">
                  <c:v>2.2034766247813833E-2</c:v>
                </c:pt>
                <c:pt idx="20">
                  <c:v>6.6264749345136001E-2</c:v>
                </c:pt>
                <c:pt idx="21">
                  <c:v>3.0996532901051956E-2</c:v>
                </c:pt>
                <c:pt idx="22">
                  <c:v>3.0881529459917186E-2</c:v>
                </c:pt>
                <c:pt idx="23">
                  <c:v>3.3947911618627542E-2</c:v>
                </c:pt>
                <c:pt idx="24">
                  <c:v>2.3107338684223912E-2</c:v>
                </c:pt>
                <c:pt idx="25">
                  <c:v>3.414536470642552E-2</c:v>
                </c:pt>
                <c:pt idx="26">
                  <c:v>4.8602131869665811E-2</c:v>
                </c:pt>
                <c:pt idx="27">
                  <c:v>6.7863208118802601E-2</c:v>
                </c:pt>
                <c:pt idx="28">
                  <c:v>3.5411410445852824E-2</c:v>
                </c:pt>
                <c:pt idx="29">
                  <c:v>3.535421814507405E-2</c:v>
                </c:pt>
                <c:pt idx="30">
                  <c:v>1.7767140147220948E-2</c:v>
                </c:pt>
                <c:pt idx="31">
                  <c:v>6.7330156973496418E-3</c:v>
                </c:pt>
                <c:pt idx="32">
                  <c:v>6.1047756496578842E-2</c:v>
                </c:pt>
                <c:pt idx="33">
                  <c:v>3.8609235528860655E-2</c:v>
                </c:pt>
                <c:pt idx="34">
                  <c:v>3.5098580819973232E-2</c:v>
                </c:pt>
                <c:pt idx="35">
                  <c:v>1.9036654325611149E-2</c:v>
                </c:pt>
                <c:pt idx="36">
                  <c:v>2.0713330029381853E-2</c:v>
                </c:pt>
                <c:pt idx="37">
                  <c:v>1.0008715326186081E-2</c:v>
                </c:pt>
                <c:pt idx="38">
                  <c:v>2.8169689877448011E-2</c:v>
                </c:pt>
                <c:pt idx="39">
                  <c:v>9.3837915303232253E-3</c:v>
                </c:pt>
                <c:pt idx="40">
                  <c:v>1.1543823644023468E-2</c:v>
                </c:pt>
                <c:pt idx="41">
                  <c:v>3.2617248039613543E-2</c:v>
                </c:pt>
                <c:pt idx="42">
                  <c:v>3.2612657962256965E-2</c:v>
                </c:pt>
                <c:pt idx="43">
                  <c:v>2.841542468336105E-2</c:v>
                </c:pt>
                <c:pt idx="44">
                  <c:v>8.5633926013256711E-3</c:v>
                </c:pt>
                <c:pt idx="45">
                  <c:v>1.8028704471703069E-2</c:v>
                </c:pt>
                <c:pt idx="46">
                  <c:v>6.0643857347002245E-3</c:v>
                </c:pt>
                <c:pt idx="47">
                  <c:v>3.7036271384583319E-2</c:v>
                </c:pt>
                <c:pt idx="48">
                  <c:v>1.9567769805387707E-2</c:v>
                </c:pt>
                <c:pt idx="49">
                  <c:v>5.4320406248559876E-2</c:v>
                </c:pt>
                <c:pt idx="50">
                  <c:v>2.0820783940287284E-2</c:v>
                </c:pt>
                <c:pt idx="51">
                  <c:v>2.4556206074405226E-2</c:v>
                </c:pt>
                <c:pt idx="52">
                  <c:v>3.4877340150403897E-2</c:v>
                </c:pt>
                <c:pt idx="53">
                  <c:v>6.0782312228786122E-3</c:v>
                </c:pt>
                <c:pt idx="54">
                  <c:v>3.015817655181555E-2</c:v>
                </c:pt>
                <c:pt idx="55">
                  <c:v>3.3785787086424185E-2</c:v>
                </c:pt>
                <c:pt idx="56">
                  <c:v>1.1306258577865871E-2</c:v>
                </c:pt>
                <c:pt idx="57">
                  <c:v>2.0185200055655699E-2</c:v>
                </c:pt>
                <c:pt idx="58">
                  <c:v>2.373511425317297E-2</c:v>
                </c:pt>
                <c:pt idx="59">
                  <c:v>1.5970753217388868E-2</c:v>
                </c:pt>
                <c:pt idx="60">
                  <c:v>2.4736836701954378E-2</c:v>
                </c:pt>
                <c:pt idx="61">
                  <c:v>2.8187013655885312E-2</c:v>
                </c:pt>
                <c:pt idx="62">
                  <c:v>3.3419840600023766E-2</c:v>
                </c:pt>
                <c:pt idx="63">
                  <c:v>2.6708277151308062E-2</c:v>
                </c:pt>
                <c:pt idx="64">
                  <c:v>1.8687539906795749E-2</c:v>
                </c:pt>
                <c:pt idx="65">
                  <c:v>5.3992460839708475E-3</c:v>
                </c:pt>
                <c:pt idx="66">
                  <c:v>2.8174455674927289E-2</c:v>
                </c:pt>
                <c:pt idx="67">
                  <c:v>2.1161947875888501E-2</c:v>
                </c:pt>
                <c:pt idx="68">
                  <c:v>1.6311420944459996E-2</c:v>
                </c:pt>
                <c:pt idx="69">
                  <c:v>4.294791596505497E-3</c:v>
                </c:pt>
                <c:pt idx="70">
                  <c:v>2.0872763793051235E-2</c:v>
                </c:pt>
                <c:pt idx="71">
                  <c:v>3.6676264506987785E-2</c:v>
                </c:pt>
                <c:pt idx="72">
                  <c:v>1.7910578116606558E-2</c:v>
                </c:pt>
                <c:pt idx="73">
                  <c:v>1.5459943971727801E-2</c:v>
                </c:pt>
                <c:pt idx="74">
                  <c:v>1.0307162168228105E-2</c:v>
                </c:pt>
                <c:pt idx="75">
                  <c:v>1.5434714939799584E-2</c:v>
                </c:pt>
                <c:pt idx="76">
                  <c:v>3.3944452695490658E-2</c:v>
                </c:pt>
                <c:pt idx="77">
                  <c:v>5.5202903866700868E-2</c:v>
                </c:pt>
                <c:pt idx="78">
                  <c:v>9.3357499414783718E-3</c:v>
                </c:pt>
                <c:pt idx="79">
                  <c:v>2.704012328555206E-2</c:v>
                </c:pt>
                <c:pt idx="80">
                  <c:v>2.7062351603164485E-2</c:v>
                </c:pt>
                <c:pt idx="81">
                  <c:v>1.7472600449660914E-2</c:v>
                </c:pt>
                <c:pt idx="82">
                  <c:v>3.6734729810833235E-2</c:v>
                </c:pt>
                <c:pt idx="83">
                  <c:v>3.2995958532934681E-2</c:v>
                </c:pt>
                <c:pt idx="84">
                  <c:v>4.4291871656604927E-2</c:v>
                </c:pt>
                <c:pt idx="85">
                  <c:v>2.8709708004206677E-2</c:v>
                </c:pt>
                <c:pt idx="86">
                  <c:v>8.8578284045781469E-3</c:v>
                </c:pt>
                <c:pt idx="87">
                  <c:v>3.2362578224560588E-2</c:v>
                </c:pt>
                <c:pt idx="88">
                  <c:v>2.6921236882566566E-2</c:v>
                </c:pt>
                <c:pt idx="89">
                  <c:v>2.3761970478943212E-2</c:v>
                </c:pt>
                <c:pt idx="90">
                  <c:v>2.9405764223143761E-2</c:v>
                </c:pt>
                <c:pt idx="91">
                  <c:v>3.046127606443657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023-4B6D-8BA5-86D785EEE6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2267208"/>
        <c:axId val="642277704"/>
      </c:scatterChart>
      <c:valAx>
        <c:axId val="6422672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Inntektsramme fra lokalt d-nettet [1000 NOK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42277704"/>
        <c:crosses val="autoZero"/>
        <c:crossBetween val="midCat"/>
      </c:valAx>
      <c:valAx>
        <c:axId val="642277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iendomsskattens</a:t>
                </a:r>
                <a:r>
                  <a:rPr lang="en-US" baseline="0"/>
                  <a:t> andel av faktisk inntekt i lokalt d-nett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0.0\ 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4226720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A71-4F62-97FB-185CB913F3A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A71-4F62-97FB-185CB913F3A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A71-4F62-97FB-185CB913F3A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A71-4F62-97FB-185CB913F3AB}"/>
              </c:ext>
            </c:extLst>
          </c:dPt>
          <c:dLbls>
            <c:dLbl>
              <c:idx val="0"/>
              <c:layout>
                <c:manualLayout>
                  <c:x val="-6.6504023931113446E-2"/>
                  <c:y val="0.1512353897877839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A71-4F62-97FB-185CB913F3AB}"/>
                </c:ext>
              </c:extLst>
            </c:dLbl>
            <c:dLbl>
              <c:idx val="1"/>
              <c:layout>
                <c:manualLayout>
                  <c:x val="-0.14656754368079269"/>
                  <c:y val="-0.1560710689948937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A71-4F62-97FB-185CB913F3AB}"/>
                </c:ext>
              </c:extLst>
            </c:dLbl>
            <c:dLbl>
              <c:idx val="3"/>
              <c:layout>
                <c:manualLayout>
                  <c:x val="0.15039313395677009"/>
                  <c:y val="0.1441303999567144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A71-4F62-97FB-185CB913F3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Eierfordeling i nett'!$A$2:$A$5</c:f>
              <c:strCache>
                <c:ptCount val="4"/>
                <c:pt idx="0">
                  <c:v>Staten</c:v>
                </c:pt>
                <c:pt idx="1">
                  <c:v>Kommuner</c:v>
                </c:pt>
                <c:pt idx="2">
                  <c:v>Fylkeskommuner</c:v>
                </c:pt>
                <c:pt idx="3">
                  <c:v>Private</c:v>
                </c:pt>
              </c:strCache>
            </c:strRef>
          </c:cat>
          <c:val>
            <c:numRef>
              <c:f>'Eierfordeling i nett'!$B$2:$B$5</c:f>
              <c:numCache>
                <c:formatCode>General</c:formatCode>
                <c:ptCount val="4"/>
                <c:pt idx="0">
                  <c:v>12</c:v>
                </c:pt>
                <c:pt idx="1">
                  <c:v>51</c:v>
                </c:pt>
                <c:pt idx="2">
                  <c:v>8</c:v>
                </c:pt>
                <c:pt idx="3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A71-4F62-97FB-185CB913F3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0">
          <a:solidFill>
            <a:schemeClr val="tx1"/>
          </a:solidFill>
        </a:defRPr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61608744311222"/>
          <c:y val="2.6058685390618667E-2"/>
          <c:w val="0.82568096226525189"/>
          <c:h val="0.58187026810009956"/>
        </c:manualLayout>
      </c:layout>
      <c:barChart>
        <c:barDir val="col"/>
        <c:grouping val="stacked"/>
        <c:varyColors val="0"/>
        <c:ser>
          <c:idx val="0"/>
          <c:order val="0"/>
          <c:tx>
            <c:v>Nettlei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Slide 10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0'!$D$7:$AE$7</c:f>
              <c:numCache>
                <c:formatCode>General</c:formatCode>
                <c:ptCount val="28"/>
                <c:pt idx="0">
                  <c:v>18.7</c:v>
                </c:pt>
                <c:pt idx="1">
                  <c:v>18.5</c:v>
                </c:pt>
                <c:pt idx="2">
                  <c:v>18.399999999999999</c:v>
                </c:pt>
                <c:pt idx="3">
                  <c:v>18.5</c:v>
                </c:pt>
                <c:pt idx="4">
                  <c:v>18.600000000000001</c:v>
                </c:pt>
                <c:pt idx="5">
                  <c:v>18.7</c:v>
                </c:pt>
                <c:pt idx="6">
                  <c:v>19.399999999999999</c:v>
                </c:pt>
                <c:pt idx="7">
                  <c:v>19.5</c:v>
                </c:pt>
                <c:pt idx="8">
                  <c:v>19.899999999999999</c:v>
                </c:pt>
                <c:pt idx="9">
                  <c:v>21.6</c:v>
                </c:pt>
                <c:pt idx="10">
                  <c:v>23.6</c:v>
                </c:pt>
                <c:pt idx="11">
                  <c:v>25.3</c:v>
                </c:pt>
                <c:pt idx="12">
                  <c:v>24.9</c:v>
                </c:pt>
                <c:pt idx="13">
                  <c:v>23.8</c:v>
                </c:pt>
                <c:pt idx="14">
                  <c:v>23.4</c:v>
                </c:pt>
                <c:pt idx="15">
                  <c:v>24</c:v>
                </c:pt>
                <c:pt idx="16">
                  <c:v>24.7</c:v>
                </c:pt>
                <c:pt idx="17">
                  <c:v>27.6</c:v>
                </c:pt>
                <c:pt idx="18">
                  <c:v>27.8</c:v>
                </c:pt>
                <c:pt idx="19">
                  <c:v>26.3</c:v>
                </c:pt>
                <c:pt idx="20">
                  <c:v>26.4</c:v>
                </c:pt>
                <c:pt idx="21">
                  <c:v>26</c:v>
                </c:pt>
                <c:pt idx="22">
                  <c:v>26.2</c:v>
                </c:pt>
                <c:pt idx="23">
                  <c:v>27.2</c:v>
                </c:pt>
                <c:pt idx="24">
                  <c:v>27.9</c:v>
                </c:pt>
                <c:pt idx="25">
                  <c:v>28.7</c:v>
                </c:pt>
                <c:pt idx="26">
                  <c:v>30.4</c:v>
                </c:pt>
                <c:pt idx="27">
                  <c:v>29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FB-4DF7-9874-3E5EA9E0775A}"/>
            </c:ext>
          </c:extLst>
        </c:ser>
        <c:ser>
          <c:idx val="1"/>
          <c:order val="1"/>
          <c:tx>
            <c:v>Kraftpris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Slide 10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0'!$D$8:$AE$8</c:f>
              <c:numCache>
                <c:formatCode>General</c:formatCode>
                <c:ptCount val="28"/>
                <c:pt idx="0">
                  <c:v>13</c:v>
                </c:pt>
                <c:pt idx="1">
                  <c:v>13</c:v>
                </c:pt>
                <c:pt idx="2">
                  <c:v>14</c:v>
                </c:pt>
                <c:pt idx="3">
                  <c:v>14.5</c:v>
                </c:pt>
                <c:pt idx="4">
                  <c:v>15.9</c:v>
                </c:pt>
                <c:pt idx="5">
                  <c:v>15.9</c:v>
                </c:pt>
                <c:pt idx="6">
                  <c:v>14.5</c:v>
                </c:pt>
                <c:pt idx="7">
                  <c:v>13.6</c:v>
                </c:pt>
                <c:pt idx="8">
                  <c:v>20.7</c:v>
                </c:pt>
                <c:pt idx="9">
                  <c:v>19.399999999999999</c:v>
                </c:pt>
                <c:pt idx="10">
                  <c:v>37.299999999999997</c:v>
                </c:pt>
                <c:pt idx="11">
                  <c:v>27.7</c:v>
                </c:pt>
                <c:pt idx="12">
                  <c:v>27</c:v>
                </c:pt>
                <c:pt idx="13">
                  <c:v>42.5</c:v>
                </c:pt>
                <c:pt idx="14">
                  <c:v>26.2</c:v>
                </c:pt>
                <c:pt idx="15">
                  <c:v>38.1</c:v>
                </c:pt>
                <c:pt idx="16">
                  <c:v>34.5</c:v>
                </c:pt>
                <c:pt idx="17">
                  <c:v>45.4</c:v>
                </c:pt>
                <c:pt idx="18">
                  <c:v>43.7</c:v>
                </c:pt>
                <c:pt idx="19">
                  <c:v>29.1</c:v>
                </c:pt>
                <c:pt idx="20">
                  <c:v>34.799999999999997</c:v>
                </c:pt>
                <c:pt idx="21">
                  <c:v>30.6</c:v>
                </c:pt>
                <c:pt idx="22">
                  <c:v>26.7</c:v>
                </c:pt>
                <c:pt idx="23">
                  <c:v>31.6</c:v>
                </c:pt>
                <c:pt idx="24">
                  <c:v>34.4</c:v>
                </c:pt>
                <c:pt idx="25">
                  <c:v>48.6</c:v>
                </c:pt>
                <c:pt idx="26">
                  <c:v>47.8</c:v>
                </c:pt>
                <c:pt idx="27">
                  <c:v>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FB-4DF7-9874-3E5EA9E0775A}"/>
            </c:ext>
          </c:extLst>
        </c:ser>
        <c:ser>
          <c:idx val="2"/>
          <c:order val="2"/>
          <c:tx>
            <c:v>El-avgift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Slide 10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0'!$D$9:$AE$9</c:f>
              <c:numCache>
                <c:formatCode>General</c:formatCode>
                <c:ptCount val="28"/>
                <c:pt idx="0">
                  <c:v>5.9</c:v>
                </c:pt>
                <c:pt idx="1">
                  <c:v>5.9</c:v>
                </c:pt>
                <c:pt idx="2">
                  <c:v>6.5</c:v>
                </c:pt>
                <c:pt idx="3">
                  <c:v>6.1</c:v>
                </c:pt>
                <c:pt idx="4">
                  <c:v>7</c:v>
                </c:pt>
                <c:pt idx="5">
                  <c:v>8</c:v>
                </c:pt>
                <c:pt idx="6">
                  <c:v>5.94</c:v>
                </c:pt>
                <c:pt idx="7">
                  <c:v>8.56</c:v>
                </c:pt>
                <c:pt idx="8">
                  <c:v>10.3</c:v>
                </c:pt>
                <c:pt idx="9">
                  <c:v>9.8000000000000007</c:v>
                </c:pt>
                <c:pt idx="10">
                  <c:v>9.5</c:v>
                </c:pt>
                <c:pt idx="11">
                  <c:v>9.6999999999999993</c:v>
                </c:pt>
                <c:pt idx="12">
                  <c:v>9.9</c:v>
                </c:pt>
                <c:pt idx="13">
                  <c:v>10.1</c:v>
                </c:pt>
                <c:pt idx="14">
                  <c:v>10.3</c:v>
                </c:pt>
                <c:pt idx="15">
                  <c:v>10.5</c:v>
                </c:pt>
                <c:pt idx="16">
                  <c:v>10.8</c:v>
                </c:pt>
                <c:pt idx="17">
                  <c:v>11</c:v>
                </c:pt>
                <c:pt idx="18">
                  <c:v>11.2</c:v>
                </c:pt>
                <c:pt idx="19">
                  <c:v>11.4</c:v>
                </c:pt>
                <c:pt idx="20">
                  <c:v>11.6</c:v>
                </c:pt>
                <c:pt idx="21">
                  <c:v>12.4</c:v>
                </c:pt>
                <c:pt idx="22">
                  <c:v>13.9</c:v>
                </c:pt>
                <c:pt idx="23">
                  <c:v>16</c:v>
                </c:pt>
                <c:pt idx="24">
                  <c:v>16.3</c:v>
                </c:pt>
                <c:pt idx="25">
                  <c:v>16.600000000000001</c:v>
                </c:pt>
                <c:pt idx="26">
                  <c:v>15.83</c:v>
                </c:pt>
                <c:pt idx="27">
                  <c:v>16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FB-4DF7-9874-3E5EA9E0775A}"/>
            </c:ext>
          </c:extLst>
        </c:ser>
        <c:ser>
          <c:idx val="3"/>
          <c:order val="3"/>
          <c:tx>
            <c:v>Enova-avgift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Slide 10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0'!$D$10:$AE$10</c:f>
              <c:numCache>
                <c:formatCode>General</c:formatCode>
                <c:ptCount val="2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24</c:v>
                </c:pt>
                <c:pt idx="10">
                  <c:v>0.4</c:v>
                </c:pt>
                <c:pt idx="11">
                  <c:v>0.64</c:v>
                </c:pt>
                <c:pt idx="12">
                  <c:v>0.8</c:v>
                </c:pt>
                <c:pt idx="13">
                  <c:v>0.8</c:v>
                </c:pt>
                <c:pt idx="14">
                  <c:v>0.8</c:v>
                </c:pt>
                <c:pt idx="15">
                  <c:v>0.8</c:v>
                </c:pt>
                <c:pt idx="16">
                  <c:v>0.8</c:v>
                </c:pt>
                <c:pt idx="17">
                  <c:v>0.8</c:v>
                </c:pt>
                <c:pt idx="18">
                  <c:v>0.8</c:v>
                </c:pt>
                <c:pt idx="19">
                  <c:v>0.8</c:v>
                </c:pt>
                <c:pt idx="20">
                  <c:v>0.8</c:v>
                </c:pt>
                <c:pt idx="21">
                  <c:v>0.8</c:v>
                </c:pt>
                <c:pt idx="22">
                  <c:v>0.8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FB-4DF7-9874-3E5EA9E0775A}"/>
            </c:ext>
          </c:extLst>
        </c:ser>
        <c:ser>
          <c:idx val="4"/>
          <c:order val="4"/>
          <c:tx>
            <c:v>Elsertifikat</c:v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Slide 10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0'!$D$11:$AE$11</c:f>
              <c:numCache>
                <c:formatCode>General</c:formatCode>
                <c:ptCount val="2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.43023159939024397</c:v>
                </c:pt>
                <c:pt idx="20">
                  <c:v>0.87397751056451622</c:v>
                </c:pt>
                <c:pt idx="21">
                  <c:v>1.1344128342857143</c:v>
                </c:pt>
                <c:pt idx="22">
                  <c:v>1.2758281375903613</c:v>
                </c:pt>
                <c:pt idx="23">
                  <c:v>1.5932078868885349</c:v>
                </c:pt>
                <c:pt idx="24">
                  <c:v>0.880305008</c:v>
                </c:pt>
                <c:pt idx="25">
                  <c:v>2.2191707905979476</c:v>
                </c:pt>
                <c:pt idx="26">
                  <c:v>1.3291851595749979</c:v>
                </c:pt>
                <c:pt idx="27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FB-4DF7-9874-3E5EA9E0775A}"/>
            </c:ext>
          </c:extLst>
        </c:ser>
        <c:ser>
          <c:idx val="5"/>
          <c:order val="5"/>
          <c:tx>
            <c:v>Moms</c:v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Slide 10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0'!$D$12:$AE$12</c:f>
              <c:numCache>
                <c:formatCode>General</c:formatCode>
                <c:ptCount val="28"/>
                <c:pt idx="0">
                  <c:v>8.6480000000000015</c:v>
                </c:pt>
                <c:pt idx="1">
                  <c:v>8.6020000000000003</c:v>
                </c:pt>
                <c:pt idx="2">
                  <c:v>8.9469999999999992</c:v>
                </c:pt>
                <c:pt idx="3">
                  <c:v>8.9930000000000003</c:v>
                </c:pt>
                <c:pt idx="4">
                  <c:v>9.5449999999999999</c:v>
                </c:pt>
                <c:pt idx="5">
                  <c:v>9.798</c:v>
                </c:pt>
                <c:pt idx="6">
                  <c:v>9.1631999999999998</c:v>
                </c:pt>
                <c:pt idx="7">
                  <c:v>9.5818000000000012</c:v>
                </c:pt>
                <c:pt idx="8">
                  <c:v>12.215999999999998</c:v>
                </c:pt>
                <c:pt idx="9">
                  <c:v>12.249599999999999</c:v>
                </c:pt>
                <c:pt idx="10">
                  <c:v>16.992000000000001</c:v>
                </c:pt>
                <c:pt idx="11">
                  <c:v>15.201600000000001</c:v>
                </c:pt>
                <c:pt idx="12">
                  <c:v>15.649999999999999</c:v>
                </c:pt>
                <c:pt idx="13">
                  <c:v>19.299999999999997</c:v>
                </c:pt>
                <c:pt idx="14">
                  <c:v>15.174999999999997</c:v>
                </c:pt>
                <c:pt idx="15">
                  <c:v>18.349999999999998</c:v>
                </c:pt>
                <c:pt idx="16">
                  <c:v>17.7</c:v>
                </c:pt>
                <c:pt idx="17">
                  <c:v>21.2</c:v>
                </c:pt>
                <c:pt idx="18">
                  <c:v>20.875</c:v>
                </c:pt>
                <c:pt idx="19">
                  <c:v>17.007557899847562</c:v>
                </c:pt>
                <c:pt idx="20">
                  <c:v>18.618494377641127</c:v>
                </c:pt>
                <c:pt idx="21">
                  <c:v>17.733603208571427</c:v>
                </c:pt>
                <c:pt idx="22">
                  <c:v>17.21895703439759</c:v>
                </c:pt>
                <c:pt idx="23">
                  <c:v>19.348301971722133</c:v>
                </c:pt>
                <c:pt idx="24">
                  <c:v>20.120076251999997</c:v>
                </c:pt>
                <c:pt idx="25">
                  <c:v>24.279792697649487</c:v>
                </c:pt>
                <c:pt idx="26">
                  <c:v>24.089796289893748</c:v>
                </c:pt>
                <c:pt idx="27">
                  <c:v>18.45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CFB-4DF7-9874-3E5EA9E077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99799408"/>
        <c:axId val="699800064"/>
      </c:barChart>
      <c:lineChart>
        <c:grouping val="standard"/>
        <c:varyColors val="0"/>
        <c:ser>
          <c:idx val="8"/>
          <c:order val="6"/>
          <c:tx>
            <c:v>KPI-justert samlet sluttbrukerpris</c:v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Slide 10'!$D$15:$AE$15</c:f>
              <c:numCache>
                <c:formatCode>General</c:formatCode>
                <c:ptCount val="28"/>
                <c:pt idx="0">
                  <c:v>78.949903703703711</c:v>
                </c:pt>
                <c:pt idx="1">
                  <c:v>77.454204566210038</c:v>
                </c:pt>
                <c:pt idx="2">
                  <c:v>78.645395839524511</c:v>
                </c:pt>
                <c:pt idx="3">
                  <c:v>78.006563929618764</c:v>
                </c:pt>
                <c:pt idx="4">
                  <c:v>80.781085836909881</c:v>
                </c:pt>
                <c:pt idx="5">
                  <c:v>81.066667972027972</c:v>
                </c:pt>
                <c:pt idx="6">
                  <c:v>74.053742950819668</c:v>
                </c:pt>
                <c:pt idx="7">
                  <c:v>75.077720741721862</c:v>
                </c:pt>
                <c:pt idx="8">
                  <c:v>89.85703886743886</c:v>
                </c:pt>
                <c:pt idx="9">
                  <c:v>88.959282744599747</c:v>
                </c:pt>
                <c:pt idx="10">
                  <c:v>120.34140074349445</c:v>
                </c:pt>
                <c:pt idx="11">
                  <c:v>107.2626147160494</c:v>
                </c:pt>
                <c:pt idx="12">
                  <c:v>105.17636695018228</c:v>
                </c:pt>
                <c:pt idx="13">
                  <c:v>126.77945368171018</c:v>
                </c:pt>
                <c:pt idx="14">
                  <c:v>98.977505896226418</c:v>
                </c:pt>
                <c:pt idx="15">
                  <c:v>115.33392045454544</c:v>
                </c:pt>
                <c:pt idx="16">
                  <c:v>108.89733036707453</c:v>
                </c:pt>
                <c:pt idx="17">
                  <c:v>127.31509229098808</c:v>
                </c:pt>
                <c:pt idx="18">
                  <c:v>123.75093783494106</c:v>
                </c:pt>
                <c:pt idx="19">
                  <c:v>100.17976863051851</c:v>
                </c:pt>
                <c:pt idx="20">
                  <c:v>107.38153535217212</c:v>
                </c:pt>
                <c:pt idx="21">
                  <c:v>100.18851822942652</c:v>
                </c:pt>
                <c:pt idx="22">
                  <c:v>95.238051357253084</c:v>
                </c:pt>
                <c:pt idx="23">
                  <c:v>103.29677432972504</c:v>
                </c:pt>
                <c:pt idx="24">
                  <c:v>105.48259881498767</c:v>
                </c:pt>
                <c:pt idx="25">
                  <c:v>123.88517842315434</c:v>
                </c:pt>
                <c:pt idx="26">
                  <c:v>120.44898144946873</c:v>
                </c:pt>
                <c:pt idx="27">
                  <c:v>91.4483112345457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CFB-4DF7-9874-3E5EA9E077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99799408"/>
        <c:axId val="699800064"/>
      </c:lineChart>
      <c:catAx>
        <c:axId val="699799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99800064"/>
        <c:crosses val="autoZero"/>
        <c:auto val="1"/>
        <c:lblAlgn val="ctr"/>
        <c:lblOffset val="100"/>
        <c:noMultiLvlLbl val="0"/>
      </c:catAx>
      <c:valAx>
        <c:axId val="699800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øre/kWh</a:t>
                </a:r>
              </a:p>
            </c:rich>
          </c:tx>
          <c:layout>
            <c:manualLayout>
              <c:xMode val="edge"/>
              <c:yMode val="edge"/>
              <c:x val="6.7112704622343311E-2"/>
              <c:y val="0.307125545753340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9979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728993468547029"/>
          <c:y val="0.76590203917762623"/>
          <c:w val="0.82022369937132089"/>
          <c:h val="0.19935304696821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344523148936746E-2"/>
          <c:y val="3.5750076004098588E-2"/>
          <c:w val="0.91097979592643075"/>
          <c:h val="0.75692072337476624"/>
        </c:manualLayout>
      </c:layout>
      <c:barChart>
        <c:barDir val="col"/>
        <c:grouping val="stacked"/>
        <c:varyColors val="0"/>
        <c:ser>
          <c:idx val="2"/>
          <c:order val="0"/>
          <c:tx>
            <c:v>Elavgift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Slide 12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2'!$D$9:$AE$9</c:f>
              <c:numCache>
                <c:formatCode>General</c:formatCode>
                <c:ptCount val="28"/>
                <c:pt idx="0">
                  <c:v>4.5999999999999996</c:v>
                </c:pt>
                <c:pt idx="1">
                  <c:v>5.0999999999999996</c:v>
                </c:pt>
                <c:pt idx="2">
                  <c:v>5.2</c:v>
                </c:pt>
                <c:pt idx="3">
                  <c:v>5.3</c:v>
                </c:pt>
                <c:pt idx="4">
                  <c:v>5.62</c:v>
                </c:pt>
                <c:pt idx="5">
                  <c:v>5.75</c:v>
                </c:pt>
                <c:pt idx="6">
                  <c:v>5.94</c:v>
                </c:pt>
                <c:pt idx="7">
                  <c:v>8.56</c:v>
                </c:pt>
                <c:pt idx="8">
                  <c:v>11.3</c:v>
                </c:pt>
                <c:pt idx="9">
                  <c:v>9.3000000000000007</c:v>
                </c:pt>
                <c:pt idx="10">
                  <c:v>9.5</c:v>
                </c:pt>
                <c:pt idx="11">
                  <c:v>9.67</c:v>
                </c:pt>
                <c:pt idx="12">
                  <c:v>9.8800000000000008</c:v>
                </c:pt>
                <c:pt idx="13">
                  <c:v>10.050000000000001</c:v>
                </c:pt>
                <c:pt idx="14">
                  <c:v>10.23</c:v>
                </c:pt>
                <c:pt idx="15">
                  <c:v>10.5</c:v>
                </c:pt>
                <c:pt idx="16">
                  <c:v>10.82</c:v>
                </c:pt>
                <c:pt idx="17">
                  <c:v>11.01</c:v>
                </c:pt>
                <c:pt idx="18">
                  <c:v>11.21</c:v>
                </c:pt>
                <c:pt idx="19">
                  <c:v>11.39</c:v>
                </c:pt>
                <c:pt idx="20">
                  <c:v>11.61</c:v>
                </c:pt>
                <c:pt idx="21">
                  <c:v>12.39</c:v>
                </c:pt>
                <c:pt idx="22">
                  <c:v>14.15</c:v>
                </c:pt>
                <c:pt idx="23">
                  <c:v>16</c:v>
                </c:pt>
                <c:pt idx="24">
                  <c:v>16.3</c:v>
                </c:pt>
                <c:pt idx="25">
                  <c:v>16.600000000000001</c:v>
                </c:pt>
                <c:pt idx="26">
                  <c:v>15.83</c:v>
                </c:pt>
                <c:pt idx="27">
                  <c:v>16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2E-45A1-BE61-5D374B38BF38}"/>
            </c:ext>
          </c:extLst>
        </c:ser>
        <c:ser>
          <c:idx val="1"/>
          <c:order val="1"/>
          <c:tx>
            <c:v>Enova-avgift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Slide 12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2'!$D$8:$AE$8</c:f>
              <c:numCache>
                <c:formatCode>General</c:formatCode>
                <c:ptCount val="2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24</c:v>
                </c:pt>
                <c:pt idx="10">
                  <c:v>0.4</c:v>
                </c:pt>
                <c:pt idx="11">
                  <c:v>0.64</c:v>
                </c:pt>
                <c:pt idx="12">
                  <c:v>0.8</c:v>
                </c:pt>
                <c:pt idx="13">
                  <c:v>0.8</c:v>
                </c:pt>
                <c:pt idx="14">
                  <c:v>0.8</c:v>
                </c:pt>
                <c:pt idx="15">
                  <c:v>0.8</c:v>
                </c:pt>
                <c:pt idx="16">
                  <c:v>0.8</c:v>
                </c:pt>
                <c:pt idx="17">
                  <c:v>0.8</c:v>
                </c:pt>
                <c:pt idx="18">
                  <c:v>0.8</c:v>
                </c:pt>
                <c:pt idx="19">
                  <c:v>0.8</c:v>
                </c:pt>
                <c:pt idx="20">
                  <c:v>0.8</c:v>
                </c:pt>
                <c:pt idx="21">
                  <c:v>0.8</c:v>
                </c:pt>
                <c:pt idx="22">
                  <c:v>0.8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2E-45A1-BE61-5D374B38BF38}"/>
            </c:ext>
          </c:extLst>
        </c:ser>
        <c:ser>
          <c:idx val="0"/>
          <c:order val="2"/>
          <c:tx>
            <c:v>Moms på nettleie og avgifter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Slide 12'!$D$6:$AE$6</c:f>
              <c:numCache>
                <c:formatCode>General</c:formatCode>
                <c:ptCount val="2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</c:numCache>
            </c:numRef>
          </c:cat>
          <c:val>
            <c:numRef>
              <c:f>'Slide 12'!$D$7:$AE$7</c:f>
              <c:numCache>
                <c:formatCode>General</c:formatCode>
                <c:ptCount val="28"/>
                <c:pt idx="0">
                  <c:v>5.4580000000000002</c:v>
                </c:pt>
                <c:pt idx="1">
                  <c:v>5.2729999999999997</c:v>
                </c:pt>
                <c:pt idx="2">
                  <c:v>5.3960000000000008</c:v>
                </c:pt>
                <c:pt idx="3">
                  <c:v>5.2190000000000003</c:v>
                </c:pt>
                <c:pt idx="4">
                  <c:v>5.3925999999999998</c:v>
                </c:pt>
                <c:pt idx="5">
                  <c:v>5.6224999999999996</c:v>
                </c:pt>
                <c:pt idx="6">
                  <c:v>5.6661999999999999</c:v>
                </c:pt>
                <c:pt idx="7">
                  <c:v>6.4687999999999999</c:v>
                </c:pt>
                <c:pt idx="8">
                  <c:v>7.5120000000000005</c:v>
                </c:pt>
                <c:pt idx="9">
                  <c:v>7.3319999999999999</c:v>
                </c:pt>
                <c:pt idx="10">
                  <c:v>7.879999999999999</c:v>
                </c:pt>
                <c:pt idx="11">
                  <c:v>8.3000000000000007</c:v>
                </c:pt>
                <c:pt idx="12">
                  <c:v>8.6</c:v>
                </c:pt>
                <c:pt idx="13">
                  <c:v>8.8000000000000007</c:v>
                </c:pt>
                <c:pt idx="14">
                  <c:v>8.6999999999999993</c:v>
                </c:pt>
                <c:pt idx="15">
                  <c:v>8.8000000000000007</c:v>
                </c:pt>
                <c:pt idx="16">
                  <c:v>9.1999999999999993</c:v>
                </c:pt>
                <c:pt idx="17">
                  <c:v>9.9</c:v>
                </c:pt>
                <c:pt idx="18">
                  <c:v>10.1</c:v>
                </c:pt>
                <c:pt idx="19">
                  <c:v>9.6999999999999993</c:v>
                </c:pt>
                <c:pt idx="20">
                  <c:v>9.8000000000000007</c:v>
                </c:pt>
                <c:pt idx="21">
                  <c:v>9.8000000000000007</c:v>
                </c:pt>
                <c:pt idx="22">
                  <c:v>10.4</c:v>
                </c:pt>
                <c:pt idx="23">
                  <c:v>11</c:v>
                </c:pt>
                <c:pt idx="24">
                  <c:v>11.05</c:v>
                </c:pt>
                <c:pt idx="25">
                  <c:v>11.350000000000001</c:v>
                </c:pt>
                <c:pt idx="26">
                  <c:v>11.55</c:v>
                </c:pt>
                <c:pt idx="27">
                  <c:v>11.49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2E-45A1-BE61-5D374B38BF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27905760"/>
        <c:axId val="927906088"/>
      </c:barChart>
      <c:catAx>
        <c:axId val="927905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27906088"/>
        <c:crosses val="autoZero"/>
        <c:auto val="1"/>
        <c:lblAlgn val="ctr"/>
        <c:lblOffset val="100"/>
        <c:noMultiLvlLbl val="0"/>
      </c:catAx>
      <c:valAx>
        <c:axId val="927906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øre/k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27905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12825144858592"/>
          <c:y val="4.5685066706083799E-2"/>
          <c:w val="0.84813293463907569"/>
          <c:h val="0.60617902790549827"/>
        </c:manualLayout>
      </c:layout>
      <c:barChart>
        <c:barDir val="col"/>
        <c:grouping val="stacked"/>
        <c:varyColors val="0"/>
        <c:ser>
          <c:idx val="1"/>
          <c:order val="0"/>
          <c:tx>
            <c:v>Nettleie</c:v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[Chart in Microsoft PowerPoint]Slide 13'!$D$7:$V$7</c:f>
              <c:strCache>
                <c:ptCount val="19"/>
                <c:pt idx="0">
                  <c:v>Østfold</c:v>
                </c:pt>
                <c:pt idx="1">
                  <c:v>Akershus</c:v>
                </c:pt>
                <c:pt idx="2">
                  <c:v>Oslo</c:v>
                </c:pt>
                <c:pt idx="3">
                  <c:v>Hedmark</c:v>
                </c:pt>
                <c:pt idx="4">
                  <c:v>Oppland</c:v>
                </c:pt>
                <c:pt idx="5">
                  <c:v>Buskerud</c:v>
                </c:pt>
                <c:pt idx="6">
                  <c:v>Vestfold</c:v>
                </c:pt>
                <c:pt idx="7">
                  <c:v>Telemark</c:v>
                </c:pt>
                <c:pt idx="8">
                  <c:v>Aust-Agder</c:v>
                </c:pt>
                <c:pt idx="9">
                  <c:v>Vest-Agder</c:v>
                </c:pt>
                <c:pt idx="10">
                  <c:v>Rogaland</c:v>
                </c:pt>
                <c:pt idx="11">
                  <c:v>Hordaland</c:v>
                </c:pt>
                <c:pt idx="12">
                  <c:v>Sogn og Fjordane</c:v>
                </c:pt>
                <c:pt idx="13">
                  <c:v>Møre og Romsdal</c:v>
                </c:pt>
                <c:pt idx="14">
                  <c:v>Sør-Trøndelag</c:v>
                </c:pt>
                <c:pt idx="15">
                  <c:v>Nord-Trøndelag</c:v>
                </c:pt>
                <c:pt idx="16">
                  <c:v>Nordland</c:v>
                </c:pt>
                <c:pt idx="17">
                  <c:v>Troms - Romsa</c:v>
                </c:pt>
                <c:pt idx="18">
                  <c:v>Finnmark - Finnmárku</c:v>
                </c:pt>
              </c:strCache>
            </c:strRef>
          </c:cat>
          <c:val>
            <c:numRef>
              <c:f>'[Chart in Microsoft PowerPoint]Slide 13'!$D$9:$V$9</c:f>
              <c:numCache>
                <c:formatCode>0.0</c:formatCode>
                <c:ptCount val="19"/>
                <c:pt idx="0">
                  <c:v>26.187499999999996</c:v>
                </c:pt>
                <c:pt idx="1">
                  <c:v>22.612500000000001</c:v>
                </c:pt>
                <c:pt idx="2">
                  <c:v>23.662500000000001</c:v>
                </c:pt>
                <c:pt idx="3">
                  <c:v>32.699999999999996</c:v>
                </c:pt>
                <c:pt idx="4">
                  <c:v>30.349999999999994</c:v>
                </c:pt>
                <c:pt idx="5">
                  <c:v>27.35</c:v>
                </c:pt>
                <c:pt idx="6">
                  <c:v>25.224999999999998</c:v>
                </c:pt>
                <c:pt idx="7">
                  <c:v>29.625</c:v>
                </c:pt>
                <c:pt idx="8">
                  <c:v>30.4375</c:v>
                </c:pt>
                <c:pt idx="9">
                  <c:v>30.587499999999999</c:v>
                </c:pt>
                <c:pt idx="10">
                  <c:v>25.662499999999998</c:v>
                </c:pt>
                <c:pt idx="11">
                  <c:v>25.412500000000001</c:v>
                </c:pt>
                <c:pt idx="12">
                  <c:v>39.524999999999999</c:v>
                </c:pt>
                <c:pt idx="13">
                  <c:v>31.537500000000001</c:v>
                </c:pt>
                <c:pt idx="14">
                  <c:v>27.024999999999999</c:v>
                </c:pt>
                <c:pt idx="15">
                  <c:v>33.199999999999996</c:v>
                </c:pt>
                <c:pt idx="16">
                  <c:v>34.274999999999999</c:v>
                </c:pt>
                <c:pt idx="17">
                  <c:v>26.5</c:v>
                </c:pt>
                <c:pt idx="18">
                  <c:v>33.72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C0-4976-A942-8F5EB8FAB4A1}"/>
            </c:ext>
          </c:extLst>
        </c:ser>
        <c:ser>
          <c:idx val="0"/>
          <c:order val="1"/>
          <c:tx>
            <c:v>Kraftpris</c:v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'[Chart in Microsoft PowerPoint]Slide 13'!$D$7:$V$7</c:f>
              <c:strCache>
                <c:ptCount val="19"/>
                <c:pt idx="0">
                  <c:v>Østfold</c:v>
                </c:pt>
                <c:pt idx="1">
                  <c:v>Akershus</c:v>
                </c:pt>
                <c:pt idx="2">
                  <c:v>Oslo</c:v>
                </c:pt>
                <c:pt idx="3">
                  <c:v>Hedmark</c:v>
                </c:pt>
                <c:pt idx="4">
                  <c:v>Oppland</c:v>
                </c:pt>
                <c:pt idx="5">
                  <c:v>Buskerud</c:v>
                </c:pt>
                <c:pt idx="6">
                  <c:v>Vestfold</c:v>
                </c:pt>
                <c:pt idx="7">
                  <c:v>Telemark</c:v>
                </c:pt>
                <c:pt idx="8">
                  <c:v>Aust-Agder</c:v>
                </c:pt>
                <c:pt idx="9">
                  <c:v>Vest-Agder</c:v>
                </c:pt>
                <c:pt idx="10">
                  <c:v>Rogaland</c:v>
                </c:pt>
                <c:pt idx="11">
                  <c:v>Hordaland</c:v>
                </c:pt>
                <c:pt idx="12">
                  <c:v>Sogn og Fjordane</c:v>
                </c:pt>
                <c:pt idx="13">
                  <c:v>Møre og Romsdal</c:v>
                </c:pt>
                <c:pt idx="14">
                  <c:v>Sør-Trøndelag</c:v>
                </c:pt>
                <c:pt idx="15">
                  <c:v>Nord-Trøndelag</c:v>
                </c:pt>
                <c:pt idx="16">
                  <c:v>Nordland</c:v>
                </c:pt>
                <c:pt idx="17">
                  <c:v>Troms - Romsa</c:v>
                </c:pt>
                <c:pt idx="18">
                  <c:v>Finnmark - Finnmárku</c:v>
                </c:pt>
              </c:strCache>
            </c:strRef>
          </c:cat>
          <c:val>
            <c:numRef>
              <c:f>'[Chart in Microsoft PowerPoint]Slide 13'!$D$8:$V$8</c:f>
              <c:numCache>
                <c:formatCode>General</c:formatCode>
                <c:ptCount val="19"/>
                <c:pt idx="0">
                  <c:v>35.512500000000003</c:v>
                </c:pt>
                <c:pt idx="1">
                  <c:v>34.4</c:v>
                </c:pt>
                <c:pt idx="2">
                  <c:v>36.450000000000003</c:v>
                </c:pt>
                <c:pt idx="3">
                  <c:v>34.8125</c:v>
                </c:pt>
                <c:pt idx="4">
                  <c:v>34.887500000000003</c:v>
                </c:pt>
                <c:pt idx="5">
                  <c:v>34.6</c:v>
                </c:pt>
                <c:pt idx="6">
                  <c:v>35.299999999999997</c:v>
                </c:pt>
                <c:pt idx="7">
                  <c:v>34.574999999999996</c:v>
                </c:pt>
                <c:pt idx="8">
                  <c:v>35.475000000000001</c:v>
                </c:pt>
                <c:pt idx="9">
                  <c:v>35.075000000000003</c:v>
                </c:pt>
                <c:pt idx="10">
                  <c:v>34.037500000000001</c:v>
                </c:pt>
                <c:pt idx="11">
                  <c:v>35.037500000000001</c:v>
                </c:pt>
                <c:pt idx="12">
                  <c:v>34.15</c:v>
                </c:pt>
                <c:pt idx="13">
                  <c:v>35.9</c:v>
                </c:pt>
                <c:pt idx="14" formatCode="0.0">
                  <c:v>36.575000000000003</c:v>
                </c:pt>
                <c:pt idx="15" formatCode="0.0">
                  <c:v>37.712499999999999</c:v>
                </c:pt>
                <c:pt idx="16">
                  <c:v>36.6875</c:v>
                </c:pt>
                <c:pt idx="17">
                  <c:v>35.8125</c:v>
                </c:pt>
                <c:pt idx="18">
                  <c:v>33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C0-4976-A942-8F5EB8FAB4A1}"/>
            </c:ext>
          </c:extLst>
        </c:ser>
        <c:ser>
          <c:idx val="2"/>
          <c:order val="2"/>
          <c:tx>
            <c:v>Avgifter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Chart in Microsoft PowerPoint]Slide 13'!$D$7:$V$7</c:f>
              <c:strCache>
                <c:ptCount val="19"/>
                <c:pt idx="0">
                  <c:v>Østfold</c:v>
                </c:pt>
                <c:pt idx="1">
                  <c:v>Akershus</c:v>
                </c:pt>
                <c:pt idx="2">
                  <c:v>Oslo</c:v>
                </c:pt>
                <c:pt idx="3">
                  <c:v>Hedmark</c:v>
                </c:pt>
                <c:pt idx="4">
                  <c:v>Oppland</c:v>
                </c:pt>
                <c:pt idx="5">
                  <c:v>Buskerud</c:v>
                </c:pt>
                <c:pt idx="6">
                  <c:v>Vestfold</c:v>
                </c:pt>
                <c:pt idx="7">
                  <c:v>Telemark</c:v>
                </c:pt>
                <c:pt idx="8">
                  <c:v>Aust-Agder</c:v>
                </c:pt>
                <c:pt idx="9">
                  <c:v>Vest-Agder</c:v>
                </c:pt>
                <c:pt idx="10">
                  <c:v>Rogaland</c:v>
                </c:pt>
                <c:pt idx="11">
                  <c:v>Hordaland</c:v>
                </c:pt>
                <c:pt idx="12">
                  <c:v>Sogn og Fjordane</c:v>
                </c:pt>
                <c:pt idx="13">
                  <c:v>Møre og Romsdal</c:v>
                </c:pt>
                <c:pt idx="14">
                  <c:v>Sør-Trøndelag</c:v>
                </c:pt>
                <c:pt idx="15">
                  <c:v>Nord-Trøndelag</c:v>
                </c:pt>
                <c:pt idx="16">
                  <c:v>Nordland</c:v>
                </c:pt>
                <c:pt idx="17">
                  <c:v>Troms - Romsa</c:v>
                </c:pt>
                <c:pt idx="18">
                  <c:v>Finnmark - Finnmárku</c:v>
                </c:pt>
              </c:strCache>
            </c:strRef>
          </c:cat>
          <c:val>
            <c:numRef>
              <c:f>'[Chart in Microsoft PowerPoint]Slide 13'!$D$10:$V$10</c:f>
              <c:numCache>
                <c:formatCode>0.0</c:formatCode>
                <c:ptCount val="19"/>
                <c:pt idx="0">
                  <c:v>34</c:v>
                </c:pt>
                <c:pt idx="1">
                  <c:v>32.875</c:v>
                </c:pt>
                <c:pt idx="2">
                  <c:v>33.387500000000003</c:v>
                </c:pt>
                <c:pt idx="3">
                  <c:v>35.212499999999991</c:v>
                </c:pt>
                <c:pt idx="4">
                  <c:v>34.662500000000001</c:v>
                </c:pt>
                <c:pt idx="5">
                  <c:v>33.837499999999999</c:v>
                </c:pt>
                <c:pt idx="6">
                  <c:v>33.487499999999997</c:v>
                </c:pt>
                <c:pt idx="7">
                  <c:v>34.424999999999997</c:v>
                </c:pt>
                <c:pt idx="8">
                  <c:v>34.825000000000003</c:v>
                </c:pt>
                <c:pt idx="9">
                  <c:v>34.787500000000001</c:v>
                </c:pt>
                <c:pt idx="10">
                  <c:v>33.287500000000001</c:v>
                </c:pt>
                <c:pt idx="11">
                  <c:v>33.462499999999999</c:v>
                </c:pt>
                <c:pt idx="12">
                  <c:v>36.787500000000001</c:v>
                </c:pt>
                <c:pt idx="13">
                  <c:v>35.224999999999994</c:v>
                </c:pt>
                <c:pt idx="14">
                  <c:v>34.25</c:v>
                </c:pt>
                <c:pt idx="15">
                  <c:v>36.074999999999996</c:v>
                </c:pt>
                <c:pt idx="16">
                  <c:v>14.675000000000001</c:v>
                </c:pt>
                <c:pt idx="17">
                  <c:v>13.15</c:v>
                </c:pt>
                <c:pt idx="1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C0-4976-A942-8F5EB8FAB4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3577048"/>
        <c:axId val="583577376"/>
      </c:barChart>
      <c:catAx>
        <c:axId val="583577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83577376"/>
        <c:crosses val="autoZero"/>
        <c:auto val="1"/>
        <c:lblAlgn val="ctr"/>
        <c:lblOffset val="100"/>
        <c:noMultiLvlLbl val="0"/>
      </c:catAx>
      <c:valAx>
        <c:axId val="583577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øre/k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83577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historisk nettl. &amp; prognose'!$B$8</c:f>
              <c:strCache>
                <c:ptCount val="1"/>
                <c:pt idx="0">
                  <c:v>Historiske tall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historisk nettl. &amp; prognose'!$D$6:$AY$6</c:f>
              <c:numCache>
                <c:formatCode>General</c:formatCode>
                <c:ptCount val="4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  <c:pt idx="29">
                  <c:v>2022</c:v>
                </c:pt>
                <c:pt idx="30">
                  <c:v>2023</c:v>
                </c:pt>
                <c:pt idx="31">
                  <c:v>2024</c:v>
                </c:pt>
                <c:pt idx="32">
                  <c:v>2025</c:v>
                </c:pt>
                <c:pt idx="33">
                  <c:v>2026</c:v>
                </c:pt>
                <c:pt idx="34">
                  <c:v>2027</c:v>
                </c:pt>
                <c:pt idx="35">
                  <c:v>2028</c:v>
                </c:pt>
                <c:pt idx="36">
                  <c:v>2029</c:v>
                </c:pt>
                <c:pt idx="37">
                  <c:v>2030</c:v>
                </c:pt>
                <c:pt idx="38">
                  <c:v>2031</c:v>
                </c:pt>
                <c:pt idx="39">
                  <c:v>2032</c:v>
                </c:pt>
                <c:pt idx="40">
                  <c:v>2033</c:v>
                </c:pt>
                <c:pt idx="41">
                  <c:v>2034</c:v>
                </c:pt>
                <c:pt idx="42">
                  <c:v>2035</c:v>
                </c:pt>
                <c:pt idx="43">
                  <c:v>2036</c:v>
                </c:pt>
                <c:pt idx="44">
                  <c:v>2037</c:v>
                </c:pt>
                <c:pt idx="45">
                  <c:v>2038</c:v>
                </c:pt>
                <c:pt idx="46">
                  <c:v>2039</c:v>
                </c:pt>
                <c:pt idx="47">
                  <c:v>2040</c:v>
                </c:pt>
              </c:numCache>
            </c:numRef>
          </c:cat>
          <c:val>
            <c:numRef>
              <c:f>'historisk nettl. &amp; prognose'!$D$8:$AY$8</c:f>
              <c:numCache>
                <c:formatCode>0.00</c:formatCode>
                <c:ptCount val="48"/>
                <c:pt idx="0">
                  <c:v>31.974691358024693</c:v>
                </c:pt>
                <c:pt idx="1">
                  <c:v>31.199391171993913</c:v>
                </c:pt>
                <c:pt idx="2">
                  <c:v>30.29301634472511</c:v>
                </c:pt>
                <c:pt idx="3">
                  <c:v>30.055718475073309</c:v>
                </c:pt>
                <c:pt idx="4">
                  <c:v>29.483261802575107</c:v>
                </c:pt>
                <c:pt idx="5">
                  <c:v>28.978461538461534</c:v>
                </c:pt>
                <c:pt idx="6">
                  <c:v>29.365027322404366</c:v>
                </c:pt>
                <c:pt idx="7">
                  <c:v>28.617218543046356</c:v>
                </c:pt>
                <c:pt idx="8">
                  <c:v>28.377348777348772</c:v>
                </c:pt>
                <c:pt idx="9">
                  <c:v>30.410165184243965</c:v>
                </c:pt>
                <c:pt idx="10">
                  <c:v>32.40247831474597</c:v>
                </c:pt>
                <c:pt idx="11">
                  <c:v>34.607901234567898</c:v>
                </c:pt>
                <c:pt idx="12">
                  <c:v>33.522721749696231</c:v>
                </c:pt>
                <c:pt idx="13">
                  <c:v>31.292446555819478</c:v>
                </c:pt>
                <c:pt idx="14">
                  <c:v>30.50919811320755</c:v>
                </c:pt>
                <c:pt idx="15">
                  <c:v>30.192999999999998</c:v>
                </c:pt>
                <c:pt idx="16">
                  <c:v>30.479243604004445</c:v>
                </c:pt>
                <c:pt idx="17">
                  <c:v>33.203908794788276</c:v>
                </c:pt>
                <c:pt idx="18">
                  <c:v>33.014362272240085</c:v>
                </c:pt>
                <c:pt idx="19">
                  <c:v>31.033439829605964</c:v>
                </c:pt>
                <c:pt idx="20">
                  <c:v>30.501772679874865</c:v>
                </c:pt>
                <c:pt idx="21">
                  <c:v>29.425944841675175</c:v>
                </c:pt>
                <c:pt idx="22">
                  <c:v>29.029599999999999</c:v>
                </c:pt>
                <c:pt idx="23">
                  <c:v>29.09034749034749</c:v>
                </c:pt>
                <c:pt idx="24">
                  <c:v>29.301611374407582</c:v>
                </c:pt>
                <c:pt idx="25">
                  <c:v>29.335424354243543</c:v>
                </c:pt>
                <c:pt idx="26">
                  <c:v>3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53-41A2-9DC2-A398DDD96EE4}"/>
            </c:ext>
          </c:extLst>
        </c:ser>
        <c:ser>
          <c:idx val="1"/>
          <c:order val="1"/>
          <c:tx>
            <c:strRef>
              <c:f>'historisk nettl. &amp; prognose'!$B$9</c:f>
              <c:strCache>
                <c:ptCount val="1"/>
                <c:pt idx="0">
                  <c:v>NVE progno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historisk nettl. &amp; prognose'!$D$6:$AY$6</c:f>
              <c:numCache>
                <c:formatCode>General</c:formatCode>
                <c:ptCount val="4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  <c:pt idx="29">
                  <c:v>2022</c:v>
                </c:pt>
                <c:pt idx="30">
                  <c:v>2023</c:v>
                </c:pt>
                <c:pt idx="31">
                  <c:v>2024</c:v>
                </c:pt>
                <c:pt idx="32">
                  <c:v>2025</c:v>
                </c:pt>
                <c:pt idx="33">
                  <c:v>2026</c:v>
                </c:pt>
                <c:pt idx="34">
                  <c:v>2027</c:v>
                </c:pt>
                <c:pt idx="35">
                  <c:v>2028</c:v>
                </c:pt>
                <c:pt idx="36">
                  <c:v>2029</c:v>
                </c:pt>
                <c:pt idx="37">
                  <c:v>2030</c:v>
                </c:pt>
                <c:pt idx="38">
                  <c:v>2031</c:v>
                </c:pt>
                <c:pt idx="39">
                  <c:v>2032</c:v>
                </c:pt>
                <c:pt idx="40">
                  <c:v>2033</c:v>
                </c:pt>
                <c:pt idx="41">
                  <c:v>2034</c:v>
                </c:pt>
                <c:pt idx="42">
                  <c:v>2035</c:v>
                </c:pt>
                <c:pt idx="43">
                  <c:v>2036</c:v>
                </c:pt>
                <c:pt idx="44">
                  <c:v>2037</c:v>
                </c:pt>
                <c:pt idx="45">
                  <c:v>2038</c:v>
                </c:pt>
                <c:pt idx="46">
                  <c:v>2039</c:v>
                </c:pt>
                <c:pt idx="47">
                  <c:v>2040</c:v>
                </c:pt>
              </c:numCache>
            </c:numRef>
          </c:cat>
          <c:val>
            <c:numRef>
              <c:f>'historisk nettl. &amp; prognose'!$D$9:$AY$9</c:f>
              <c:numCache>
                <c:formatCode>General</c:formatCode>
                <c:ptCount val="48"/>
                <c:pt idx="27" formatCode="0.00">
                  <c:v>33.649592417061612</c:v>
                </c:pt>
                <c:pt idx="28" formatCode="0.00">
                  <c:v>34.741838862559241</c:v>
                </c:pt>
                <c:pt idx="29" formatCode="0.00">
                  <c:v>34.468777251184832</c:v>
                </c:pt>
                <c:pt idx="30" formatCode="0.00">
                  <c:v>34.647317535545028</c:v>
                </c:pt>
                <c:pt idx="31" formatCode="0.00">
                  <c:v>34.500284360189575</c:v>
                </c:pt>
                <c:pt idx="32" formatCode="0.00">
                  <c:v>34.5843033175355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53-41A2-9DC2-A398DDD96EE4}"/>
            </c:ext>
          </c:extLst>
        </c:ser>
        <c:ser>
          <c:idx val="2"/>
          <c:order val="2"/>
          <c:tx>
            <c:strRef>
              <c:f>'historisk nettl. &amp; prognose'!$B$11</c:f>
              <c:strCache>
                <c:ptCount val="1"/>
                <c:pt idx="0">
                  <c:v>DNV GL visjon for et fullelektrisk Norge 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historisk nettl. &amp; prognose'!$D$6:$AY$6</c:f>
              <c:numCache>
                <c:formatCode>General</c:formatCode>
                <c:ptCount val="48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  <c:pt idx="29">
                  <c:v>2022</c:v>
                </c:pt>
                <c:pt idx="30">
                  <c:v>2023</c:v>
                </c:pt>
                <c:pt idx="31">
                  <c:v>2024</c:v>
                </c:pt>
                <c:pt idx="32">
                  <c:v>2025</c:v>
                </c:pt>
                <c:pt idx="33">
                  <c:v>2026</c:v>
                </c:pt>
                <c:pt idx="34">
                  <c:v>2027</c:v>
                </c:pt>
                <c:pt idx="35">
                  <c:v>2028</c:v>
                </c:pt>
                <c:pt idx="36">
                  <c:v>2029</c:v>
                </c:pt>
                <c:pt idx="37">
                  <c:v>2030</c:v>
                </c:pt>
                <c:pt idx="38">
                  <c:v>2031</c:v>
                </c:pt>
                <c:pt idx="39">
                  <c:v>2032</c:v>
                </c:pt>
                <c:pt idx="40">
                  <c:v>2033</c:v>
                </c:pt>
                <c:pt idx="41">
                  <c:v>2034</c:v>
                </c:pt>
                <c:pt idx="42">
                  <c:v>2035</c:v>
                </c:pt>
                <c:pt idx="43">
                  <c:v>2036</c:v>
                </c:pt>
                <c:pt idx="44">
                  <c:v>2037</c:v>
                </c:pt>
                <c:pt idx="45">
                  <c:v>2038</c:v>
                </c:pt>
                <c:pt idx="46">
                  <c:v>2039</c:v>
                </c:pt>
                <c:pt idx="47">
                  <c:v>2040</c:v>
                </c:pt>
              </c:numCache>
            </c:numRef>
          </c:cat>
          <c:val>
            <c:numRef>
              <c:f>'historisk nettl. &amp; prognose'!$D$11:$AY$11</c:f>
              <c:numCache>
                <c:formatCode>General</c:formatCode>
                <c:ptCount val="48"/>
                <c:pt idx="33">
                  <c:v>33.536420664206645</c:v>
                </c:pt>
                <c:pt idx="34">
                  <c:v>32.534723247232471</c:v>
                </c:pt>
                <c:pt idx="35">
                  <c:v>31.553468634686347</c:v>
                </c:pt>
                <c:pt idx="36">
                  <c:v>30.613099630996309</c:v>
                </c:pt>
                <c:pt idx="37">
                  <c:v>29.693173431734316</c:v>
                </c:pt>
                <c:pt idx="38">
                  <c:v>28.80391143911439</c:v>
                </c:pt>
                <c:pt idx="39">
                  <c:v>27.935092250922505</c:v>
                </c:pt>
                <c:pt idx="40">
                  <c:v>27.096937269372695</c:v>
                </c:pt>
                <c:pt idx="41">
                  <c:v>26.289446494464944</c:v>
                </c:pt>
                <c:pt idx="42">
                  <c:v>25.492177121771217</c:v>
                </c:pt>
                <c:pt idx="43">
                  <c:v>24.735793357933577</c:v>
                </c:pt>
                <c:pt idx="44">
                  <c:v>23.989630996309963</c:v>
                </c:pt>
                <c:pt idx="45">
                  <c:v>23.274132841328413</c:v>
                </c:pt>
                <c:pt idx="46">
                  <c:v>22.568856088560882</c:v>
                </c:pt>
                <c:pt idx="47">
                  <c:v>21.894243542435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53-41A2-9DC2-A398DDD96EE4}"/>
            </c:ext>
          </c:extLst>
        </c:ser>
        <c:ser>
          <c:idx val="3"/>
          <c:order val="3"/>
          <c:tx>
            <c:strRef>
              <c:f>'historisk nettl. &amp; prognose'!$B$10</c:f>
              <c:strCache>
                <c:ptCount val="1"/>
                <c:pt idx="0">
                  <c:v>DNV GL baseline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  <a:prstDash val="dash"/>
            </a:ln>
            <a:effectLst/>
          </c:spPr>
          <c:invertIfNegative val="0"/>
          <c:val>
            <c:numRef>
              <c:f>'historisk nettl. &amp; prognose'!$D$12:$AY$12</c:f>
              <c:numCache>
                <c:formatCode>General</c:formatCode>
                <c:ptCount val="48"/>
                <c:pt idx="33">
                  <c:v>1.042583025830254</c:v>
                </c:pt>
                <c:pt idx="34">
                  <c:v>2.0442804428044283</c:v>
                </c:pt>
                <c:pt idx="35">
                  <c:v>3.0255350553505522</c:v>
                </c:pt>
                <c:pt idx="36">
                  <c:v>3.9659040590405894</c:v>
                </c:pt>
                <c:pt idx="37">
                  <c:v>4.8858302583025832</c:v>
                </c:pt>
                <c:pt idx="38">
                  <c:v>5.7750922509225084</c:v>
                </c:pt>
                <c:pt idx="39">
                  <c:v>6.6439114391143939</c:v>
                </c:pt>
                <c:pt idx="40">
                  <c:v>7.4820664206642036</c:v>
                </c:pt>
                <c:pt idx="41">
                  <c:v>8.2895571955719554</c:v>
                </c:pt>
                <c:pt idx="42">
                  <c:v>9.0868265682656819</c:v>
                </c:pt>
                <c:pt idx="43">
                  <c:v>9.8432103321033217</c:v>
                </c:pt>
                <c:pt idx="44">
                  <c:v>10.589372693726936</c:v>
                </c:pt>
                <c:pt idx="45">
                  <c:v>11.304870848708486</c:v>
                </c:pt>
                <c:pt idx="46">
                  <c:v>12.010147601476017</c:v>
                </c:pt>
                <c:pt idx="47">
                  <c:v>12.684760147601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53-41A2-9DC2-A398DDD96E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92776768"/>
        <c:axId val="692777424"/>
      </c:barChart>
      <c:catAx>
        <c:axId val="692776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92777424"/>
        <c:crosses val="autoZero"/>
        <c:auto val="1"/>
        <c:lblAlgn val="ctr"/>
        <c:lblOffset val="100"/>
        <c:noMultiLvlLbl val="0"/>
      </c:catAx>
      <c:valAx>
        <c:axId val="69277742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øre/k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92776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04724409448819"/>
          <c:y val="5.4054054054054057E-2"/>
          <c:w val="0.75590551181102361"/>
          <c:h val="0.8918918918918918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39501039501039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8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9DB-4E1E-8D82-25F7CA36ECF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8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9DB-4E1E-8D82-25F7CA36EC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DB-4E1E-8D82-25F7CA36ECF0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39501039501039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8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9DB-4E1E-8D82-25F7CA36ECF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8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9DB-4E1E-8D82-25F7CA36EC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9DB-4E1E-8D82-25F7CA36EC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68346200"/>
        <c:axId val="1"/>
      </c:barChart>
      <c:catAx>
        <c:axId val="868346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68346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10291151939276"/>
          <c:y val="4.2600853785758265E-2"/>
          <c:w val="0.74544162208232256"/>
          <c:h val="0.77443534047291518"/>
        </c:manualLayout>
      </c:layout>
      <c:scatterChart>
        <c:scatterStyle val="lineMarker"/>
        <c:varyColors val="0"/>
        <c:ser>
          <c:idx val="0"/>
          <c:order val="0"/>
          <c:tx>
            <c:strRef>
              <c:f>'Data input'!$D$1</c:f>
              <c:strCache>
                <c:ptCount val="1"/>
                <c:pt idx="0">
                  <c:v>Hush Energiledd (øre/kWh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4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dPt>
            <c:idx val="191"/>
            <c:marker>
              <c:symbol val="circle"/>
              <c:size val="4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D6C-47A1-BC1A-090AC0B844B3}"/>
              </c:ext>
            </c:extLst>
          </c:dPt>
          <c:xVal>
            <c:numRef>
              <c:f>'Data input'!$D$2:$D$855</c:f>
              <c:numCache>
                <c:formatCode>General</c:formatCode>
                <c:ptCount val="854"/>
                <c:pt idx="0">
                  <c:v>20.5</c:v>
                </c:pt>
                <c:pt idx="1">
                  <c:v>17.399999999999999</c:v>
                </c:pt>
                <c:pt idx="2">
                  <c:v>20.2</c:v>
                </c:pt>
                <c:pt idx="3">
                  <c:v>24.5</c:v>
                </c:pt>
                <c:pt idx="4">
                  <c:v>28.2</c:v>
                </c:pt>
                <c:pt idx="5">
                  <c:v>17.399999999999999</c:v>
                </c:pt>
                <c:pt idx="6">
                  <c:v>20.2</c:v>
                </c:pt>
                <c:pt idx="7">
                  <c:v>18.5</c:v>
                </c:pt>
                <c:pt idx="8">
                  <c:v>20.2</c:v>
                </c:pt>
                <c:pt idx="9">
                  <c:v>16</c:v>
                </c:pt>
                <c:pt idx="10">
                  <c:v>15.3</c:v>
                </c:pt>
                <c:pt idx="11">
                  <c:v>24</c:v>
                </c:pt>
                <c:pt idx="12">
                  <c:v>17.600000000000001</c:v>
                </c:pt>
                <c:pt idx="13">
                  <c:v>17.5</c:v>
                </c:pt>
                <c:pt idx="14">
                  <c:v>18.600000000000001</c:v>
                </c:pt>
                <c:pt idx="15">
                  <c:v>9</c:v>
                </c:pt>
                <c:pt idx="16">
                  <c:v>16</c:v>
                </c:pt>
                <c:pt idx="17">
                  <c:v>10.6</c:v>
                </c:pt>
                <c:pt idx="18">
                  <c:v>17.399999999999999</c:v>
                </c:pt>
                <c:pt idx="19">
                  <c:v>30</c:v>
                </c:pt>
                <c:pt idx="20">
                  <c:v>14.7</c:v>
                </c:pt>
                <c:pt idx="21">
                  <c:v>8.5</c:v>
                </c:pt>
                <c:pt idx="22">
                  <c:v>17.600000000000001</c:v>
                </c:pt>
                <c:pt idx="23">
                  <c:v>10.7</c:v>
                </c:pt>
                <c:pt idx="24">
                  <c:v>22.2</c:v>
                </c:pt>
                <c:pt idx="25">
                  <c:v>17.399999999999999</c:v>
                </c:pt>
                <c:pt idx="26">
                  <c:v>26.7</c:v>
                </c:pt>
                <c:pt idx="27">
                  <c:v>15.9</c:v>
                </c:pt>
                <c:pt idx="28">
                  <c:v>23</c:v>
                </c:pt>
                <c:pt idx="29">
                  <c:v>19.5</c:v>
                </c:pt>
                <c:pt idx="30">
                  <c:v>17</c:v>
                </c:pt>
                <c:pt idx="31">
                  <c:v>23.2</c:v>
                </c:pt>
                <c:pt idx="32">
                  <c:v>25</c:v>
                </c:pt>
                <c:pt idx="33">
                  <c:v>30.2</c:v>
                </c:pt>
                <c:pt idx="34">
                  <c:v>18.899999999999999</c:v>
                </c:pt>
                <c:pt idx="35">
                  <c:v>17.3</c:v>
                </c:pt>
                <c:pt idx="36">
                  <c:v>19.2</c:v>
                </c:pt>
                <c:pt idx="37">
                  <c:v>21.5</c:v>
                </c:pt>
                <c:pt idx="38">
                  <c:v>16.3</c:v>
                </c:pt>
                <c:pt idx="39">
                  <c:v>23.5</c:v>
                </c:pt>
                <c:pt idx="40">
                  <c:v>26</c:v>
                </c:pt>
                <c:pt idx="41">
                  <c:v>15.5</c:v>
                </c:pt>
                <c:pt idx="42">
                  <c:v>24</c:v>
                </c:pt>
                <c:pt idx="43">
                  <c:v>22</c:v>
                </c:pt>
                <c:pt idx="44">
                  <c:v>20</c:v>
                </c:pt>
                <c:pt idx="45">
                  <c:v>21</c:v>
                </c:pt>
                <c:pt idx="46">
                  <c:v>16.3</c:v>
                </c:pt>
                <c:pt idx="47">
                  <c:v>20.5</c:v>
                </c:pt>
                <c:pt idx="48">
                  <c:v>22</c:v>
                </c:pt>
                <c:pt idx="49">
                  <c:v>23.5</c:v>
                </c:pt>
                <c:pt idx="50">
                  <c:v>23.5</c:v>
                </c:pt>
                <c:pt idx="51">
                  <c:v>18</c:v>
                </c:pt>
                <c:pt idx="52">
                  <c:v>20.2</c:v>
                </c:pt>
                <c:pt idx="53">
                  <c:v>22.5</c:v>
                </c:pt>
                <c:pt idx="54">
                  <c:v>16.2</c:v>
                </c:pt>
                <c:pt idx="55">
                  <c:v>18.5</c:v>
                </c:pt>
                <c:pt idx="56">
                  <c:v>19.7</c:v>
                </c:pt>
                <c:pt idx="57">
                  <c:v>25.7</c:v>
                </c:pt>
                <c:pt idx="58">
                  <c:v>27.5</c:v>
                </c:pt>
                <c:pt idx="59">
                  <c:v>13.6</c:v>
                </c:pt>
                <c:pt idx="60">
                  <c:v>31.9</c:v>
                </c:pt>
                <c:pt idx="61">
                  <c:v>16.399999999999999</c:v>
                </c:pt>
                <c:pt idx="62">
                  <c:v>6.6</c:v>
                </c:pt>
                <c:pt idx="63">
                  <c:v>26</c:v>
                </c:pt>
                <c:pt idx="64">
                  <c:v>23.6</c:v>
                </c:pt>
                <c:pt idx="65">
                  <c:v>30.5</c:v>
                </c:pt>
                <c:pt idx="66">
                  <c:v>27.8</c:v>
                </c:pt>
                <c:pt idx="67">
                  <c:v>28.8</c:v>
                </c:pt>
                <c:pt idx="68">
                  <c:v>27.8</c:v>
                </c:pt>
                <c:pt idx="69">
                  <c:v>22.5</c:v>
                </c:pt>
                <c:pt idx="70">
                  <c:v>25</c:v>
                </c:pt>
                <c:pt idx="71">
                  <c:v>15.6</c:v>
                </c:pt>
                <c:pt idx="72">
                  <c:v>27.6</c:v>
                </c:pt>
                <c:pt idx="73">
                  <c:v>28.8</c:v>
                </c:pt>
                <c:pt idx="74">
                  <c:v>19.899999999999999</c:v>
                </c:pt>
                <c:pt idx="75">
                  <c:v>25.4</c:v>
                </c:pt>
                <c:pt idx="76">
                  <c:v>25.7</c:v>
                </c:pt>
                <c:pt idx="77">
                  <c:v>39</c:v>
                </c:pt>
                <c:pt idx="78">
                  <c:v>17</c:v>
                </c:pt>
                <c:pt idx="79">
                  <c:v>25.6</c:v>
                </c:pt>
                <c:pt idx="80">
                  <c:v>16.399999999999999</c:v>
                </c:pt>
                <c:pt idx="81">
                  <c:v>20.8</c:v>
                </c:pt>
                <c:pt idx="82">
                  <c:v>22</c:v>
                </c:pt>
                <c:pt idx="83">
                  <c:v>29.5</c:v>
                </c:pt>
                <c:pt idx="84">
                  <c:v>23.7</c:v>
                </c:pt>
                <c:pt idx="85">
                  <c:v>23.5</c:v>
                </c:pt>
                <c:pt idx="86">
                  <c:v>27.7</c:v>
                </c:pt>
                <c:pt idx="87">
                  <c:v>14.7</c:v>
                </c:pt>
                <c:pt idx="88">
                  <c:v>23</c:v>
                </c:pt>
                <c:pt idx="89">
                  <c:v>16</c:v>
                </c:pt>
                <c:pt idx="90">
                  <c:v>19.7</c:v>
                </c:pt>
                <c:pt idx="91">
                  <c:v>25.9</c:v>
                </c:pt>
                <c:pt idx="92">
                  <c:v>20.8</c:v>
                </c:pt>
                <c:pt idx="93">
                  <c:v>21.1</c:v>
                </c:pt>
                <c:pt idx="94">
                  <c:v>17.3</c:v>
                </c:pt>
                <c:pt idx="95">
                  <c:v>22.8</c:v>
                </c:pt>
                <c:pt idx="96">
                  <c:v>23</c:v>
                </c:pt>
                <c:pt idx="97">
                  <c:v>22.2</c:v>
                </c:pt>
                <c:pt idx="98">
                  <c:v>19.100000000000001</c:v>
                </c:pt>
                <c:pt idx="99">
                  <c:v>21.5</c:v>
                </c:pt>
                <c:pt idx="100">
                  <c:v>21</c:v>
                </c:pt>
                <c:pt idx="101">
                  <c:v>20.8</c:v>
                </c:pt>
                <c:pt idx="102">
                  <c:v>23</c:v>
                </c:pt>
                <c:pt idx="103">
                  <c:v>16.899999999999999</c:v>
                </c:pt>
                <c:pt idx="104">
                  <c:v>19.600000000000001</c:v>
                </c:pt>
                <c:pt idx="105">
                  <c:v>20</c:v>
                </c:pt>
                <c:pt idx="106">
                  <c:v>16.600000000000001</c:v>
                </c:pt>
                <c:pt idx="107">
                  <c:v>24</c:v>
                </c:pt>
                <c:pt idx="108">
                  <c:v>18.8</c:v>
                </c:pt>
                <c:pt idx="109">
                  <c:v>20.7</c:v>
                </c:pt>
                <c:pt idx="110">
                  <c:v>15.8</c:v>
                </c:pt>
                <c:pt idx="111">
                  <c:v>20.2</c:v>
                </c:pt>
                <c:pt idx="112">
                  <c:v>17.5</c:v>
                </c:pt>
                <c:pt idx="113">
                  <c:v>21</c:v>
                </c:pt>
                <c:pt idx="114">
                  <c:v>17.399999999999999</c:v>
                </c:pt>
                <c:pt idx="115">
                  <c:v>17.399999999999999</c:v>
                </c:pt>
                <c:pt idx="116">
                  <c:v>23.1</c:v>
                </c:pt>
                <c:pt idx="117">
                  <c:v>23.7</c:v>
                </c:pt>
                <c:pt idx="118">
                  <c:v>26.1</c:v>
                </c:pt>
                <c:pt idx="119">
                  <c:v>27</c:v>
                </c:pt>
                <c:pt idx="120">
                  <c:v>29.6</c:v>
                </c:pt>
                <c:pt idx="121">
                  <c:v>19.7</c:v>
                </c:pt>
                <c:pt idx="122">
                  <c:v>31</c:v>
                </c:pt>
                <c:pt idx="123">
                  <c:v>18.8</c:v>
                </c:pt>
                <c:pt idx="124">
                  <c:v>20.7</c:v>
                </c:pt>
                <c:pt idx="125">
                  <c:v>22.1</c:v>
                </c:pt>
                <c:pt idx="126">
                  <c:v>25.5</c:v>
                </c:pt>
                <c:pt idx="127">
                  <c:v>22</c:v>
                </c:pt>
                <c:pt idx="128">
                  <c:v>11.3</c:v>
                </c:pt>
                <c:pt idx="129">
                  <c:v>13.1</c:v>
                </c:pt>
                <c:pt idx="130">
                  <c:v>31.1</c:v>
                </c:pt>
                <c:pt idx="131">
                  <c:v>35.6</c:v>
                </c:pt>
                <c:pt idx="132">
                  <c:v>33.1</c:v>
                </c:pt>
                <c:pt idx="133">
                  <c:v>23.7</c:v>
                </c:pt>
                <c:pt idx="134">
                  <c:v>21.5</c:v>
                </c:pt>
                <c:pt idx="135">
                  <c:v>19.600000000000001</c:v>
                </c:pt>
                <c:pt idx="136">
                  <c:v>22.1</c:v>
                </c:pt>
                <c:pt idx="137">
                  <c:v>20.6</c:v>
                </c:pt>
                <c:pt idx="138">
                  <c:v>20.6</c:v>
                </c:pt>
                <c:pt idx="139">
                  <c:v>21.5</c:v>
                </c:pt>
                <c:pt idx="140">
                  <c:v>32.5</c:v>
                </c:pt>
                <c:pt idx="141">
                  <c:v>19.600000000000001</c:v>
                </c:pt>
                <c:pt idx="142">
                  <c:v>21</c:v>
                </c:pt>
                <c:pt idx="143">
                  <c:v>25</c:v>
                </c:pt>
                <c:pt idx="144">
                  <c:v>29</c:v>
                </c:pt>
                <c:pt idx="145">
                  <c:v>28.2</c:v>
                </c:pt>
                <c:pt idx="146">
                  <c:v>18</c:v>
                </c:pt>
                <c:pt idx="147">
                  <c:v>32.5</c:v>
                </c:pt>
                <c:pt idx="148">
                  <c:v>19.8</c:v>
                </c:pt>
                <c:pt idx="149">
                  <c:v>17.399999999999999</c:v>
                </c:pt>
                <c:pt idx="150">
                  <c:v>18.5</c:v>
                </c:pt>
                <c:pt idx="151">
                  <c:v>24.5</c:v>
                </c:pt>
                <c:pt idx="152">
                  <c:v>28.2</c:v>
                </c:pt>
                <c:pt idx="153">
                  <c:v>16.3</c:v>
                </c:pt>
                <c:pt idx="154">
                  <c:v>18.5</c:v>
                </c:pt>
                <c:pt idx="155">
                  <c:v>20.9</c:v>
                </c:pt>
                <c:pt idx="156">
                  <c:v>18.5</c:v>
                </c:pt>
                <c:pt idx="157">
                  <c:v>15.8</c:v>
                </c:pt>
                <c:pt idx="158">
                  <c:v>13.6</c:v>
                </c:pt>
                <c:pt idx="159">
                  <c:v>22.5</c:v>
                </c:pt>
                <c:pt idx="160">
                  <c:v>17.600000000000001</c:v>
                </c:pt>
                <c:pt idx="161">
                  <c:v>20.5</c:v>
                </c:pt>
                <c:pt idx="162">
                  <c:v>17.600000000000001</c:v>
                </c:pt>
                <c:pt idx="163">
                  <c:v>9.1</c:v>
                </c:pt>
                <c:pt idx="164">
                  <c:v>15.8</c:v>
                </c:pt>
                <c:pt idx="165">
                  <c:v>11.9</c:v>
                </c:pt>
                <c:pt idx="166">
                  <c:v>14.4</c:v>
                </c:pt>
                <c:pt idx="167">
                  <c:v>29</c:v>
                </c:pt>
                <c:pt idx="168">
                  <c:v>9.1</c:v>
                </c:pt>
                <c:pt idx="169">
                  <c:v>8.5</c:v>
                </c:pt>
                <c:pt idx="170">
                  <c:v>17.600000000000001</c:v>
                </c:pt>
                <c:pt idx="171">
                  <c:v>11.1</c:v>
                </c:pt>
                <c:pt idx="172">
                  <c:v>21.4</c:v>
                </c:pt>
                <c:pt idx="173">
                  <c:v>16.3</c:v>
                </c:pt>
                <c:pt idx="174">
                  <c:v>26.7</c:v>
                </c:pt>
                <c:pt idx="175">
                  <c:v>18.600000000000001</c:v>
                </c:pt>
                <c:pt idx="176">
                  <c:v>24</c:v>
                </c:pt>
                <c:pt idx="177">
                  <c:v>19.5</c:v>
                </c:pt>
                <c:pt idx="178">
                  <c:v>17</c:v>
                </c:pt>
                <c:pt idx="179">
                  <c:v>23.2</c:v>
                </c:pt>
                <c:pt idx="180">
                  <c:v>25</c:v>
                </c:pt>
                <c:pt idx="181">
                  <c:v>25.2</c:v>
                </c:pt>
                <c:pt idx="182">
                  <c:v>18.899999999999999</c:v>
                </c:pt>
                <c:pt idx="183">
                  <c:v>22.3</c:v>
                </c:pt>
                <c:pt idx="184">
                  <c:v>16.399999999999999</c:v>
                </c:pt>
                <c:pt idx="185">
                  <c:v>25.8</c:v>
                </c:pt>
                <c:pt idx="186">
                  <c:v>15.1</c:v>
                </c:pt>
                <c:pt idx="187">
                  <c:v>20.5</c:v>
                </c:pt>
                <c:pt idx="188">
                  <c:v>22</c:v>
                </c:pt>
                <c:pt idx="189">
                  <c:v>12.5</c:v>
                </c:pt>
                <c:pt idx="190">
                  <c:v>24</c:v>
                </c:pt>
                <c:pt idx="191">
                  <c:v>17.5</c:v>
                </c:pt>
                <c:pt idx="192">
                  <c:v>22</c:v>
                </c:pt>
                <c:pt idx="193">
                  <c:v>24</c:v>
                </c:pt>
                <c:pt idx="194">
                  <c:v>15.1</c:v>
                </c:pt>
                <c:pt idx="195">
                  <c:v>19.5</c:v>
                </c:pt>
                <c:pt idx="196">
                  <c:v>22</c:v>
                </c:pt>
                <c:pt idx="197">
                  <c:v>20.5</c:v>
                </c:pt>
                <c:pt idx="198">
                  <c:v>20.5</c:v>
                </c:pt>
                <c:pt idx="199">
                  <c:v>18</c:v>
                </c:pt>
                <c:pt idx="200">
                  <c:v>20.2</c:v>
                </c:pt>
                <c:pt idx="201">
                  <c:v>22.5</c:v>
                </c:pt>
                <c:pt idx="202">
                  <c:v>17.2</c:v>
                </c:pt>
                <c:pt idx="203">
                  <c:v>15.5</c:v>
                </c:pt>
                <c:pt idx="204">
                  <c:v>13.4</c:v>
                </c:pt>
                <c:pt idx="205">
                  <c:v>25.5</c:v>
                </c:pt>
                <c:pt idx="206">
                  <c:v>27.5</c:v>
                </c:pt>
                <c:pt idx="207">
                  <c:v>13.6</c:v>
                </c:pt>
                <c:pt idx="208">
                  <c:v>31.9</c:v>
                </c:pt>
                <c:pt idx="209">
                  <c:v>16.2</c:v>
                </c:pt>
                <c:pt idx="210">
                  <c:v>6.6</c:v>
                </c:pt>
                <c:pt idx="211">
                  <c:v>24.8</c:v>
                </c:pt>
                <c:pt idx="212">
                  <c:v>20</c:v>
                </c:pt>
                <c:pt idx="213">
                  <c:v>28.7</c:v>
                </c:pt>
                <c:pt idx="214">
                  <c:v>30.8</c:v>
                </c:pt>
                <c:pt idx="215">
                  <c:v>26.3</c:v>
                </c:pt>
                <c:pt idx="216">
                  <c:v>26.9</c:v>
                </c:pt>
                <c:pt idx="217">
                  <c:v>22.5</c:v>
                </c:pt>
                <c:pt idx="218">
                  <c:v>16.7</c:v>
                </c:pt>
                <c:pt idx="219">
                  <c:v>23.3</c:v>
                </c:pt>
                <c:pt idx="220">
                  <c:v>28.8</c:v>
                </c:pt>
                <c:pt idx="221">
                  <c:v>19.899999999999999</c:v>
                </c:pt>
                <c:pt idx="222">
                  <c:v>18</c:v>
                </c:pt>
                <c:pt idx="223">
                  <c:v>25.5</c:v>
                </c:pt>
                <c:pt idx="224">
                  <c:v>43</c:v>
                </c:pt>
                <c:pt idx="225">
                  <c:v>20</c:v>
                </c:pt>
                <c:pt idx="226">
                  <c:v>24</c:v>
                </c:pt>
                <c:pt idx="227">
                  <c:v>16.2</c:v>
                </c:pt>
                <c:pt idx="228">
                  <c:v>20.100000000000001</c:v>
                </c:pt>
                <c:pt idx="229">
                  <c:v>20</c:v>
                </c:pt>
                <c:pt idx="230">
                  <c:v>29.5</c:v>
                </c:pt>
                <c:pt idx="231">
                  <c:v>23.5</c:v>
                </c:pt>
                <c:pt idx="232">
                  <c:v>25.7</c:v>
                </c:pt>
                <c:pt idx="233">
                  <c:v>27.7</c:v>
                </c:pt>
                <c:pt idx="234">
                  <c:v>23</c:v>
                </c:pt>
                <c:pt idx="235">
                  <c:v>18</c:v>
                </c:pt>
                <c:pt idx="236">
                  <c:v>16.3</c:v>
                </c:pt>
                <c:pt idx="237">
                  <c:v>26.9</c:v>
                </c:pt>
                <c:pt idx="238">
                  <c:v>20.8</c:v>
                </c:pt>
                <c:pt idx="239">
                  <c:v>21.1</c:v>
                </c:pt>
                <c:pt idx="240">
                  <c:v>16.5</c:v>
                </c:pt>
                <c:pt idx="241">
                  <c:v>18.7</c:v>
                </c:pt>
                <c:pt idx="242">
                  <c:v>23</c:v>
                </c:pt>
                <c:pt idx="243">
                  <c:v>19</c:v>
                </c:pt>
                <c:pt idx="244">
                  <c:v>18.899999999999999</c:v>
                </c:pt>
                <c:pt idx="245">
                  <c:v>21.5</c:v>
                </c:pt>
                <c:pt idx="246">
                  <c:v>22</c:v>
                </c:pt>
                <c:pt idx="247">
                  <c:v>18.8</c:v>
                </c:pt>
                <c:pt idx="248">
                  <c:v>23</c:v>
                </c:pt>
                <c:pt idx="249">
                  <c:v>16.5</c:v>
                </c:pt>
                <c:pt idx="250">
                  <c:v>17.2</c:v>
                </c:pt>
                <c:pt idx="251">
                  <c:v>19.8</c:v>
                </c:pt>
                <c:pt idx="252">
                  <c:v>17.100000000000001</c:v>
                </c:pt>
                <c:pt idx="253">
                  <c:v>22.5</c:v>
                </c:pt>
                <c:pt idx="254">
                  <c:v>18.8</c:v>
                </c:pt>
                <c:pt idx="255">
                  <c:v>22.8</c:v>
                </c:pt>
                <c:pt idx="256">
                  <c:v>12.1</c:v>
                </c:pt>
                <c:pt idx="257">
                  <c:v>21.7</c:v>
                </c:pt>
                <c:pt idx="258">
                  <c:v>20.5</c:v>
                </c:pt>
                <c:pt idx="259">
                  <c:v>17.899999999999999</c:v>
                </c:pt>
                <c:pt idx="260">
                  <c:v>17.399999999999999</c:v>
                </c:pt>
                <c:pt idx="261">
                  <c:v>23.1</c:v>
                </c:pt>
                <c:pt idx="262">
                  <c:v>19.7</c:v>
                </c:pt>
                <c:pt idx="263">
                  <c:v>26.1</c:v>
                </c:pt>
                <c:pt idx="264">
                  <c:v>27</c:v>
                </c:pt>
                <c:pt idx="265">
                  <c:v>24</c:v>
                </c:pt>
                <c:pt idx="266">
                  <c:v>19.7</c:v>
                </c:pt>
                <c:pt idx="267">
                  <c:v>27</c:v>
                </c:pt>
                <c:pt idx="268">
                  <c:v>18.8</c:v>
                </c:pt>
                <c:pt idx="269">
                  <c:v>18.3</c:v>
                </c:pt>
                <c:pt idx="270">
                  <c:v>19.7</c:v>
                </c:pt>
                <c:pt idx="271">
                  <c:v>24.5</c:v>
                </c:pt>
                <c:pt idx="272">
                  <c:v>25</c:v>
                </c:pt>
                <c:pt idx="273">
                  <c:v>9.9</c:v>
                </c:pt>
                <c:pt idx="274">
                  <c:v>14.1</c:v>
                </c:pt>
                <c:pt idx="275">
                  <c:v>26.5</c:v>
                </c:pt>
                <c:pt idx="276">
                  <c:v>32.6</c:v>
                </c:pt>
                <c:pt idx="277">
                  <c:v>34.4</c:v>
                </c:pt>
                <c:pt idx="278">
                  <c:v>24.7</c:v>
                </c:pt>
                <c:pt idx="279">
                  <c:v>21.5</c:v>
                </c:pt>
                <c:pt idx="280">
                  <c:v>19.600000000000001</c:v>
                </c:pt>
                <c:pt idx="281">
                  <c:v>19.7</c:v>
                </c:pt>
                <c:pt idx="282">
                  <c:v>19.3</c:v>
                </c:pt>
                <c:pt idx="283">
                  <c:v>19.3</c:v>
                </c:pt>
                <c:pt idx="284">
                  <c:v>21.5</c:v>
                </c:pt>
                <c:pt idx="285">
                  <c:v>26.5</c:v>
                </c:pt>
                <c:pt idx="286">
                  <c:v>19.600000000000001</c:v>
                </c:pt>
                <c:pt idx="287">
                  <c:v>21</c:v>
                </c:pt>
                <c:pt idx="288">
                  <c:v>25</c:v>
                </c:pt>
                <c:pt idx="289">
                  <c:v>31</c:v>
                </c:pt>
                <c:pt idx="290">
                  <c:v>28.2</c:v>
                </c:pt>
                <c:pt idx="291">
                  <c:v>15.1</c:v>
                </c:pt>
                <c:pt idx="292">
                  <c:v>26.5</c:v>
                </c:pt>
                <c:pt idx="293">
                  <c:v>19.8</c:v>
                </c:pt>
                <c:pt idx="294">
                  <c:v>17.399999999999999</c:v>
                </c:pt>
                <c:pt idx="295">
                  <c:v>18.5</c:v>
                </c:pt>
                <c:pt idx="296">
                  <c:v>24.5</c:v>
                </c:pt>
                <c:pt idx="297">
                  <c:v>28.6</c:v>
                </c:pt>
                <c:pt idx="298">
                  <c:v>14</c:v>
                </c:pt>
                <c:pt idx="299">
                  <c:v>18.5</c:v>
                </c:pt>
                <c:pt idx="300">
                  <c:v>20.9</c:v>
                </c:pt>
                <c:pt idx="301">
                  <c:v>18.5</c:v>
                </c:pt>
                <c:pt idx="302">
                  <c:v>15.8</c:v>
                </c:pt>
                <c:pt idx="303">
                  <c:v>17.2</c:v>
                </c:pt>
                <c:pt idx="304">
                  <c:v>22.5</c:v>
                </c:pt>
                <c:pt idx="305">
                  <c:v>18.399999999999999</c:v>
                </c:pt>
                <c:pt idx="306">
                  <c:v>20.5</c:v>
                </c:pt>
                <c:pt idx="307">
                  <c:v>16</c:v>
                </c:pt>
                <c:pt idx="308">
                  <c:v>9.9</c:v>
                </c:pt>
                <c:pt idx="309">
                  <c:v>15.8</c:v>
                </c:pt>
                <c:pt idx="310">
                  <c:v>15.3</c:v>
                </c:pt>
                <c:pt idx="311">
                  <c:v>15.9</c:v>
                </c:pt>
                <c:pt idx="312">
                  <c:v>25.8</c:v>
                </c:pt>
                <c:pt idx="313">
                  <c:v>11.9</c:v>
                </c:pt>
                <c:pt idx="314">
                  <c:v>10.8</c:v>
                </c:pt>
                <c:pt idx="315">
                  <c:v>19.899999999999999</c:v>
                </c:pt>
                <c:pt idx="316">
                  <c:v>12.1</c:v>
                </c:pt>
                <c:pt idx="317">
                  <c:v>16</c:v>
                </c:pt>
                <c:pt idx="318">
                  <c:v>14</c:v>
                </c:pt>
                <c:pt idx="319">
                  <c:v>38.6</c:v>
                </c:pt>
                <c:pt idx="320">
                  <c:v>19.399999999999999</c:v>
                </c:pt>
                <c:pt idx="321">
                  <c:v>25</c:v>
                </c:pt>
                <c:pt idx="322">
                  <c:v>22</c:v>
                </c:pt>
                <c:pt idx="323">
                  <c:v>22.1</c:v>
                </c:pt>
                <c:pt idx="324">
                  <c:v>23.2</c:v>
                </c:pt>
                <c:pt idx="325">
                  <c:v>25</c:v>
                </c:pt>
                <c:pt idx="326">
                  <c:v>25.2</c:v>
                </c:pt>
                <c:pt idx="327">
                  <c:v>17.899999999999999</c:v>
                </c:pt>
                <c:pt idx="328">
                  <c:v>24.8</c:v>
                </c:pt>
                <c:pt idx="329">
                  <c:v>16.2</c:v>
                </c:pt>
                <c:pt idx="330">
                  <c:v>25.8</c:v>
                </c:pt>
                <c:pt idx="331">
                  <c:v>15.1</c:v>
                </c:pt>
                <c:pt idx="332">
                  <c:v>23.5</c:v>
                </c:pt>
                <c:pt idx="333">
                  <c:v>26</c:v>
                </c:pt>
                <c:pt idx="334">
                  <c:v>17</c:v>
                </c:pt>
                <c:pt idx="335">
                  <c:v>30</c:v>
                </c:pt>
                <c:pt idx="336">
                  <c:v>18</c:v>
                </c:pt>
                <c:pt idx="337">
                  <c:v>22</c:v>
                </c:pt>
                <c:pt idx="338">
                  <c:v>24</c:v>
                </c:pt>
                <c:pt idx="339">
                  <c:v>15.1</c:v>
                </c:pt>
                <c:pt idx="340">
                  <c:v>19.5</c:v>
                </c:pt>
                <c:pt idx="341">
                  <c:v>24.1</c:v>
                </c:pt>
                <c:pt idx="342">
                  <c:v>23.5</c:v>
                </c:pt>
                <c:pt idx="343">
                  <c:v>23.5</c:v>
                </c:pt>
                <c:pt idx="344">
                  <c:v>18</c:v>
                </c:pt>
                <c:pt idx="345">
                  <c:v>21.2</c:v>
                </c:pt>
                <c:pt idx="346">
                  <c:v>17.600000000000001</c:v>
                </c:pt>
                <c:pt idx="347">
                  <c:v>16.5</c:v>
                </c:pt>
                <c:pt idx="348">
                  <c:v>16</c:v>
                </c:pt>
                <c:pt idx="349">
                  <c:v>13.2</c:v>
                </c:pt>
                <c:pt idx="350">
                  <c:v>25.6</c:v>
                </c:pt>
                <c:pt idx="351">
                  <c:v>32.5</c:v>
                </c:pt>
                <c:pt idx="352">
                  <c:v>13.6</c:v>
                </c:pt>
                <c:pt idx="353">
                  <c:v>31.9</c:v>
                </c:pt>
                <c:pt idx="354">
                  <c:v>16</c:v>
                </c:pt>
                <c:pt idx="355">
                  <c:v>16.7</c:v>
                </c:pt>
                <c:pt idx="356">
                  <c:v>21.5</c:v>
                </c:pt>
                <c:pt idx="357">
                  <c:v>20.8</c:v>
                </c:pt>
                <c:pt idx="358">
                  <c:v>31.2</c:v>
                </c:pt>
                <c:pt idx="359">
                  <c:v>31.1</c:v>
                </c:pt>
                <c:pt idx="360">
                  <c:v>30.3</c:v>
                </c:pt>
                <c:pt idx="361">
                  <c:v>28.2</c:v>
                </c:pt>
                <c:pt idx="362">
                  <c:v>17.600000000000001</c:v>
                </c:pt>
                <c:pt idx="363">
                  <c:v>22.3</c:v>
                </c:pt>
                <c:pt idx="364">
                  <c:v>27.2</c:v>
                </c:pt>
                <c:pt idx="365">
                  <c:v>28.8</c:v>
                </c:pt>
                <c:pt idx="366">
                  <c:v>22.7</c:v>
                </c:pt>
                <c:pt idx="367">
                  <c:v>18</c:v>
                </c:pt>
                <c:pt idx="368">
                  <c:v>25.6</c:v>
                </c:pt>
                <c:pt idx="369">
                  <c:v>32.1</c:v>
                </c:pt>
                <c:pt idx="370">
                  <c:v>22</c:v>
                </c:pt>
                <c:pt idx="371">
                  <c:v>26</c:v>
                </c:pt>
                <c:pt idx="372">
                  <c:v>16</c:v>
                </c:pt>
                <c:pt idx="373">
                  <c:v>18.100000000000001</c:v>
                </c:pt>
                <c:pt idx="374">
                  <c:v>18</c:v>
                </c:pt>
                <c:pt idx="375">
                  <c:v>29.5</c:v>
                </c:pt>
                <c:pt idx="376">
                  <c:v>24.2</c:v>
                </c:pt>
                <c:pt idx="377">
                  <c:v>25.7</c:v>
                </c:pt>
                <c:pt idx="378">
                  <c:v>27.7</c:v>
                </c:pt>
                <c:pt idx="379">
                  <c:v>19</c:v>
                </c:pt>
                <c:pt idx="380">
                  <c:v>31.8</c:v>
                </c:pt>
                <c:pt idx="381">
                  <c:v>15.8</c:v>
                </c:pt>
                <c:pt idx="382">
                  <c:v>30.9</c:v>
                </c:pt>
                <c:pt idx="383">
                  <c:v>21.1</c:v>
                </c:pt>
                <c:pt idx="384">
                  <c:v>16.5</c:v>
                </c:pt>
                <c:pt idx="385">
                  <c:v>18.399999999999999</c:v>
                </c:pt>
                <c:pt idx="386">
                  <c:v>26</c:v>
                </c:pt>
                <c:pt idx="387">
                  <c:v>15</c:v>
                </c:pt>
                <c:pt idx="388">
                  <c:v>20.5</c:v>
                </c:pt>
                <c:pt idx="389">
                  <c:v>21.5</c:v>
                </c:pt>
                <c:pt idx="390">
                  <c:v>20</c:v>
                </c:pt>
                <c:pt idx="391">
                  <c:v>18.8</c:v>
                </c:pt>
                <c:pt idx="392">
                  <c:v>19</c:v>
                </c:pt>
                <c:pt idx="393">
                  <c:v>16.899999999999999</c:v>
                </c:pt>
                <c:pt idx="394">
                  <c:v>17</c:v>
                </c:pt>
                <c:pt idx="395">
                  <c:v>16.600000000000001</c:v>
                </c:pt>
                <c:pt idx="396">
                  <c:v>23</c:v>
                </c:pt>
                <c:pt idx="397">
                  <c:v>22.5</c:v>
                </c:pt>
                <c:pt idx="398">
                  <c:v>17.8</c:v>
                </c:pt>
                <c:pt idx="399">
                  <c:v>22.8</c:v>
                </c:pt>
                <c:pt idx="400">
                  <c:v>14.7</c:v>
                </c:pt>
                <c:pt idx="401">
                  <c:v>21.7</c:v>
                </c:pt>
                <c:pt idx="402">
                  <c:v>20.5</c:v>
                </c:pt>
                <c:pt idx="403">
                  <c:v>22</c:v>
                </c:pt>
                <c:pt idx="404">
                  <c:v>17.399999999999999</c:v>
                </c:pt>
                <c:pt idx="405">
                  <c:v>19.7</c:v>
                </c:pt>
                <c:pt idx="406">
                  <c:v>25</c:v>
                </c:pt>
                <c:pt idx="407">
                  <c:v>29</c:v>
                </c:pt>
                <c:pt idx="408">
                  <c:v>24</c:v>
                </c:pt>
                <c:pt idx="409">
                  <c:v>22</c:v>
                </c:pt>
                <c:pt idx="410">
                  <c:v>27</c:v>
                </c:pt>
                <c:pt idx="411">
                  <c:v>18.8</c:v>
                </c:pt>
                <c:pt idx="412">
                  <c:v>17.899999999999999</c:v>
                </c:pt>
                <c:pt idx="413">
                  <c:v>19.7</c:v>
                </c:pt>
                <c:pt idx="414">
                  <c:v>24.5</c:v>
                </c:pt>
                <c:pt idx="415">
                  <c:v>26</c:v>
                </c:pt>
                <c:pt idx="416">
                  <c:v>11.4</c:v>
                </c:pt>
                <c:pt idx="417">
                  <c:v>14.5</c:v>
                </c:pt>
                <c:pt idx="418">
                  <c:v>26.1</c:v>
                </c:pt>
                <c:pt idx="419">
                  <c:v>32.1</c:v>
                </c:pt>
                <c:pt idx="420">
                  <c:v>33.1</c:v>
                </c:pt>
                <c:pt idx="421">
                  <c:v>24.7</c:v>
                </c:pt>
                <c:pt idx="422">
                  <c:v>21.5</c:v>
                </c:pt>
                <c:pt idx="423">
                  <c:v>19.600000000000001</c:v>
                </c:pt>
                <c:pt idx="424">
                  <c:v>19.7</c:v>
                </c:pt>
                <c:pt idx="425">
                  <c:v>20.2</c:v>
                </c:pt>
                <c:pt idx="426">
                  <c:v>20.2</c:v>
                </c:pt>
                <c:pt idx="427">
                  <c:v>21.5</c:v>
                </c:pt>
                <c:pt idx="428">
                  <c:v>29.5</c:v>
                </c:pt>
                <c:pt idx="429">
                  <c:v>19.600000000000001</c:v>
                </c:pt>
                <c:pt idx="430">
                  <c:v>21</c:v>
                </c:pt>
                <c:pt idx="431">
                  <c:v>27.1</c:v>
                </c:pt>
                <c:pt idx="432">
                  <c:v>35</c:v>
                </c:pt>
                <c:pt idx="433">
                  <c:v>29.1</c:v>
                </c:pt>
                <c:pt idx="434">
                  <c:v>16.5</c:v>
                </c:pt>
                <c:pt idx="435">
                  <c:v>29.5</c:v>
                </c:pt>
                <c:pt idx="436">
                  <c:v>16.8</c:v>
                </c:pt>
                <c:pt idx="437">
                  <c:v>17.399999999999999</c:v>
                </c:pt>
                <c:pt idx="438">
                  <c:v>18.5</c:v>
                </c:pt>
                <c:pt idx="439">
                  <c:v>21.5</c:v>
                </c:pt>
                <c:pt idx="440">
                  <c:v>28.6</c:v>
                </c:pt>
                <c:pt idx="441">
                  <c:v>14</c:v>
                </c:pt>
                <c:pt idx="442">
                  <c:v>18.5</c:v>
                </c:pt>
                <c:pt idx="443">
                  <c:v>18.899999999999999</c:v>
                </c:pt>
                <c:pt idx="444">
                  <c:v>18.5</c:v>
                </c:pt>
                <c:pt idx="445">
                  <c:v>15.6</c:v>
                </c:pt>
                <c:pt idx="446">
                  <c:v>17.2</c:v>
                </c:pt>
                <c:pt idx="447">
                  <c:v>26</c:v>
                </c:pt>
                <c:pt idx="448">
                  <c:v>18.8</c:v>
                </c:pt>
                <c:pt idx="449">
                  <c:v>18.5</c:v>
                </c:pt>
                <c:pt idx="450">
                  <c:v>18</c:v>
                </c:pt>
                <c:pt idx="451">
                  <c:v>10.199999999999999</c:v>
                </c:pt>
                <c:pt idx="452">
                  <c:v>15.6</c:v>
                </c:pt>
                <c:pt idx="453">
                  <c:v>15.3</c:v>
                </c:pt>
                <c:pt idx="454">
                  <c:v>15</c:v>
                </c:pt>
                <c:pt idx="455">
                  <c:v>25.8</c:v>
                </c:pt>
                <c:pt idx="456">
                  <c:v>11.9</c:v>
                </c:pt>
                <c:pt idx="457">
                  <c:v>10.8</c:v>
                </c:pt>
                <c:pt idx="458">
                  <c:v>19.899999999999999</c:v>
                </c:pt>
                <c:pt idx="459">
                  <c:v>9.9</c:v>
                </c:pt>
                <c:pt idx="460">
                  <c:v>17.8</c:v>
                </c:pt>
                <c:pt idx="461">
                  <c:v>14</c:v>
                </c:pt>
                <c:pt idx="462">
                  <c:v>26.2</c:v>
                </c:pt>
                <c:pt idx="463">
                  <c:v>19.8</c:v>
                </c:pt>
                <c:pt idx="464">
                  <c:v>25.5</c:v>
                </c:pt>
                <c:pt idx="465">
                  <c:v>18</c:v>
                </c:pt>
                <c:pt idx="466">
                  <c:v>24.8</c:v>
                </c:pt>
                <c:pt idx="467">
                  <c:v>15.2</c:v>
                </c:pt>
                <c:pt idx="468">
                  <c:v>25</c:v>
                </c:pt>
                <c:pt idx="469">
                  <c:v>25.2</c:v>
                </c:pt>
                <c:pt idx="470">
                  <c:v>17.899999999999999</c:v>
                </c:pt>
                <c:pt idx="471">
                  <c:v>26.8</c:v>
                </c:pt>
                <c:pt idx="472">
                  <c:v>16.2</c:v>
                </c:pt>
                <c:pt idx="473">
                  <c:v>19.8</c:v>
                </c:pt>
                <c:pt idx="474">
                  <c:v>12.5</c:v>
                </c:pt>
                <c:pt idx="475">
                  <c:v>23.5</c:v>
                </c:pt>
                <c:pt idx="476">
                  <c:v>23</c:v>
                </c:pt>
                <c:pt idx="477">
                  <c:v>27</c:v>
                </c:pt>
                <c:pt idx="478">
                  <c:v>24</c:v>
                </c:pt>
                <c:pt idx="479">
                  <c:v>18</c:v>
                </c:pt>
                <c:pt idx="480">
                  <c:v>22</c:v>
                </c:pt>
                <c:pt idx="481">
                  <c:v>20</c:v>
                </c:pt>
                <c:pt idx="482">
                  <c:v>12.5</c:v>
                </c:pt>
                <c:pt idx="483">
                  <c:v>17.7</c:v>
                </c:pt>
                <c:pt idx="484">
                  <c:v>25.8</c:v>
                </c:pt>
                <c:pt idx="485">
                  <c:v>23.5</c:v>
                </c:pt>
                <c:pt idx="486">
                  <c:v>23.5</c:v>
                </c:pt>
                <c:pt idx="487">
                  <c:v>15.5</c:v>
                </c:pt>
                <c:pt idx="488">
                  <c:v>21.2</c:v>
                </c:pt>
                <c:pt idx="489">
                  <c:v>17.600000000000001</c:v>
                </c:pt>
                <c:pt idx="490">
                  <c:v>15.6</c:v>
                </c:pt>
                <c:pt idx="491">
                  <c:v>12.5</c:v>
                </c:pt>
                <c:pt idx="492">
                  <c:v>12.4</c:v>
                </c:pt>
                <c:pt idx="493">
                  <c:v>25.8</c:v>
                </c:pt>
                <c:pt idx="494">
                  <c:v>32.5</c:v>
                </c:pt>
                <c:pt idx="495">
                  <c:v>16.600000000000001</c:v>
                </c:pt>
                <c:pt idx="496">
                  <c:v>25.7</c:v>
                </c:pt>
                <c:pt idx="497">
                  <c:v>16</c:v>
                </c:pt>
                <c:pt idx="498">
                  <c:v>21.5</c:v>
                </c:pt>
                <c:pt idx="499">
                  <c:v>20.3</c:v>
                </c:pt>
                <c:pt idx="500">
                  <c:v>37</c:v>
                </c:pt>
                <c:pt idx="501">
                  <c:v>34.700000000000003</c:v>
                </c:pt>
                <c:pt idx="502">
                  <c:v>30.3</c:v>
                </c:pt>
                <c:pt idx="503">
                  <c:v>27</c:v>
                </c:pt>
                <c:pt idx="504">
                  <c:v>17.600000000000001</c:v>
                </c:pt>
                <c:pt idx="505">
                  <c:v>19.399999999999999</c:v>
                </c:pt>
                <c:pt idx="506">
                  <c:v>26.5</c:v>
                </c:pt>
                <c:pt idx="507">
                  <c:v>30.8</c:v>
                </c:pt>
                <c:pt idx="508">
                  <c:v>22.7</c:v>
                </c:pt>
                <c:pt idx="509">
                  <c:v>18</c:v>
                </c:pt>
                <c:pt idx="510">
                  <c:v>25.8</c:v>
                </c:pt>
                <c:pt idx="511">
                  <c:v>32.6</c:v>
                </c:pt>
                <c:pt idx="512">
                  <c:v>19</c:v>
                </c:pt>
                <c:pt idx="513">
                  <c:v>28</c:v>
                </c:pt>
                <c:pt idx="514">
                  <c:v>16</c:v>
                </c:pt>
                <c:pt idx="515">
                  <c:v>18.100000000000001</c:v>
                </c:pt>
                <c:pt idx="516">
                  <c:v>19.3</c:v>
                </c:pt>
                <c:pt idx="517">
                  <c:v>30.4</c:v>
                </c:pt>
                <c:pt idx="518">
                  <c:v>27.7</c:v>
                </c:pt>
                <c:pt idx="519">
                  <c:v>25.6</c:v>
                </c:pt>
                <c:pt idx="520">
                  <c:v>27.7</c:v>
                </c:pt>
                <c:pt idx="521">
                  <c:v>18</c:v>
                </c:pt>
                <c:pt idx="522">
                  <c:v>55.5</c:v>
                </c:pt>
                <c:pt idx="523">
                  <c:v>15.8</c:v>
                </c:pt>
                <c:pt idx="524">
                  <c:v>32.9</c:v>
                </c:pt>
                <c:pt idx="525">
                  <c:v>17</c:v>
                </c:pt>
                <c:pt idx="526">
                  <c:v>16.5</c:v>
                </c:pt>
                <c:pt idx="527">
                  <c:v>19.100000000000001</c:v>
                </c:pt>
                <c:pt idx="528">
                  <c:v>30</c:v>
                </c:pt>
                <c:pt idx="529">
                  <c:v>12</c:v>
                </c:pt>
                <c:pt idx="530">
                  <c:v>20.5</c:v>
                </c:pt>
                <c:pt idx="531">
                  <c:v>21.5</c:v>
                </c:pt>
                <c:pt idx="532">
                  <c:v>18</c:v>
                </c:pt>
                <c:pt idx="533">
                  <c:v>18.8</c:v>
                </c:pt>
                <c:pt idx="534">
                  <c:v>18</c:v>
                </c:pt>
                <c:pt idx="535">
                  <c:v>16.7</c:v>
                </c:pt>
                <c:pt idx="536">
                  <c:v>16.2</c:v>
                </c:pt>
                <c:pt idx="537">
                  <c:v>15.6</c:v>
                </c:pt>
                <c:pt idx="538">
                  <c:v>21.1</c:v>
                </c:pt>
                <c:pt idx="539">
                  <c:v>26</c:v>
                </c:pt>
                <c:pt idx="540">
                  <c:v>20.9</c:v>
                </c:pt>
                <c:pt idx="541">
                  <c:v>13.9</c:v>
                </c:pt>
                <c:pt idx="542">
                  <c:v>21.7</c:v>
                </c:pt>
                <c:pt idx="543">
                  <c:v>18.5</c:v>
                </c:pt>
                <c:pt idx="544">
                  <c:v>22.7</c:v>
                </c:pt>
                <c:pt idx="545">
                  <c:v>22</c:v>
                </c:pt>
                <c:pt idx="546">
                  <c:v>19.7</c:v>
                </c:pt>
                <c:pt idx="547">
                  <c:v>25</c:v>
                </c:pt>
                <c:pt idx="548">
                  <c:v>29</c:v>
                </c:pt>
                <c:pt idx="549">
                  <c:v>24</c:v>
                </c:pt>
                <c:pt idx="550">
                  <c:v>22</c:v>
                </c:pt>
                <c:pt idx="551">
                  <c:v>27</c:v>
                </c:pt>
                <c:pt idx="552">
                  <c:v>18.8</c:v>
                </c:pt>
                <c:pt idx="553">
                  <c:v>17.899999999999999</c:v>
                </c:pt>
                <c:pt idx="554">
                  <c:v>13.3</c:v>
                </c:pt>
                <c:pt idx="555">
                  <c:v>26.4</c:v>
                </c:pt>
                <c:pt idx="556">
                  <c:v>26</c:v>
                </c:pt>
                <c:pt idx="557">
                  <c:v>8.6999999999999993</c:v>
                </c:pt>
                <c:pt idx="558">
                  <c:v>14.5</c:v>
                </c:pt>
                <c:pt idx="559">
                  <c:v>29.1</c:v>
                </c:pt>
                <c:pt idx="560">
                  <c:v>39.1</c:v>
                </c:pt>
                <c:pt idx="561">
                  <c:v>28</c:v>
                </c:pt>
                <c:pt idx="562">
                  <c:v>20.7</c:v>
                </c:pt>
                <c:pt idx="563">
                  <c:v>19.2</c:v>
                </c:pt>
                <c:pt idx="564">
                  <c:v>17.600000000000001</c:v>
                </c:pt>
                <c:pt idx="565">
                  <c:v>13.3</c:v>
                </c:pt>
                <c:pt idx="566">
                  <c:v>18.600000000000001</c:v>
                </c:pt>
                <c:pt idx="567">
                  <c:v>18.600000000000001</c:v>
                </c:pt>
                <c:pt idx="568">
                  <c:v>19.2</c:v>
                </c:pt>
                <c:pt idx="569">
                  <c:v>33.5</c:v>
                </c:pt>
                <c:pt idx="570">
                  <c:v>19.600000000000001</c:v>
                </c:pt>
                <c:pt idx="571">
                  <c:v>21</c:v>
                </c:pt>
                <c:pt idx="572">
                  <c:v>27.1</c:v>
                </c:pt>
                <c:pt idx="573">
                  <c:v>37</c:v>
                </c:pt>
                <c:pt idx="574">
                  <c:v>31</c:v>
                </c:pt>
                <c:pt idx="575">
                  <c:v>16.5</c:v>
                </c:pt>
                <c:pt idx="576">
                  <c:v>33.5</c:v>
                </c:pt>
                <c:pt idx="577">
                  <c:v>16.8</c:v>
                </c:pt>
                <c:pt idx="578">
                  <c:v>17.399999999999999</c:v>
                </c:pt>
                <c:pt idx="579">
                  <c:v>18.399999999999999</c:v>
                </c:pt>
                <c:pt idx="580">
                  <c:v>21.5</c:v>
                </c:pt>
                <c:pt idx="581">
                  <c:v>28.6</c:v>
                </c:pt>
                <c:pt idx="582">
                  <c:v>14</c:v>
                </c:pt>
                <c:pt idx="583">
                  <c:v>18.399999999999999</c:v>
                </c:pt>
                <c:pt idx="584">
                  <c:v>18.899999999999999</c:v>
                </c:pt>
                <c:pt idx="585">
                  <c:v>18.399999999999999</c:v>
                </c:pt>
                <c:pt idx="586">
                  <c:v>14.3</c:v>
                </c:pt>
                <c:pt idx="587">
                  <c:v>17.2</c:v>
                </c:pt>
                <c:pt idx="588">
                  <c:v>26</c:v>
                </c:pt>
                <c:pt idx="589">
                  <c:v>19.399999999999999</c:v>
                </c:pt>
                <c:pt idx="590">
                  <c:v>21.5</c:v>
                </c:pt>
                <c:pt idx="591">
                  <c:v>18</c:v>
                </c:pt>
                <c:pt idx="592">
                  <c:v>10.4</c:v>
                </c:pt>
                <c:pt idx="593">
                  <c:v>14.3</c:v>
                </c:pt>
                <c:pt idx="594">
                  <c:v>15.3</c:v>
                </c:pt>
                <c:pt idx="595">
                  <c:v>15</c:v>
                </c:pt>
                <c:pt idx="596">
                  <c:v>25.8</c:v>
                </c:pt>
                <c:pt idx="597">
                  <c:v>13.9</c:v>
                </c:pt>
                <c:pt idx="598">
                  <c:v>10.8</c:v>
                </c:pt>
                <c:pt idx="599">
                  <c:v>18.100000000000001</c:v>
                </c:pt>
                <c:pt idx="600">
                  <c:v>9.9</c:v>
                </c:pt>
                <c:pt idx="601">
                  <c:v>19.5</c:v>
                </c:pt>
                <c:pt idx="602">
                  <c:v>14</c:v>
                </c:pt>
                <c:pt idx="603">
                  <c:v>27.1</c:v>
                </c:pt>
                <c:pt idx="604">
                  <c:v>19.8</c:v>
                </c:pt>
                <c:pt idx="605">
                  <c:v>25.5</c:v>
                </c:pt>
                <c:pt idx="606">
                  <c:v>21</c:v>
                </c:pt>
                <c:pt idx="607">
                  <c:v>28.6</c:v>
                </c:pt>
                <c:pt idx="608">
                  <c:v>15.2</c:v>
                </c:pt>
                <c:pt idx="609">
                  <c:v>25</c:v>
                </c:pt>
                <c:pt idx="610">
                  <c:v>25.2</c:v>
                </c:pt>
                <c:pt idx="611">
                  <c:v>19.399999999999999</c:v>
                </c:pt>
                <c:pt idx="612">
                  <c:v>27.3</c:v>
                </c:pt>
                <c:pt idx="613">
                  <c:v>16.2</c:v>
                </c:pt>
                <c:pt idx="614">
                  <c:v>20.9</c:v>
                </c:pt>
                <c:pt idx="615">
                  <c:v>13.1</c:v>
                </c:pt>
                <c:pt idx="616">
                  <c:v>23.5</c:v>
                </c:pt>
                <c:pt idx="617">
                  <c:v>25</c:v>
                </c:pt>
                <c:pt idx="618">
                  <c:v>25.4</c:v>
                </c:pt>
                <c:pt idx="619">
                  <c:v>24</c:v>
                </c:pt>
                <c:pt idx="620">
                  <c:v>19.5</c:v>
                </c:pt>
                <c:pt idx="621">
                  <c:v>22</c:v>
                </c:pt>
                <c:pt idx="622">
                  <c:v>26</c:v>
                </c:pt>
                <c:pt idx="623">
                  <c:v>13.1</c:v>
                </c:pt>
                <c:pt idx="624">
                  <c:v>17.7</c:v>
                </c:pt>
                <c:pt idx="625">
                  <c:v>26</c:v>
                </c:pt>
                <c:pt idx="626">
                  <c:v>23.5</c:v>
                </c:pt>
                <c:pt idx="627">
                  <c:v>23.5</c:v>
                </c:pt>
                <c:pt idx="628">
                  <c:v>15.5</c:v>
                </c:pt>
                <c:pt idx="629">
                  <c:v>21.2</c:v>
                </c:pt>
                <c:pt idx="630">
                  <c:v>17.600000000000001</c:v>
                </c:pt>
                <c:pt idx="631">
                  <c:v>15.6</c:v>
                </c:pt>
                <c:pt idx="632">
                  <c:v>13</c:v>
                </c:pt>
                <c:pt idx="633">
                  <c:v>13.2</c:v>
                </c:pt>
                <c:pt idx="634">
                  <c:v>28.4</c:v>
                </c:pt>
                <c:pt idx="635">
                  <c:v>35</c:v>
                </c:pt>
                <c:pt idx="636">
                  <c:v>16.600000000000001</c:v>
                </c:pt>
                <c:pt idx="637">
                  <c:v>25.7</c:v>
                </c:pt>
                <c:pt idx="638">
                  <c:v>14</c:v>
                </c:pt>
                <c:pt idx="639">
                  <c:v>28.3</c:v>
                </c:pt>
                <c:pt idx="640">
                  <c:v>22</c:v>
                </c:pt>
                <c:pt idx="641">
                  <c:v>35.4</c:v>
                </c:pt>
                <c:pt idx="642">
                  <c:v>38.700000000000003</c:v>
                </c:pt>
                <c:pt idx="643">
                  <c:v>32.299999999999997</c:v>
                </c:pt>
                <c:pt idx="644">
                  <c:v>30.9</c:v>
                </c:pt>
                <c:pt idx="645">
                  <c:v>17.600000000000001</c:v>
                </c:pt>
                <c:pt idx="646">
                  <c:v>23.4</c:v>
                </c:pt>
                <c:pt idx="647">
                  <c:v>28.4</c:v>
                </c:pt>
                <c:pt idx="648">
                  <c:v>30.8</c:v>
                </c:pt>
                <c:pt idx="649">
                  <c:v>22.7</c:v>
                </c:pt>
                <c:pt idx="650">
                  <c:v>19.399999999999999</c:v>
                </c:pt>
                <c:pt idx="651">
                  <c:v>28.4</c:v>
                </c:pt>
                <c:pt idx="652">
                  <c:v>32.4</c:v>
                </c:pt>
                <c:pt idx="653">
                  <c:v>19.5</c:v>
                </c:pt>
                <c:pt idx="654">
                  <c:v>33.299999999999997</c:v>
                </c:pt>
                <c:pt idx="655">
                  <c:v>14</c:v>
                </c:pt>
                <c:pt idx="656">
                  <c:v>20.9</c:v>
                </c:pt>
                <c:pt idx="657">
                  <c:v>24.8</c:v>
                </c:pt>
                <c:pt idx="658">
                  <c:v>30.6</c:v>
                </c:pt>
                <c:pt idx="659">
                  <c:v>33.799999999999997</c:v>
                </c:pt>
                <c:pt idx="660">
                  <c:v>25.6</c:v>
                </c:pt>
                <c:pt idx="661">
                  <c:v>31.7</c:v>
                </c:pt>
                <c:pt idx="662">
                  <c:v>18</c:v>
                </c:pt>
                <c:pt idx="663">
                  <c:v>36</c:v>
                </c:pt>
                <c:pt idx="664">
                  <c:v>14.6</c:v>
                </c:pt>
                <c:pt idx="665">
                  <c:v>33.4</c:v>
                </c:pt>
                <c:pt idx="666">
                  <c:v>19.100000000000001</c:v>
                </c:pt>
                <c:pt idx="667">
                  <c:v>16.600000000000001</c:v>
                </c:pt>
                <c:pt idx="668">
                  <c:v>23.2</c:v>
                </c:pt>
                <c:pt idx="669">
                  <c:v>32</c:v>
                </c:pt>
                <c:pt idx="670">
                  <c:v>12</c:v>
                </c:pt>
                <c:pt idx="671">
                  <c:v>20.5</c:v>
                </c:pt>
                <c:pt idx="672">
                  <c:v>22.7</c:v>
                </c:pt>
                <c:pt idx="673">
                  <c:v>17</c:v>
                </c:pt>
                <c:pt idx="674">
                  <c:v>18.8</c:v>
                </c:pt>
                <c:pt idx="675">
                  <c:v>18</c:v>
                </c:pt>
                <c:pt idx="676">
                  <c:v>16.2</c:v>
                </c:pt>
                <c:pt idx="677">
                  <c:v>18.7</c:v>
                </c:pt>
                <c:pt idx="678">
                  <c:v>21.6</c:v>
                </c:pt>
                <c:pt idx="679">
                  <c:v>26</c:v>
                </c:pt>
                <c:pt idx="680">
                  <c:v>22.9</c:v>
                </c:pt>
                <c:pt idx="681">
                  <c:v>13.9</c:v>
                </c:pt>
                <c:pt idx="682">
                  <c:v>19.600000000000001</c:v>
                </c:pt>
                <c:pt idx="683">
                  <c:v>21.5</c:v>
                </c:pt>
                <c:pt idx="684">
                  <c:v>24.1</c:v>
                </c:pt>
                <c:pt idx="685">
                  <c:v>22</c:v>
                </c:pt>
                <c:pt idx="686">
                  <c:v>20.6</c:v>
                </c:pt>
                <c:pt idx="687">
                  <c:v>25</c:v>
                </c:pt>
                <c:pt idx="688">
                  <c:v>29</c:v>
                </c:pt>
                <c:pt idx="689">
                  <c:v>24</c:v>
                </c:pt>
                <c:pt idx="690">
                  <c:v>27</c:v>
                </c:pt>
                <c:pt idx="691">
                  <c:v>18.8</c:v>
                </c:pt>
                <c:pt idx="692">
                  <c:v>19.5</c:v>
                </c:pt>
                <c:pt idx="693">
                  <c:v>15.7</c:v>
                </c:pt>
                <c:pt idx="694">
                  <c:v>24.4</c:v>
                </c:pt>
                <c:pt idx="695">
                  <c:v>26</c:v>
                </c:pt>
                <c:pt idx="696">
                  <c:v>11.9</c:v>
                </c:pt>
                <c:pt idx="697">
                  <c:v>14.9</c:v>
                </c:pt>
                <c:pt idx="698">
                  <c:v>29.1</c:v>
                </c:pt>
                <c:pt idx="699">
                  <c:v>32.5</c:v>
                </c:pt>
                <c:pt idx="700">
                  <c:v>28</c:v>
                </c:pt>
                <c:pt idx="701">
                  <c:v>20.7</c:v>
                </c:pt>
                <c:pt idx="702">
                  <c:v>19.2</c:v>
                </c:pt>
                <c:pt idx="703">
                  <c:v>17.600000000000001</c:v>
                </c:pt>
                <c:pt idx="704">
                  <c:v>15.7</c:v>
                </c:pt>
                <c:pt idx="705">
                  <c:v>18.600000000000001</c:v>
                </c:pt>
                <c:pt idx="706">
                  <c:v>18.600000000000001</c:v>
                </c:pt>
                <c:pt idx="707">
                  <c:v>19.2</c:v>
                </c:pt>
                <c:pt idx="708">
                  <c:v>31.5</c:v>
                </c:pt>
                <c:pt idx="709">
                  <c:v>19.600000000000001</c:v>
                </c:pt>
                <c:pt idx="710">
                  <c:v>19.7</c:v>
                </c:pt>
                <c:pt idx="711">
                  <c:v>27.1</c:v>
                </c:pt>
                <c:pt idx="712">
                  <c:v>37</c:v>
                </c:pt>
                <c:pt idx="713">
                  <c:v>26.4</c:v>
                </c:pt>
                <c:pt idx="714">
                  <c:v>18.399999999999999</c:v>
                </c:pt>
                <c:pt idx="715">
                  <c:v>31.5</c:v>
                </c:pt>
                <c:pt idx="716">
                  <c:v>17.399999999999999</c:v>
                </c:pt>
                <c:pt idx="717">
                  <c:v>20</c:v>
                </c:pt>
                <c:pt idx="718">
                  <c:v>26</c:v>
                </c:pt>
                <c:pt idx="719">
                  <c:v>28.6</c:v>
                </c:pt>
                <c:pt idx="720">
                  <c:v>14</c:v>
                </c:pt>
                <c:pt idx="721">
                  <c:v>20</c:v>
                </c:pt>
                <c:pt idx="722">
                  <c:v>18.899999999999999</c:v>
                </c:pt>
                <c:pt idx="723">
                  <c:v>20</c:v>
                </c:pt>
                <c:pt idx="724">
                  <c:v>10.5</c:v>
                </c:pt>
                <c:pt idx="725">
                  <c:v>17.2</c:v>
                </c:pt>
                <c:pt idx="726">
                  <c:v>26</c:v>
                </c:pt>
                <c:pt idx="727">
                  <c:v>19.8</c:v>
                </c:pt>
                <c:pt idx="728">
                  <c:v>19.5</c:v>
                </c:pt>
                <c:pt idx="729">
                  <c:v>18</c:v>
                </c:pt>
                <c:pt idx="730">
                  <c:v>9.8000000000000007</c:v>
                </c:pt>
                <c:pt idx="731">
                  <c:v>10.5</c:v>
                </c:pt>
                <c:pt idx="732">
                  <c:v>15.3</c:v>
                </c:pt>
                <c:pt idx="733">
                  <c:v>21.3</c:v>
                </c:pt>
                <c:pt idx="734">
                  <c:v>24</c:v>
                </c:pt>
                <c:pt idx="735">
                  <c:v>13.9</c:v>
                </c:pt>
                <c:pt idx="736">
                  <c:v>10.8</c:v>
                </c:pt>
                <c:pt idx="737">
                  <c:v>18.100000000000001</c:v>
                </c:pt>
                <c:pt idx="738">
                  <c:v>10.9</c:v>
                </c:pt>
                <c:pt idx="739">
                  <c:v>21.3</c:v>
                </c:pt>
                <c:pt idx="740">
                  <c:v>14</c:v>
                </c:pt>
                <c:pt idx="741">
                  <c:v>28.4</c:v>
                </c:pt>
                <c:pt idx="742">
                  <c:v>20.5</c:v>
                </c:pt>
                <c:pt idx="743">
                  <c:v>26</c:v>
                </c:pt>
                <c:pt idx="744">
                  <c:v>21</c:v>
                </c:pt>
                <c:pt idx="745">
                  <c:v>30</c:v>
                </c:pt>
                <c:pt idx="746">
                  <c:v>21.3</c:v>
                </c:pt>
                <c:pt idx="747">
                  <c:v>25</c:v>
                </c:pt>
                <c:pt idx="748">
                  <c:v>26.2</c:v>
                </c:pt>
                <c:pt idx="749">
                  <c:v>19.399999999999999</c:v>
                </c:pt>
                <c:pt idx="750">
                  <c:v>26.1</c:v>
                </c:pt>
                <c:pt idx="751">
                  <c:v>15.4</c:v>
                </c:pt>
                <c:pt idx="752">
                  <c:v>20.9</c:v>
                </c:pt>
                <c:pt idx="753">
                  <c:v>12.6</c:v>
                </c:pt>
                <c:pt idx="754">
                  <c:v>20.5</c:v>
                </c:pt>
                <c:pt idx="755">
                  <c:v>29</c:v>
                </c:pt>
                <c:pt idx="756">
                  <c:v>29</c:v>
                </c:pt>
                <c:pt idx="757">
                  <c:v>21.7</c:v>
                </c:pt>
                <c:pt idx="758">
                  <c:v>20.5</c:v>
                </c:pt>
                <c:pt idx="759">
                  <c:v>22</c:v>
                </c:pt>
                <c:pt idx="760">
                  <c:v>26</c:v>
                </c:pt>
                <c:pt idx="761">
                  <c:v>9</c:v>
                </c:pt>
                <c:pt idx="762">
                  <c:v>18</c:v>
                </c:pt>
                <c:pt idx="763">
                  <c:v>28</c:v>
                </c:pt>
                <c:pt idx="764">
                  <c:v>20.5</c:v>
                </c:pt>
                <c:pt idx="765">
                  <c:v>20.5</c:v>
                </c:pt>
                <c:pt idx="766">
                  <c:v>19</c:v>
                </c:pt>
                <c:pt idx="767">
                  <c:v>24.2</c:v>
                </c:pt>
                <c:pt idx="768">
                  <c:v>17.600000000000001</c:v>
                </c:pt>
                <c:pt idx="769">
                  <c:v>15.6</c:v>
                </c:pt>
                <c:pt idx="770">
                  <c:v>14</c:v>
                </c:pt>
                <c:pt idx="771">
                  <c:v>16</c:v>
                </c:pt>
                <c:pt idx="772">
                  <c:v>30.4</c:v>
                </c:pt>
                <c:pt idx="773">
                  <c:v>32.5</c:v>
                </c:pt>
                <c:pt idx="774">
                  <c:v>16.600000000000001</c:v>
                </c:pt>
                <c:pt idx="775">
                  <c:v>25.7</c:v>
                </c:pt>
                <c:pt idx="776">
                  <c:v>11.6</c:v>
                </c:pt>
                <c:pt idx="777">
                  <c:v>28.3</c:v>
                </c:pt>
                <c:pt idx="778">
                  <c:v>24.3</c:v>
                </c:pt>
                <c:pt idx="779">
                  <c:v>35.4</c:v>
                </c:pt>
                <c:pt idx="780">
                  <c:v>38.700000000000003</c:v>
                </c:pt>
                <c:pt idx="781">
                  <c:v>33.1</c:v>
                </c:pt>
                <c:pt idx="782">
                  <c:v>30.9</c:v>
                </c:pt>
                <c:pt idx="783">
                  <c:v>17.600000000000001</c:v>
                </c:pt>
                <c:pt idx="784">
                  <c:v>22</c:v>
                </c:pt>
                <c:pt idx="785">
                  <c:v>30.5</c:v>
                </c:pt>
                <c:pt idx="786">
                  <c:v>30.8</c:v>
                </c:pt>
                <c:pt idx="787">
                  <c:v>20.100000000000001</c:v>
                </c:pt>
                <c:pt idx="788">
                  <c:v>19.399999999999999</c:v>
                </c:pt>
                <c:pt idx="789">
                  <c:v>30.4</c:v>
                </c:pt>
                <c:pt idx="790">
                  <c:v>33</c:v>
                </c:pt>
                <c:pt idx="791">
                  <c:v>20.2</c:v>
                </c:pt>
                <c:pt idx="792">
                  <c:v>33.299999999999997</c:v>
                </c:pt>
                <c:pt idx="793">
                  <c:v>11.6</c:v>
                </c:pt>
                <c:pt idx="794">
                  <c:v>20.9</c:v>
                </c:pt>
                <c:pt idx="795">
                  <c:v>32.9</c:v>
                </c:pt>
                <c:pt idx="796">
                  <c:v>31.5</c:v>
                </c:pt>
                <c:pt idx="797">
                  <c:v>33.799999999999997</c:v>
                </c:pt>
                <c:pt idx="798">
                  <c:v>25.6</c:v>
                </c:pt>
                <c:pt idx="799">
                  <c:v>33.6</c:v>
                </c:pt>
                <c:pt idx="800">
                  <c:v>18</c:v>
                </c:pt>
                <c:pt idx="801">
                  <c:v>36</c:v>
                </c:pt>
                <c:pt idx="802">
                  <c:v>16.600000000000001</c:v>
                </c:pt>
                <c:pt idx="803">
                  <c:v>33.4</c:v>
                </c:pt>
                <c:pt idx="804">
                  <c:v>24</c:v>
                </c:pt>
                <c:pt idx="805">
                  <c:v>19.3</c:v>
                </c:pt>
                <c:pt idx="806">
                  <c:v>23.2</c:v>
                </c:pt>
                <c:pt idx="807">
                  <c:v>35</c:v>
                </c:pt>
                <c:pt idx="808">
                  <c:v>6.5</c:v>
                </c:pt>
                <c:pt idx="809">
                  <c:v>22.5</c:v>
                </c:pt>
                <c:pt idx="810">
                  <c:v>24.8</c:v>
                </c:pt>
                <c:pt idx="811">
                  <c:v>19</c:v>
                </c:pt>
                <c:pt idx="812">
                  <c:v>19.5</c:v>
                </c:pt>
                <c:pt idx="813">
                  <c:v>21</c:v>
                </c:pt>
                <c:pt idx="814">
                  <c:v>16.2</c:v>
                </c:pt>
                <c:pt idx="815">
                  <c:v>19.899999999999999</c:v>
                </c:pt>
                <c:pt idx="816">
                  <c:v>21.5</c:v>
                </c:pt>
                <c:pt idx="817">
                  <c:v>26</c:v>
                </c:pt>
                <c:pt idx="818">
                  <c:v>22.9</c:v>
                </c:pt>
                <c:pt idx="819">
                  <c:v>15.5</c:v>
                </c:pt>
                <c:pt idx="820">
                  <c:v>18.399999999999999</c:v>
                </c:pt>
                <c:pt idx="821">
                  <c:v>19.5</c:v>
                </c:pt>
                <c:pt idx="822">
                  <c:v>24.1</c:v>
                </c:pt>
                <c:pt idx="823">
                  <c:v>17.5</c:v>
                </c:pt>
                <c:pt idx="824">
                  <c:v>21.7</c:v>
                </c:pt>
                <c:pt idx="825">
                  <c:v>25</c:v>
                </c:pt>
                <c:pt idx="826">
                  <c:v>31</c:v>
                </c:pt>
                <c:pt idx="827">
                  <c:v>24</c:v>
                </c:pt>
                <c:pt idx="828">
                  <c:v>31</c:v>
                </c:pt>
                <c:pt idx="829">
                  <c:v>18.8</c:v>
                </c:pt>
                <c:pt idx="830">
                  <c:v>21</c:v>
                </c:pt>
                <c:pt idx="831">
                  <c:v>18.899999999999999</c:v>
                </c:pt>
                <c:pt idx="832">
                  <c:v>27.9</c:v>
                </c:pt>
                <c:pt idx="833">
                  <c:v>28</c:v>
                </c:pt>
                <c:pt idx="834">
                  <c:v>11.4</c:v>
                </c:pt>
                <c:pt idx="835">
                  <c:v>16.600000000000001</c:v>
                </c:pt>
                <c:pt idx="836">
                  <c:v>29.1</c:v>
                </c:pt>
                <c:pt idx="837">
                  <c:v>16.600000000000001</c:v>
                </c:pt>
                <c:pt idx="838">
                  <c:v>28</c:v>
                </c:pt>
                <c:pt idx="839">
                  <c:v>24</c:v>
                </c:pt>
                <c:pt idx="840">
                  <c:v>19.2</c:v>
                </c:pt>
                <c:pt idx="841">
                  <c:v>17.600000000000001</c:v>
                </c:pt>
                <c:pt idx="842">
                  <c:v>18.899999999999999</c:v>
                </c:pt>
                <c:pt idx="843">
                  <c:v>19.8</c:v>
                </c:pt>
                <c:pt idx="844">
                  <c:v>19.8</c:v>
                </c:pt>
                <c:pt idx="845">
                  <c:v>19.2</c:v>
                </c:pt>
                <c:pt idx="846">
                  <c:v>31.5</c:v>
                </c:pt>
                <c:pt idx="847">
                  <c:v>19.600000000000001</c:v>
                </c:pt>
                <c:pt idx="848">
                  <c:v>19.7</c:v>
                </c:pt>
                <c:pt idx="849">
                  <c:v>27.1</c:v>
                </c:pt>
                <c:pt idx="850">
                  <c:v>27</c:v>
                </c:pt>
                <c:pt idx="851">
                  <c:v>26.4</c:v>
                </c:pt>
                <c:pt idx="852">
                  <c:v>21.5</c:v>
                </c:pt>
                <c:pt idx="853">
                  <c:v>31.5</c:v>
                </c:pt>
              </c:numCache>
            </c:numRef>
          </c:xVal>
          <c:yVal>
            <c:numRef>
              <c:f>'Data input'!$C$2:$C$855</c:f>
              <c:numCache>
                <c:formatCode>General</c:formatCode>
                <c:ptCount val="854"/>
                <c:pt idx="0">
                  <c:v>1680</c:v>
                </c:pt>
                <c:pt idx="1">
                  <c:v>1714</c:v>
                </c:pt>
                <c:pt idx="2">
                  <c:v>800</c:v>
                </c:pt>
                <c:pt idx="3">
                  <c:v>1680</c:v>
                </c:pt>
                <c:pt idx="4">
                  <c:v>1600</c:v>
                </c:pt>
                <c:pt idx="5">
                  <c:v>2000</c:v>
                </c:pt>
                <c:pt idx="6">
                  <c:v>800</c:v>
                </c:pt>
                <c:pt idx="7">
                  <c:v>1600</c:v>
                </c:pt>
                <c:pt idx="8">
                  <c:v>800</c:v>
                </c:pt>
                <c:pt idx="9">
                  <c:v>2820</c:v>
                </c:pt>
                <c:pt idx="10">
                  <c:v>2640</c:v>
                </c:pt>
                <c:pt idx="11">
                  <c:v>2400</c:v>
                </c:pt>
                <c:pt idx="12">
                  <c:v>3352</c:v>
                </c:pt>
                <c:pt idx="13">
                  <c:v>1500</c:v>
                </c:pt>
                <c:pt idx="14">
                  <c:v>2625</c:v>
                </c:pt>
                <c:pt idx="15">
                  <c:v>3856</c:v>
                </c:pt>
                <c:pt idx="16">
                  <c:v>2820</c:v>
                </c:pt>
                <c:pt idx="17">
                  <c:v>1800</c:v>
                </c:pt>
                <c:pt idx="18">
                  <c:v>2600</c:v>
                </c:pt>
                <c:pt idx="19">
                  <c:v>3500</c:v>
                </c:pt>
                <c:pt idx="20">
                  <c:v>5500</c:v>
                </c:pt>
                <c:pt idx="21">
                  <c:v>2900</c:v>
                </c:pt>
                <c:pt idx="22">
                  <c:v>3840</c:v>
                </c:pt>
                <c:pt idx="23">
                  <c:v>3480</c:v>
                </c:pt>
                <c:pt idx="24">
                  <c:v>960</c:v>
                </c:pt>
                <c:pt idx="25">
                  <c:v>2000</c:v>
                </c:pt>
                <c:pt idx="26">
                  <c:v>2000</c:v>
                </c:pt>
                <c:pt idx="27">
                  <c:v>1910</c:v>
                </c:pt>
                <c:pt idx="28">
                  <c:v>1000</c:v>
                </c:pt>
                <c:pt idx="29">
                  <c:v>2080</c:v>
                </c:pt>
                <c:pt idx="30">
                  <c:v>1000</c:v>
                </c:pt>
                <c:pt idx="31">
                  <c:v>1000</c:v>
                </c:pt>
                <c:pt idx="32">
                  <c:v>2000</c:v>
                </c:pt>
                <c:pt idx="33">
                  <c:v>2000</c:v>
                </c:pt>
                <c:pt idx="34">
                  <c:v>2000</c:v>
                </c:pt>
                <c:pt idx="35">
                  <c:v>2000</c:v>
                </c:pt>
                <c:pt idx="36">
                  <c:v>2920</c:v>
                </c:pt>
                <c:pt idx="37">
                  <c:v>1840</c:v>
                </c:pt>
                <c:pt idx="38">
                  <c:v>2000</c:v>
                </c:pt>
                <c:pt idx="39">
                  <c:v>1500</c:v>
                </c:pt>
                <c:pt idx="40">
                  <c:v>2090</c:v>
                </c:pt>
                <c:pt idx="41">
                  <c:v>2700</c:v>
                </c:pt>
                <c:pt idx="42">
                  <c:v>1938</c:v>
                </c:pt>
                <c:pt idx="43">
                  <c:v>2050</c:v>
                </c:pt>
                <c:pt idx="44">
                  <c:v>2800</c:v>
                </c:pt>
                <c:pt idx="45">
                  <c:v>2000</c:v>
                </c:pt>
                <c:pt idx="46">
                  <c:v>2000</c:v>
                </c:pt>
                <c:pt idx="47">
                  <c:v>2365</c:v>
                </c:pt>
                <c:pt idx="48">
                  <c:v>2000</c:v>
                </c:pt>
                <c:pt idx="49">
                  <c:v>1500</c:v>
                </c:pt>
                <c:pt idx="50">
                  <c:v>1500</c:v>
                </c:pt>
                <c:pt idx="51">
                  <c:v>2000</c:v>
                </c:pt>
                <c:pt idx="52">
                  <c:v>1900</c:v>
                </c:pt>
                <c:pt idx="53">
                  <c:v>1500</c:v>
                </c:pt>
                <c:pt idx="54">
                  <c:v>1500</c:v>
                </c:pt>
                <c:pt idx="55">
                  <c:v>1680</c:v>
                </c:pt>
                <c:pt idx="56">
                  <c:v>1488</c:v>
                </c:pt>
                <c:pt idx="57">
                  <c:v>2000</c:v>
                </c:pt>
                <c:pt idx="58">
                  <c:v>1600</c:v>
                </c:pt>
                <c:pt idx="59">
                  <c:v>1596</c:v>
                </c:pt>
                <c:pt idx="60">
                  <c:v>2100</c:v>
                </c:pt>
                <c:pt idx="61">
                  <c:v>1320</c:v>
                </c:pt>
                <c:pt idx="62">
                  <c:v>660</c:v>
                </c:pt>
                <c:pt idx="63">
                  <c:v>1992</c:v>
                </c:pt>
                <c:pt idx="64">
                  <c:v>1700</c:v>
                </c:pt>
                <c:pt idx="65">
                  <c:v>2500</c:v>
                </c:pt>
                <c:pt idx="66">
                  <c:v>1400</c:v>
                </c:pt>
                <c:pt idx="67">
                  <c:v>1990</c:v>
                </c:pt>
                <c:pt idx="68">
                  <c:v>2094</c:v>
                </c:pt>
                <c:pt idx="69">
                  <c:v>1500</c:v>
                </c:pt>
                <c:pt idx="70">
                  <c:v>2200</c:v>
                </c:pt>
                <c:pt idx="71">
                  <c:v>1200</c:v>
                </c:pt>
                <c:pt idx="72">
                  <c:v>1700</c:v>
                </c:pt>
                <c:pt idx="73">
                  <c:v>750</c:v>
                </c:pt>
                <c:pt idx="74">
                  <c:v>2100</c:v>
                </c:pt>
                <c:pt idx="75">
                  <c:v>1500</c:v>
                </c:pt>
                <c:pt idx="76">
                  <c:v>2000</c:v>
                </c:pt>
                <c:pt idx="77">
                  <c:v>3200</c:v>
                </c:pt>
                <c:pt idx="78">
                  <c:v>1900</c:v>
                </c:pt>
                <c:pt idx="79">
                  <c:v>2400</c:v>
                </c:pt>
                <c:pt idx="80">
                  <c:v>1320</c:v>
                </c:pt>
                <c:pt idx="81">
                  <c:v>1676</c:v>
                </c:pt>
                <c:pt idx="82">
                  <c:v>2200</c:v>
                </c:pt>
                <c:pt idx="83">
                  <c:v>1820</c:v>
                </c:pt>
                <c:pt idx="84">
                  <c:v>2148</c:v>
                </c:pt>
                <c:pt idx="85">
                  <c:v>2200</c:v>
                </c:pt>
                <c:pt idx="86">
                  <c:v>1800</c:v>
                </c:pt>
                <c:pt idx="87">
                  <c:v>1920</c:v>
                </c:pt>
                <c:pt idx="88">
                  <c:v>1500</c:v>
                </c:pt>
                <c:pt idx="89">
                  <c:v>1000</c:v>
                </c:pt>
                <c:pt idx="90">
                  <c:v>1840</c:v>
                </c:pt>
                <c:pt idx="91">
                  <c:v>2400</c:v>
                </c:pt>
                <c:pt idx="92">
                  <c:v>1500</c:v>
                </c:pt>
                <c:pt idx="93">
                  <c:v>2450</c:v>
                </c:pt>
                <c:pt idx="94">
                  <c:v>2240</c:v>
                </c:pt>
                <c:pt idx="95">
                  <c:v>2600</c:v>
                </c:pt>
                <c:pt idx="96">
                  <c:v>2150</c:v>
                </c:pt>
                <c:pt idx="97">
                  <c:v>2400</c:v>
                </c:pt>
                <c:pt idx="98">
                  <c:v>2496</c:v>
                </c:pt>
                <c:pt idx="99">
                  <c:v>2200</c:v>
                </c:pt>
                <c:pt idx="100">
                  <c:v>1744</c:v>
                </c:pt>
                <c:pt idx="101">
                  <c:v>1500</c:v>
                </c:pt>
                <c:pt idx="102">
                  <c:v>1500</c:v>
                </c:pt>
                <c:pt idx="103">
                  <c:v>1662</c:v>
                </c:pt>
                <c:pt idx="104">
                  <c:v>1996</c:v>
                </c:pt>
                <c:pt idx="105">
                  <c:v>2300</c:v>
                </c:pt>
                <c:pt idx="106">
                  <c:v>2390</c:v>
                </c:pt>
                <c:pt idx="107">
                  <c:v>2400</c:v>
                </c:pt>
                <c:pt idx="108">
                  <c:v>1900</c:v>
                </c:pt>
                <c:pt idx="109">
                  <c:v>1500</c:v>
                </c:pt>
                <c:pt idx="110">
                  <c:v>1700</c:v>
                </c:pt>
                <c:pt idx="111">
                  <c:v>2400</c:v>
                </c:pt>
                <c:pt idx="112">
                  <c:v>1500</c:v>
                </c:pt>
                <c:pt idx="113">
                  <c:v>2600</c:v>
                </c:pt>
                <c:pt idx="114">
                  <c:v>1300</c:v>
                </c:pt>
                <c:pt idx="115">
                  <c:v>1300</c:v>
                </c:pt>
                <c:pt idx="116">
                  <c:v>2520</c:v>
                </c:pt>
                <c:pt idx="117">
                  <c:v>1900</c:v>
                </c:pt>
                <c:pt idx="118">
                  <c:v>3000</c:v>
                </c:pt>
                <c:pt idx="119">
                  <c:v>2500</c:v>
                </c:pt>
                <c:pt idx="120">
                  <c:v>2500</c:v>
                </c:pt>
                <c:pt idx="121">
                  <c:v>1850</c:v>
                </c:pt>
                <c:pt idx="122">
                  <c:v>2000</c:v>
                </c:pt>
                <c:pt idx="123">
                  <c:v>2050</c:v>
                </c:pt>
                <c:pt idx="124">
                  <c:v>3400</c:v>
                </c:pt>
                <c:pt idx="125">
                  <c:v>1280</c:v>
                </c:pt>
                <c:pt idx="126">
                  <c:v>3200</c:v>
                </c:pt>
                <c:pt idx="127">
                  <c:v>1300</c:v>
                </c:pt>
                <c:pt idx="128">
                  <c:v>1600</c:v>
                </c:pt>
                <c:pt idx="129">
                  <c:v>1980</c:v>
                </c:pt>
                <c:pt idx="130">
                  <c:v>3100</c:v>
                </c:pt>
                <c:pt idx="131">
                  <c:v>2500</c:v>
                </c:pt>
                <c:pt idx="132">
                  <c:v>2150</c:v>
                </c:pt>
                <c:pt idx="133">
                  <c:v>2800</c:v>
                </c:pt>
                <c:pt idx="134">
                  <c:v>2940</c:v>
                </c:pt>
                <c:pt idx="135">
                  <c:v>2000</c:v>
                </c:pt>
                <c:pt idx="136">
                  <c:v>1280</c:v>
                </c:pt>
                <c:pt idx="137">
                  <c:v>1254</c:v>
                </c:pt>
                <c:pt idx="138">
                  <c:v>1254</c:v>
                </c:pt>
                <c:pt idx="139">
                  <c:v>2940</c:v>
                </c:pt>
                <c:pt idx="140">
                  <c:v>1980</c:v>
                </c:pt>
                <c:pt idx="141">
                  <c:v>2000</c:v>
                </c:pt>
                <c:pt idx="142">
                  <c:v>2400</c:v>
                </c:pt>
                <c:pt idx="143">
                  <c:v>4333</c:v>
                </c:pt>
                <c:pt idx="144">
                  <c:v>2200</c:v>
                </c:pt>
                <c:pt idx="145">
                  <c:v>4400</c:v>
                </c:pt>
                <c:pt idx="146">
                  <c:v>2475</c:v>
                </c:pt>
                <c:pt idx="147">
                  <c:v>1980</c:v>
                </c:pt>
                <c:pt idx="148">
                  <c:v>1440</c:v>
                </c:pt>
                <c:pt idx="149">
                  <c:v>1714</c:v>
                </c:pt>
                <c:pt idx="150">
                  <c:v>600</c:v>
                </c:pt>
                <c:pt idx="151">
                  <c:v>1680</c:v>
                </c:pt>
                <c:pt idx="152">
                  <c:v>1600</c:v>
                </c:pt>
                <c:pt idx="153">
                  <c:v>1860</c:v>
                </c:pt>
                <c:pt idx="154">
                  <c:v>600</c:v>
                </c:pt>
                <c:pt idx="155">
                  <c:v>1600</c:v>
                </c:pt>
                <c:pt idx="156">
                  <c:v>600</c:v>
                </c:pt>
                <c:pt idx="157">
                  <c:v>2820</c:v>
                </c:pt>
                <c:pt idx="158">
                  <c:v>2640</c:v>
                </c:pt>
                <c:pt idx="159">
                  <c:v>2400</c:v>
                </c:pt>
                <c:pt idx="160">
                  <c:v>3352</c:v>
                </c:pt>
                <c:pt idx="161">
                  <c:v>1900</c:v>
                </c:pt>
                <c:pt idx="162">
                  <c:v>2625</c:v>
                </c:pt>
                <c:pt idx="163">
                  <c:v>3861</c:v>
                </c:pt>
                <c:pt idx="164">
                  <c:v>2820</c:v>
                </c:pt>
                <c:pt idx="165">
                  <c:v>1800</c:v>
                </c:pt>
                <c:pt idx="166">
                  <c:v>2600</c:v>
                </c:pt>
                <c:pt idx="167">
                  <c:v>4537</c:v>
                </c:pt>
                <c:pt idx="168">
                  <c:v>4780</c:v>
                </c:pt>
                <c:pt idx="169">
                  <c:v>2900</c:v>
                </c:pt>
                <c:pt idx="170">
                  <c:v>3840</c:v>
                </c:pt>
                <c:pt idx="171">
                  <c:v>3830</c:v>
                </c:pt>
                <c:pt idx="172">
                  <c:v>880</c:v>
                </c:pt>
                <c:pt idx="173">
                  <c:v>1860</c:v>
                </c:pt>
                <c:pt idx="174">
                  <c:v>2000</c:v>
                </c:pt>
                <c:pt idx="175">
                  <c:v>2060</c:v>
                </c:pt>
                <c:pt idx="176">
                  <c:v>1000</c:v>
                </c:pt>
                <c:pt idx="177">
                  <c:v>2200</c:v>
                </c:pt>
                <c:pt idx="178">
                  <c:v>1000</c:v>
                </c:pt>
                <c:pt idx="179">
                  <c:v>1000</c:v>
                </c:pt>
                <c:pt idx="180">
                  <c:v>2000</c:v>
                </c:pt>
                <c:pt idx="181">
                  <c:v>2000</c:v>
                </c:pt>
                <c:pt idx="182">
                  <c:v>2000</c:v>
                </c:pt>
                <c:pt idx="183">
                  <c:v>2000</c:v>
                </c:pt>
                <c:pt idx="184">
                  <c:v>2920</c:v>
                </c:pt>
                <c:pt idx="185">
                  <c:v>1840</c:v>
                </c:pt>
                <c:pt idx="186">
                  <c:v>2000</c:v>
                </c:pt>
                <c:pt idx="187">
                  <c:v>1500</c:v>
                </c:pt>
                <c:pt idx="188">
                  <c:v>2000</c:v>
                </c:pt>
                <c:pt idx="189">
                  <c:v>2600</c:v>
                </c:pt>
                <c:pt idx="190">
                  <c:v>1938</c:v>
                </c:pt>
                <c:pt idx="191">
                  <c:v>2050</c:v>
                </c:pt>
                <c:pt idx="192">
                  <c:v>2800</c:v>
                </c:pt>
                <c:pt idx="193">
                  <c:v>2000</c:v>
                </c:pt>
                <c:pt idx="194">
                  <c:v>2000</c:v>
                </c:pt>
                <c:pt idx="195">
                  <c:v>2365</c:v>
                </c:pt>
                <c:pt idx="196">
                  <c:v>2000</c:v>
                </c:pt>
                <c:pt idx="197">
                  <c:v>1500</c:v>
                </c:pt>
                <c:pt idx="198">
                  <c:v>1500</c:v>
                </c:pt>
                <c:pt idx="199">
                  <c:v>2000</c:v>
                </c:pt>
                <c:pt idx="200">
                  <c:v>1900</c:v>
                </c:pt>
                <c:pt idx="201">
                  <c:v>1500</c:v>
                </c:pt>
                <c:pt idx="202">
                  <c:v>1680</c:v>
                </c:pt>
                <c:pt idx="203">
                  <c:v>1680</c:v>
                </c:pt>
                <c:pt idx="204">
                  <c:v>1488</c:v>
                </c:pt>
                <c:pt idx="205">
                  <c:v>2000</c:v>
                </c:pt>
                <c:pt idx="206">
                  <c:v>1600</c:v>
                </c:pt>
                <c:pt idx="207">
                  <c:v>1596</c:v>
                </c:pt>
                <c:pt idx="208">
                  <c:v>2100</c:v>
                </c:pt>
                <c:pt idx="209">
                  <c:v>1320</c:v>
                </c:pt>
                <c:pt idx="210">
                  <c:v>660</c:v>
                </c:pt>
                <c:pt idx="211">
                  <c:v>1992</c:v>
                </c:pt>
                <c:pt idx="212">
                  <c:v>1700</c:v>
                </c:pt>
                <c:pt idx="213">
                  <c:v>2000</c:v>
                </c:pt>
                <c:pt idx="214">
                  <c:v>1400</c:v>
                </c:pt>
                <c:pt idx="215">
                  <c:v>1990</c:v>
                </c:pt>
                <c:pt idx="216">
                  <c:v>2208</c:v>
                </c:pt>
                <c:pt idx="217">
                  <c:v>1500</c:v>
                </c:pt>
                <c:pt idx="218">
                  <c:v>1320</c:v>
                </c:pt>
                <c:pt idx="219">
                  <c:v>1700</c:v>
                </c:pt>
                <c:pt idx="220">
                  <c:v>750</c:v>
                </c:pt>
                <c:pt idx="221">
                  <c:v>2100</c:v>
                </c:pt>
                <c:pt idx="222">
                  <c:v>1500</c:v>
                </c:pt>
                <c:pt idx="223">
                  <c:v>2000</c:v>
                </c:pt>
                <c:pt idx="224">
                  <c:v>3200</c:v>
                </c:pt>
                <c:pt idx="225">
                  <c:v>1900</c:v>
                </c:pt>
                <c:pt idx="226">
                  <c:v>2400</c:v>
                </c:pt>
                <c:pt idx="227">
                  <c:v>1320</c:v>
                </c:pt>
                <c:pt idx="228">
                  <c:v>1676</c:v>
                </c:pt>
                <c:pt idx="229">
                  <c:v>2200</c:v>
                </c:pt>
                <c:pt idx="230">
                  <c:v>1820</c:v>
                </c:pt>
                <c:pt idx="231">
                  <c:v>2148</c:v>
                </c:pt>
                <c:pt idx="232">
                  <c:v>2400</c:v>
                </c:pt>
                <c:pt idx="233">
                  <c:v>1800</c:v>
                </c:pt>
                <c:pt idx="234">
                  <c:v>2000</c:v>
                </c:pt>
                <c:pt idx="235">
                  <c:v>1000</c:v>
                </c:pt>
                <c:pt idx="236">
                  <c:v>1840</c:v>
                </c:pt>
                <c:pt idx="237">
                  <c:v>2400</c:v>
                </c:pt>
                <c:pt idx="238">
                  <c:v>1500</c:v>
                </c:pt>
                <c:pt idx="239">
                  <c:v>2450</c:v>
                </c:pt>
                <c:pt idx="240">
                  <c:v>2240</c:v>
                </c:pt>
                <c:pt idx="241">
                  <c:v>2600</c:v>
                </c:pt>
                <c:pt idx="242">
                  <c:v>2150</c:v>
                </c:pt>
                <c:pt idx="243">
                  <c:v>2400</c:v>
                </c:pt>
                <c:pt idx="244">
                  <c:v>2496</c:v>
                </c:pt>
                <c:pt idx="245">
                  <c:v>2200</c:v>
                </c:pt>
                <c:pt idx="246">
                  <c:v>1744</c:v>
                </c:pt>
                <c:pt idx="247">
                  <c:v>1500</c:v>
                </c:pt>
                <c:pt idx="248">
                  <c:v>2000</c:v>
                </c:pt>
                <c:pt idx="249">
                  <c:v>1577</c:v>
                </c:pt>
                <c:pt idx="250">
                  <c:v>1996</c:v>
                </c:pt>
                <c:pt idx="251">
                  <c:v>2300</c:v>
                </c:pt>
                <c:pt idx="252">
                  <c:v>2390</c:v>
                </c:pt>
                <c:pt idx="253">
                  <c:v>2400</c:v>
                </c:pt>
                <c:pt idx="254">
                  <c:v>1900</c:v>
                </c:pt>
                <c:pt idx="255">
                  <c:v>1500</c:v>
                </c:pt>
                <c:pt idx="256">
                  <c:v>1700</c:v>
                </c:pt>
                <c:pt idx="257">
                  <c:v>2400</c:v>
                </c:pt>
                <c:pt idx="258">
                  <c:v>1900</c:v>
                </c:pt>
                <c:pt idx="259">
                  <c:v>2600</c:v>
                </c:pt>
                <c:pt idx="260">
                  <c:v>1300</c:v>
                </c:pt>
                <c:pt idx="261">
                  <c:v>2520</c:v>
                </c:pt>
                <c:pt idx="262">
                  <c:v>1900</c:v>
                </c:pt>
                <c:pt idx="263">
                  <c:v>3000</c:v>
                </c:pt>
                <c:pt idx="264">
                  <c:v>2500</c:v>
                </c:pt>
                <c:pt idx="265">
                  <c:v>3000</c:v>
                </c:pt>
                <c:pt idx="266">
                  <c:v>1850</c:v>
                </c:pt>
                <c:pt idx="267">
                  <c:v>2000</c:v>
                </c:pt>
                <c:pt idx="268">
                  <c:v>2050</c:v>
                </c:pt>
                <c:pt idx="269">
                  <c:v>3000</c:v>
                </c:pt>
                <c:pt idx="270">
                  <c:v>1280</c:v>
                </c:pt>
                <c:pt idx="271">
                  <c:v>3200</c:v>
                </c:pt>
                <c:pt idx="272">
                  <c:v>1300</c:v>
                </c:pt>
                <c:pt idx="273">
                  <c:v>1600</c:v>
                </c:pt>
                <c:pt idx="274">
                  <c:v>1980</c:v>
                </c:pt>
                <c:pt idx="275">
                  <c:v>3100</c:v>
                </c:pt>
                <c:pt idx="276">
                  <c:v>2500</c:v>
                </c:pt>
                <c:pt idx="277">
                  <c:v>2580</c:v>
                </c:pt>
                <c:pt idx="278">
                  <c:v>2800</c:v>
                </c:pt>
                <c:pt idx="279">
                  <c:v>2940</c:v>
                </c:pt>
                <c:pt idx="280">
                  <c:v>2000</c:v>
                </c:pt>
                <c:pt idx="281">
                  <c:v>1280</c:v>
                </c:pt>
                <c:pt idx="282">
                  <c:v>1254</c:v>
                </c:pt>
                <c:pt idx="283">
                  <c:v>1254</c:v>
                </c:pt>
                <c:pt idx="284">
                  <c:v>2940</c:v>
                </c:pt>
                <c:pt idx="285">
                  <c:v>1980</c:v>
                </c:pt>
                <c:pt idx="286">
                  <c:v>2000</c:v>
                </c:pt>
                <c:pt idx="287">
                  <c:v>2400</c:v>
                </c:pt>
                <c:pt idx="288">
                  <c:v>4333</c:v>
                </c:pt>
                <c:pt idx="289">
                  <c:v>2200</c:v>
                </c:pt>
                <c:pt idx="290">
                  <c:v>4400</c:v>
                </c:pt>
                <c:pt idx="291">
                  <c:v>2300</c:v>
                </c:pt>
                <c:pt idx="292">
                  <c:v>1980</c:v>
                </c:pt>
                <c:pt idx="293">
                  <c:v>1440</c:v>
                </c:pt>
                <c:pt idx="294">
                  <c:v>1714</c:v>
                </c:pt>
                <c:pt idx="295">
                  <c:v>600</c:v>
                </c:pt>
                <c:pt idx="296">
                  <c:v>1680</c:v>
                </c:pt>
                <c:pt idx="297">
                  <c:v>1600</c:v>
                </c:pt>
                <c:pt idx="298">
                  <c:v>1581</c:v>
                </c:pt>
                <c:pt idx="299">
                  <c:v>600</c:v>
                </c:pt>
                <c:pt idx="300">
                  <c:v>1600</c:v>
                </c:pt>
                <c:pt idx="301">
                  <c:v>600</c:v>
                </c:pt>
                <c:pt idx="302">
                  <c:v>2820</c:v>
                </c:pt>
                <c:pt idx="303">
                  <c:v>2640</c:v>
                </c:pt>
                <c:pt idx="304">
                  <c:v>2400</c:v>
                </c:pt>
                <c:pt idx="305">
                  <c:v>3520</c:v>
                </c:pt>
                <c:pt idx="306">
                  <c:v>1900</c:v>
                </c:pt>
                <c:pt idx="307">
                  <c:v>2625</c:v>
                </c:pt>
                <c:pt idx="308">
                  <c:v>4203</c:v>
                </c:pt>
                <c:pt idx="309">
                  <c:v>2820</c:v>
                </c:pt>
                <c:pt idx="310">
                  <c:v>2200</c:v>
                </c:pt>
                <c:pt idx="311">
                  <c:v>2700</c:v>
                </c:pt>
                <c:pt idx="312">
                  <c:v>4250</c:v>
                </c:pt>
                <c:pt idx="313">
                  <c:v>5500</c:v>
                </c:pt>
                <c:pt idx="314">
                  <c:v>3335</c:v>
                </c:pt>
                <c:pt idx="315">
                  <c:v>4240</c:v>
                </c:pt>
                <c:pt idx="316">
                  <c:v>4080</c:v>
                </c:pt>
                <c:pt idx="317">
                  <c:v>800</c:v>
                </c:pt>
                <c:pt idx="318">
                  <c:v>1581</c:v>
                </c:pt>
                <c:pt idx="319">
                  <c:v>2000</c:v>
                </c:pt>
                <c:pt idx="320">
                  <c:v>2060</c:v>
                </c:pt>
                <c:pt idx="321">
                  <c:v>1500</c:v>
                </c:pt>
                <c:pt idx="322">
                  <c:v>2200</c:v>
                </c:pt>
                <c:pt idx="323">
                  <c:v>1000</c:v>
                </c:pt>
                <c:pt idx="324">
                  <c:v>1000</c:v>
                </c:pt>
                <c:pt idx="325">
                  <c:v>2000</c:v>
                </c:pt>
                <c:pt idx="326">
                  <c:v>2500</c:v>
                </c:pt>
                <c:pt idx="327">
                  <c:v>2000</c:v>
                </c:pt>
                <c:pt idx="328">
                  <c:v>2500</c:v>
                </c:pt>
                <c:pt idx="329">
                  <c:v>2920</c:v>
                </c:pt>
                <c:pt idx="330">
                  <c:v>1840</c:v>
                </c:pt>
                <c:pt idx="331">
                  <c:v>2000</c:v>
                </c:pt>
                <c:pt idx="332">
                  <c:v>1500</c:v>
                </c:pt>
                <c:pt idx="333">
                  <c:v>2000</c:v>
                </c:pt>
                <c:pt idx="334">
                  <c:v>2700</c:v>
                </c:pt>
                <c:pt idx="335">
                  <c:v>2423</c:v>
                </c:pt>
                <c:pt idx="336">
                  <c:v>2050</c:v>
                </c:pt>
                <c:pt idx="337">
                  <c:v>2800</c:v>
                </c:pt>
                <c:pt idx="338">
                  <c:v>2000</c:v>
                </c:pt>
                <c:pt idx="339">
                  <c:v>2000</c:v>
                </c:pt>
                <c:pt idx="340">
                  <c:v>2365</c:v>
                </c:pt>
                <c:pt idx="341">
                  <c:v>2200</c:v>
                </c:pt>
                <c:pt idx="342">
                  <c:v>1500</c:v>
                </c:pt>
                <c:pt idx="343">
                  <c:v>1500</c:v>
                </c:pt>
                <c:pt idx="344">
                  <c:v>2300</c:v>
                </c:pt>
                <c:pt idx="345">
                  <c:v>2100</c:v>
                </c:pt>
                <c:pt idx="346">
                  <c:v>1500</c:v>
                </c:pt>
                <c:pt idx="347">
                  <c:v>1680</c:v>
                </c:pt>
                <c:pt idx="348">
                  <c:v>1680</c:v>
                </c:pt>
                <c:pt idx="349">
                  <c:v>1488</c:v>
                </c:pt>
                <c:pt idx="350">
                  <c:v>2100</c:v>
                </c:pt>
                <c:pt idx="351">
                  <c:v>1700</c:v>
                </c:pt>
                <c:pt idx="352">
                  <c:v>1596</c:v>
                </c:pt>
                <c:pt idx="353">
                  <c:v>2100</c:v>
                </c:pt>
                <c:pt idx="354">
                  <c:v>1320</c:v>
                </c:pt>
                <c:pt idx="355">
                  <c:v>1720</c:v>
                </c:pt>
                <c:pt idx="356">
                  <c:v>1992</c:v>
                </c:pt>
                <c:pt idx="357">
                  <c:v>2000</c:v>
                </c:pt>
                <c:pt idx="358">
                  <c:v>2000</c:v>
                </c:pt>
                <c:pt idx="359">
                  <c:v>1400</c:v>
                </c:pt>
                <c:pt idx="360">
                  <c:v>2090</c:v>
                </c:pt>
                <c:pt idx="361">
                  <c:v>2318</c:v>
                </c:pt>
                <c:pt idx="362">
                  <c:v>1500</c:v>
                </c:pt>
                <c:pt idx="363">
                  <c:v>1720</c:v>
                </c:pt>
                <c:pt idx="364">
                  <c:v>1700</c:v>
                </c:pt>
                <c:pt idx="365">
                  <c:v>750</c:v>
                </c:pt>
                <c:pt idx="366">
                  <c:v>2410</c:v>
                </c:pt>
                <c:pt idx="367">
                  <c:v>1500</c:v>
                </c:pt>
                <c:pt idx="368">
                  <c:v>2100</c:v>
                </c:pt>
                <c:pt idx="369">
                  <c:v>1860</c:v>
                </c:pt>
                <c:pt idx="370">
                  <c:v>2050</c:v>
                </c:pt>
                <c:pt idx="371">
                  <c:v>2500</c:v>
                </c:pt>
                <c:pt idx="372">
                  <c:v>1320</c:v>
                </c:pt>
                <c:pt idx="373">
                  <c:v>1676</c:v>
                </c:pt>
                <c:pt idx="374">
                  <c:v>2000</c:v>
                </c:pt>
                <c:pt idx="375">
                  <c:v>1820</c:v>
                </c:pt>
                <c:pt idx="376">
                  <c:v>2212</c:v>
                </c:pt>
                <c:pt idx="377">
                  <c:v>2200</c:v>
                </c:pt>
                <c:pt idx="378">
                  <c:v>1800</c:v>
                </c:pt>
                <c:pt idx="379">
                  <c:v>2000</c:v>
                </c:pt>
                <c:pt idx="380">
                  <c:v>1000</c:v>
                </c:pt>
                <c:pt idx="381">
                  <c:v>1840</c:v>
                </c:pt>
                <c:pt idx="382">
                  <c:v>2400</c:v>
                </c:pt>
                <c:pt idx="383">
                  <c:v>2450</c:v>
                </c:pt>
                <c:pt idx="384">
                  <c:v>2240</c:v>
                </c:pt>
                <c:pt idx="385">
                  <c:v>2700</c:v>
                </c:pt>
                <c:pt idx="386">
                  <c:v>2150</c:v>
                </c:pt>
                <c:pt idx="387">
                  <c:v>2400</c:v>
                </c:pt>
                <c:pt idx="388">
                  <c:v>2721</c:v>
                </c:pt>
                <c:pt idx="389">
                  <c:v>2200</c:v>
                </c:pt>
                <c:pt idx="390">
                  <c:v>1744</c:v>
                </c:pt>
                <c:pt idx="391">
                  <c:v>1500</c:v>
                </c:pt>
                <c:pt idx="392">
                  <c:v>2000</c:v>
                </c:pt>
                <c:pt idx="393">
                  <c:v>1989</c:v>
                </c:pt>
                <c:pt idx="394">
                  <c:v>1996</c:v>
                </c:pt>
                <c:pt idx="395">
                  <c:v>2300</c:v>
                </c:pt>
                <c:pt idx="396">
                  <c:v>2390</c:v>
                </c:pt>
                <c:pt idx="397">
                  <c:v>2400</c:v>
                </c:pt>
                <c:pt idx="398">
                  <c:v>1900</c:v>
                </c:pt>
                <c:pt idx="399">
                  <c:v>1500</c:v>
                </c:pt>
                <c:pt idx="400">
                  <c:v>1700</c:v>
                </c:pt>
                <c:pt idx="401">
                  <c:v>2400</c:v>
                </c:pt>
                <c:pt idx="402">
                  <c:v>1900</c:v>
                </c:pt>
                <c:pt idx="403">
                  <c:v>2800</c:v>
                </c:pt>
                <c:pt idx="404">
                  <c:v>1300</c:v>
                </c:pt>
                <c:pt idx="405">
                  <c:v>1900</c:v>
                </c:pt>
                <c:pt idx="406">
                  <c:v>3600</c:v>
                </c:pt>
                <c:pt idx="407">
                  <c:v>2500</c:v>
                </c:pt>
                <c:pt idx="408">
                  <c:v>3000</c:v>
                </c:pt>
                <c:pt idx="409">
                  <c:v>2050</c:v>
                </c:pt>
                <c:pt idx="410">
                  <c:v>2000</c:v>
                </c:pt>
                <c:pt idx="411">
                  <c:v>2050</c:v>
                </c:pt>
                <c:pt idx="412">
                  <c:v>3240</c:v>
                </c:pt>
                <c:pt idx="413">
                  <c:v>1500</c:v>
                </c:pt>
                <c:pt idx="414">
                  <c:v>3200</c:v>
                </c:pt>
                <c:pt idx="415">
                  <c:v>1300</c:v>
                </c:pt>
                <c:pt idx="416">
                  <c:v>1600</c:v>
                </c:pt>
                <c:pt idx="417">
                  <c:v>2030</c:v>
                </c:pt>
                <c:pt idx="418">
                  <c:v>3410</c:v>
                </c:pt>
                <c:pt idx="419">
                  <c:v>2500</c:v>
                </c:pt>
                <c:pt idx="420">
                  <c:v>2850</c:v>
                </c:pt>
                <c:pt idx="421">
                  <c:v>2800</c:v>
                </c:pt>
                <c:pt idx="422">
                  <c:v>2940</c:v>
                </c:pt>
                <c:pt idx="423">
                  <c:v>2000</c:v>
                </c:pt>
                <c:pt idx="424">
                  <c:v>1500</c:v>
                </c:pt>
                <c:pt idx="425">
                  <c:v>1254</c:v>
                </c:pt>
                <c:pt idx="426">
                  <c:v>1254</c:v>
                </c:pt>
                <c:pt idx="427">
                  <c:v>2940</c:v>
                </c:pt>
                <c:pt idx="428">
                  <c:v>2400</c:v>
                </c:pt>
                <c:pt idx="429">
                  <c:v>2000</c:v>
                </c:pt>
                <c:pt idx="430">
                  <c:v>2400</c:v>
                </c:pt>
                <c:pt idx="431">
                  <c:v>4550</c:v>
                </c:pt>
                <c:pt idx="432">
                  <c:v>2400</c:v>
                </c:pt>
                <c:pt idx="433">
                  <c:v>4400</c:v>
                </c:pt>
                <c:pt idx="434">
                  <c:v>2580</c:v>
                </c:pt>
                <c:pt idx="435">
                  <c:v>2400</c:v>
                </c:pt>
                <c:pt idx="436">
                  <c:v>1440</c:v>
                </c:pt>
                <c:pt idx="437">
                  <c:v>1714</c:v>
                </c:pt>
                <c:pt idx="438">
                  <c:v>600</c:v>
                </c:pt>
                <c:pt idx="439">
                  <c:v>1680</c:v>
                </c:pt>
                <c:pt idx="440">
                  <c:v>1600</c:v>
                </c:pt>
                <c:pt idx="441">
                  <c:v>1581</c:v>
                </c:pt>
                <c:pt idx="442">
                  <c:v>600</c:v>
                </c:pt>
                <c:pt idx="443">
                  <c:v>1600</c:v>
                </c:pt>
                <c:pt idx="444">
                  <c:v>600</c:v>
                </c:pt>
                <c:pt idx="445">
                  <c:v>2820</c:v>
                </c:pt>
                <c:pt idx="446">
                  <c:v>2638</c:v>
                </c:pt>
                <c:pt idx="447">
                  <c:v>2700</c:v>
                </c:pt>
                <c:pt idx="448">
                  <c:v>3600</c:v>
                </c:pt>
                <c:pt idx="449">
                  <c:v>1900</c:v>
                </c:pt>
                <c:pt idx="450">
                  <c:v>2850</c:v>
                </c:pt>
                <c:pt idx="451">
                  <c:v>1576</c:v>
                </c:pt>
                <c:pt idx="452">
                  <c:v>2820</c:v>
                </c:pt>
                <c:pt idx="453">
                  <c:v>2200</c:v>
                </c:pt>
                <c:pt idx="454">
                  <c:v>2700</c:v>
                </c:pt>
                <c:pt idx="455">
                  <c:v>4250</c:v>
                </c:pt>
                <c:pt idx="456">
                  <c:v>5500</c:v>
                </c:pt>
                <c:pt idx="457">
                  <c:v>3335</c:v>
                </c:pt>
                <c:pt idx="458">
                  <c:v>4240</c:v>
                </c:pt>
                <c:pt idx="459">
                  <c:v>3880</c:v>
                </c:pt>
                <c:pt idx="460">
                  <c:v>800</c:v>
                </c:pt>
                <c:pt idx="461">
                  <c:v>1581</c:v>
                </c:pt>
                <c:pt idx="462">
                  <c:v>2000</c:v>
                </c:pt>
                <c:pt idx="463">
                  <c:v>2060</c:v>
                </c:pt>
                <c:pt idx="464">
                  <c:v>1500</c:v>
                </c:pt>
                <c:pt idx="465">
                  <c:v>2200</c:v>
                </c:pt>
                <c:pt idx="466">
                  <c:v>1000</c:v>
                </c:pt>
                <c:pt idx="467">
                  <c:v>1000</c:v>
                </c:pt>
                <c:pt idx="468">
                  <c:v>2000</c:v>
                </c:pt>
                <c:pt idx="469">
                  <c:v>2500</c:v>
                </c:pt>
                <c:pt idx="470">
                  <c:v>2000</c:v>
                </c:pt>
                <c:pt idx="471">
                  <c:v>2500</c:v>
                </c:pt>
                <c:pt idx="472">
                  <c:v>2920</c:v>
                </c:pt>
                <c:pt idx="473">
                  <c:v>1580</c:v>
                </c:pt>
                <c:pt idx="474">
                  <c:v>2000</c:v>
                </c:pt>
                <c:pt idx="475">
                  <c:v>1250</c:v>
                </c:pt>
                <c:pt idx="476">
                  <c:v>2000</c:v>
                </c:pt>
                <c:pt idx="477">
                  <c:v>2600</c:v>
                </c:pt>
                <c:pt idx="478">
                  <c:v>1938</c:v>
                </c:pt>
                <c:pt idx="479">
                  <c:v>2050</c:v>
                </c:pt>
                <c:pt idx="480">
                  <c:v>2800</c:v>
                </c:pt>
                <c:pt idx="481">
                  <c:v>2000</c:v>
                </c:pt>
                <c:pt idx="482">
                  <c:v>2000</c:v>
                </c:pt>
                <c:pt idx="483">
                  <c:v>2365</c:v>
                </c:pt>
                <c:pt idx="484">
                  <c:v>2365</c:v>
                </c:pt>
                <c:pt idx="485">
                  <c:v>1250</c:v>
                </c:pt>
                <c:pt idx="486">
                  <c:v>1250</c:v>
                </c:pt>
                <c:pt idx="487">
                  <c:v>2300</c:v>
                </c:pt>
                <c:pt idx="488">
                  <c:v>2100</c:v>
                </c:pt>
                <c:pt idx="489">
                  <c:v>1500</c:v>
                </c:pt>
                <c:pt idx="490">
                  <c:v>1200</c:v>
                </c:pt>
                <c:pt idx="491">
                  <c:v>1680</c:v>
                </c:pt>
                <c:pt idx="492">
                  <c:v>1488</c:v>
                </c:pt>
                <c:pt idx="493">
                  <c:v>2100</c:v>
                </c:pt>
                <c:pt idx="494">
                  <c:v>1800</c:v>
                </c:pt>
                <c:pt idx="495">
                  <c:v>1800</c:v>
                </c:pt>
                <c:pt idx="496">
                  <c:v>1680</c:v>
                </c:pt>
                <c:pt idx="497">
                  <c:v>1320</c:v>
                </c:pt>
                <c:pt idx="498">
                  <c:v>1992</c:v>
                </c:pt>
                <c:pt idx="499">
                  <c:v>2000</c:v>
                </c:pt>
                <c:pt idx="500">
                  <c:v>2000</c:v>
                </c:pt>
                <c:pt idx="501">
                  <c:v>1400</c:v>
                </c:pt>
                <c:pt idx="502">
                  <c:v>2090</c:v>
                </c:pt>
                <c:pt idx="503">
                  <c:v>2249</c:v>
                </c:pt>
                <c:pt idx="504">
                  <c:v>1500</c:v>
                </c:pt>
                <c:pt idx="505">
                  <c:v>1720</c:v>
                </c:pt>
                <c:pt idx="506">
                  <c:v>1700</c:v>
                </c:pt>
                <c:pt idx="507">
                  <c:v>750</c:v>
                </c:pt>
                <c:pt idx="508">
                  <c:v>2410</c:v>
                </c:pt>
                <c:pt idx="509">
                  <c:v>1500</c:v>
                </c:pt>
                <c:pt idx="510">
                  <c:v>2100</c:v>
                </c:pt>
                <c:pt idx="511">
                  <c:v>1860</c:v>
                </c:pt>
                <c:pt idx="512">
                  <c:v>2050</c:v>
                </c:pt>
                <c:pt idx="513">
                  <c:v>2500</c:v>
                </c:pt>
                <c:pt idx="514">
                  <c:v>1320</c:v>
                </c:pt>
                <c:pt idx="515">
                  <c:v>1676</c:v>
                </c:pt>
                <c:pt idx="516">
                  <c:v>2200</c:v>
                </c:pt>
                <c:pt idx="517">
                  <c:v>1820</c:v>
                </c:pt>
                <c:pt idx="518">
                  <c:v>2544</c:v>
                </c:pt>
                <c:pt idx="519">
                  <c:v>2400</c:v>
                </c:pt>
                <c:pt idx="520">
                  <c:v>1800</c:v>
                </c:pt>
                <c:pt idx="521">
                  <c:v>2000</c:v>
                </c:pt>
                <c:pt idx="522">
                  <c:v>1875</c:v>
                </c:pt>
                <c:pt idx="523">
                  <c:v>1840</c:v>
                </c:pt>
                <c:pt idx="524">
                  <c:v>2400</c:v>
                </c:pt>
                <c:pt idx="525">
                  <c:v>2450</c:v>
                </c:pt>
                <c:pt idx="526">
                  <c:v>2240</c:v>
                </c:pt>
                <c:pt idx="527">
                  <c:v>2700</c:v>
                </c:pt>
                <c:pt idx="528">
                  <c:v>2150</c:v>
                </c:pt>
                <c:pt idx="529">
                  <c:v>2400</c:v>
                </c:pt>
                <c:pt idx="530">
                  <c:v>2721</c:v>
                </c:pt>
                <c:pt idx="531">
                  <c:v>2200</c:v>
                </c:pt>
                <c:pt idx="532">
                  <c:v>1744</c:v>
                </c:pt>
                <c:pt idx="533">
                  <c:v>1500</c:v>
                </c:pt>
                <c:pt idx="534">
                  <c:v>2000</c:v>
                </c:pt>
                <c:pt idx="535">
                  <c:v>1788</c:v>
                </c:pt>
                <c:pt idx="536">
                  <c:v>1996</c:v>
                </c:pt>
                <c:pt idx="537">
                  <c:v>2300</c:v>
                </c:pt>
                <c:pt idx="538">
                  <c:v>2390</c:v>
                </c:pt>
                <c:pt idx="539">
                  <c:v>2700</c:v>
                </c:pt>
                <c:pt idx="540">
                  <c:v>1500</c:v>
                </c:pt>
                <c:pt idx="541">
                  <c:v>1700</c:v>
                </c:pt>
                <c:pt idx="542">
                  <c:v>2400</c:v>
                </c:pt>
                <c:pt idx="543">
                  <c:v>1900</c:v>
                </c:pt>
                <c:pt idx="544">
                  <c:v>2800</c:v>
                </c:pt>
                <c:pt idx="545">
                  <c:v>1340</c:v>
                </c:pt>
                <c:pt idx="546">
                  <c:v>1900</c:v>
                </c:pt>
                <c:pt idx="547">
                  <c:v>3600</c:v>
                </c:pt>
                <c:pt idx="548">
                  <c:v>2500</c:v>
                </c:pt>
                <c:pt idx="549">
                  <c:v>3000</c:v>
                </c:pt>
                <c:pt idx="550">
                  <c:v>2050</c:v>
                </c:pt>
                <c:pt idx="551">
                  <c:v>2000</c:v>
                </c:pt>
                <c:pt idx="552">
                  <c:v>2050</c:v>
                </c:pt>
                <c:pt idx="553">
                  <c:v>3240</c:v>
                </c:pt>
                <c:pt idx="554">
                  <c:v>1500</c:v>
                </c:pt>
                <c:pt idx="555">
                  <c:v>3460</c:v>
                </c:pt>
                <c:pt idx="556">
                  <c:v>1900</c:v>
                </c:pt>
                <c:pt idx="557">
                  <c:v>1600</c:v>
                </c:pt>
                <c:pt idx="558">
                  <c:v>2030</c:v>
                </c:pt>
                <c:pt idx="559">
                  <c:v>3820</c:v>
                </c:pt>
                <c:pt idx="560">
                  <c:v>3000</c:v>
                </c:pt>
                <c:pt idx="561">
                  <c:v>2850</c:v>
                </c:pt>
                <c:pt idx="562">
                  <c:v>2800</c:v>
                </c:pt>
                <c:pt idx="563">
                  <c:v>2940</c:v>
                </c:pt>
                <c:pt idx="564">
                  <c:v>2000</c:v>
                </c:pt>
                <c:pt idx="565">
                  <c:v>1500</c:v>
                </c:pt>
                <c:pt idx="566">
                  <c:v>1254</c:v>
                </c:pt>
                <c:pt idx="567">
                  <c:v>1254</c:v>
                </c:pt>
                <c:pt idx="568">
                  <c:v>2940</c:v>
                </c:pt>
                <c:pt idx="569">
                  <c:v>2400</c:v>
                </c:pt>
                <c:pt idx="570">
                  <c:v>2000</c:v>
                </c:pt>
                <c:pt idx="571">
                  <c:v>2400</c:v>
                </c:pt>
                <c:pt idx="572">
                  <c:v>4550</c:v>
                </c:pt>
                <c:pt idx="573">
                  <c:v>2600</c:v>
                </c:pt>
                <c:pt idx="574">
                  <c:v>4840</c:v>
                </c:pt>
                <c:pt idx="575">
                  <c:v>2580</c:v>
                </c:pt>
                <c:pt idx="576">
                  <c:v>2400</c:v>
                </c:pt>
                <c:pt idx="577">
                  <c:v>1440</c:v>
                </c:pt>
                <c:pt idx="578">
                  <c:v>1714</c:v>
                </c:pt>
                <c:pt idx="579">
                  <c:v>600</c:v>
                </c:pt>
                <c:pt idx="580">
                  <c:v>1680</c:v>
                </c:pt>
                <c:pt idx="581">
                  <c:v>1600</c:v>
                </c:pt>
                <c:pt idx="582">
                  <c:v>1581</c:v>
                </c:pt>
                <c:pt idx="583">
                  <c:v>600</c:v>
                </c:pt>
                <c:pt idx="584">
                  <c:v>1600</c:v>
                </c:pt>
                <c:pt idx="585">
                  <c:v>600</c:v>
                </c:pt>
                <c:pt idx="586">
                  <c:v>2820</c:v>
                </c:pt>
                <c:pt idx="587">
                  <c:v>2638</c:v>
                </c:pt>
                <c:pt idx="588">
                  <c:v>2800</c:v>
                </c:pt>
                <c:pt idx="589">
                  <c:v>3680</c:v>
                </c:pt>
                <c:pt idx="590">
                  <c:v>1900</c:v>
                </c:pt>
                <c:pt idx="591">
                  <c:v>3564</c:v>
                </c:pt>
                <c:pt idx="592">
                  <c:v>4326</c:v>
                </c:pt>
                <c:pt idx="593">
                  <c:v>2820</c:v>
                </c:pt>
                <c:pt idx="594">
                  <c:v>2200</c:v>
                </c:pt>
                <c:pt idx="595">
                  <c:v>2700</c:v>
                </c:pt>
                <c:pt idx="596">
                  <c:v>3710</c:v>
                </c:pt>
                <c:pt idx="597">
                  <c:v>6720</c:v>
                </c:pt>
                <c:pt idx="598">
                  <c:v>3335</c:v>
                </c:pt>
                <c:pt idx="599">
                  <c:v>3816</c:v>
                </c:pt>
                <c:pt idx="600">
                  <c:v>3880</c:v>
                </c:pt>
                <c:pt idx="601">
                  <c:v>800</c:v>
                </c:pt>
                <c:pt idx="602">
                  <c:v>1581</c:v>
                </c:pt>
                <c:pt idx="603">
                  <c:v>2260</c:v>
                </c:pt>
                <c:pt idx="604">
                  <c:v>2010</c:v>
                </c:pt>
                <c:pt idx="605">
                  <c:v>1500</c:v>
                </c:pt>
                <c:pt idx="606">
                  <c:v>2200</c:v>
                </c:pt>
                <c:pt idx="607">
                  <c:v>1000</c:v>
                </c:pt>
                <c:pt idx="608">
                  <c:v>1000</c:v>
                </c:pt>
                <c:pt idx="609">
                  <c:v>2000</c:v>
                </c:pt>
                <c:pt idx="610">
                  <c:v>2700</c:v>
                </c:pt>
                <c:pt idx="611">
                  <c:v>2000</c:v>
                </c:pt>
                <c:pt idx="612">
                  <c:v>2500</c:v>
                </c:pt>
                <c:pt idx="613">
                  <c:v>2920</c:v>
                </c:pt>
                <c:pt idx="614">
                  <c:v>1580</c:v>
                </c:pt>
                <c:pt idx="615">
                  <c:v>2000</c:v>
                </c:pt>
                <c:pt idx="616">
                  <c:v>1150</c:v>
                </c:pt>
                <c:pt idx="617">
                  <c:v>2400</c:v>
                </c:pt>
                <c:pt idx="618">
                  <c:v>2600</c:v>
                </c:pt>
                <c:pt idx="619">
                  <c:v>1938</c:v>
                </c:pt>
                <c:pt idx="620">
                  <c:v>2750</c:v>
                </c:pt>
                <c:pt idx="621">
                  <c:v>2800</c:v>
                </c:pt>
                <c:pt idx="622">
                  <c:v>2200</c:v>
                </c:pt>
                <c:pt idx="623">
                  <c:v>2000</c:v>
                </c:pt>
                <c:pt idx="624">
                  <c:v>2365</c:v>
                </c:pt>
                <c:pt idx="625">
                  <c:v>2880</c:v>
                </c:pt>
                <c:pt idx="626">
                  <c:v>1150</c:v>
                </c:pt>
                <c:pt idx="627">
                  <c:v>1150</c:v>
                </c:pt>
                <c:pt idx="628">
                  <c:v>2300</c:v>
                </c:pt>
                <c:pt idx="629">
                  <c:v>2100</c:v>
                </c:pt>
                <c:pt idx="630">
                  <c:v>1500</c:v>
                </c:pt>
                <c:pt idx="631">
                  <c:v>1200</c:v>
                </c:pt>
                <c:pt idx="632">
                  <c:v>1680</c:v>
                </c:pt>
                <c:pt idx="633">
                  <c:v>1488</c:v>
                </c:pt>
                <c:pt idx="634">
                  <c:v>2300</c:v>
                </c:pt>
                <c:pt idx="635">
                  <c:v>2000</c:v>
                </c:pt>
                <c:pt idx="636">
                  <c:v>1800</c:v>
                </c:pt>
                <c:pt idx="637">
                  <c:v>1680</c:v>
                </c:pt>
                <c:pt idx="638">
                  <c:v>1320</c:v>
                </c:pt>
                <c:pt idx="639">
                  <c:v>2300</c:v>
                </c:pt>
                <c:pt idx="640">
                  <c:v>2100</c:v>
                </c:pt>
                <c:pt idx="641">
                  <c:v>3000</c:v>
                </c:pt>
                <c:pt idx="642">
                  <c:v>1400</c:v>
                </c:pt>
                <c:pt idx="643">
                  <c:v>2140</c:v>
                </c:pt>
                <c:pt idx="644">
                  <c:v>2591</c:v>
                </c:pt>
                <c:pt idx="645">
                  <c:v>1500</c:v>
                </c:pt>
                <c:pt idx="646">
                  <c:v>2100</c:v>
                </c:pt>
                <c:pt idx="647">
                  <c:v>1840</c:v>
                </c:pt>
                <c:pt idx="648">
                  <c:v>750</c:v>
                </c:pt>
                <c:pt idx="649">
                  <c:v>2410</c:v>
                </c:pt>
                <c:pt idx="650">
                  <c:v>1500</c:v>
                </c:pt>
                <c:pt idx="651">
                  <c:v>2300</c:v>
                </c:pt>
                <c:pt idx="652">
                  <c:v>2320</c:v>
                </c:pt>
                <c:pt idx="653">
                  <c:v>2050</c:v>
                </c:pt>
                <c:pt idx="654">
                  <c:v>2624</c:v>
                </c:pt>
                <c:pt idx="655">
                  <c:v>1320</c:v>
                </c:pt>
                <c:pt idx="656">
                  <c:v>1950</c:v>
                </c:pt>
                <c:pt idx="657">
                  <c:v>2420</c:v>
                </c:pt>
                <c:pt idx="658">
                  <c:v>2000</c:v>
                </c:pt>
                <c:pt idx="659">
                  <c:v>3134</c:v>
                </c:pt>
                <c:pt idx="660">
                  <c:v>2400</c:v>
                </c:pt>
                <c:pt idx="661">
                  <c:v>2070</c:v>
                </c:pt>
                <c:pt idx="662">
                  <c:v>2000</c:v>
                </c:pt>
                <c:pt idx="663">
                  <c:v>1500</c:v>
                </c:pt>
                <c:pt idx="664">
                  <c:v>1840</c:v>
                </c:pt>
                <c:pt idx="665">
                  <c:v>2400</c:v>
                </c:pt>
                <c:pt idx="666">
                  <c:v>2450</c:v>
                </c:pt>
                <c:pt idx="667">
                  <c:v>1853</c:v>
                </c:pt>
                <c:pt idx="668">
                  <c:v>2600</c:v>
                </c:pt>
                <c:pt idx="669">
                  <c:v>2150</c:v>
                </c:pt>
                <c:pt idx="670">
                  <c:v>2400</c:v>
                </c:pt>
                <c:pt idx="671">
                  <c:v>2721</c:v>
                </c:pt>
                <c:pt idx="672">
                  <c:v>3192</c:v>
                </c:pt>
                <c:pt idx="673">
                  <c:v>1744</c:v>
                </c:pt>
                <c:pt idx="674">
                  <c:v>1500</c:v>
                </c:pt>
                <c:pt idx="675">
                  <c:v>2000</c:v>
                </c:pt>
                <c:pt idx="676">
                  <c:v>1996</c:v>
                </c:pt>
                <c:pt idx="677">
                  <c:v>2438</c:v>
                </c:pt>
                <c:pt idx="678">
                  <c:v>2700</c:v>
                </c:pt>
                <c:pt idx="679">
                  <c:v>2800</c:v>
                </c:pt>
                <c:pt idx="680">
                  <c:v>1500</c:v>
                </c:pt>
                <c:pt idx="681">
                  <c:v>1700</c:v>
                </c:pt>
                <c:pt idx="682">
                  <c:v>2300</c:v>
                </c:pt>
                <c:pt idx="683">
                  <c:v>1900</c:v>
                </c:pt>
                <c:pt idx="684">
                  <c:v>2900</c:v>
                </c:pt>
                <c:pt idx="685">
                  <c:v>1340</c:v>
                </c:pt>
                <c:pt idx="686">
                  <c:v>2000</c:v>
                </c:pt>
                <c:pt idx="687">
                  <c:v>3600</c:v>
                </c:pt>
                <c:pt idx="688">
                  <c:v>2700</c:v>
                </c:pt>
                <c:pt idx="689">
                  <c:v>3200</c:v>
                </c:pt>
                <c:pt idx="690">
                  <c:v>2200</c:v>
                </c:pt>
                <c:pt idx="691">
                  <c:v>2050</c:v>
                </c:pt>
                <c:pt idx="692">
                  <c:v>3360</c:v>
                </c:pt>
                <c:pt idx="693">
                  <c:v>1500</c:v>
                </c:pt>
                <c:pt idx="694">
                  <c:v>3460</c:v>
                </c:pt>
                <c:pt idx="695">
                  <c:v>1900</c:v>
                </c:pt>
                <c:pt idx="696">
                  <c:v>1900</c:v>
                </c:pt>
                <c:pt idx="697">
                  <c:v>2150</c:v>
                </c:pt>
                <c:pt idx="698">
                  <c:v>4103</c:v>
                </c:pt>
                <c:pt idx="699">
                  <c:v>3000</c:v>
                </c:pt>
                <c:pt idx="700">
                  <c:v>2850</c:v>
                </c:pt>
                <c:pt idx="701">
                  <c:v>2800</c:v>
                </c:pt>
                <c:pt idx="702">
                  <c:v>2940</c:v>
                </c:pt>
                <c:pt idx="703">
                  <c:v>2000</c:v>
                </c:pt>
                <c:pt idx="704">
                  <c:v>1500</c:v>
                </c:pt>
                <c:pt idx="705">
                  <c:v>1254</c:v>
                </c:pt>
                <c:pt idx="706">
                  <c:v>1254</c:v>
                </c:pt>
                <c:pt idx="707">
                  <c:v>2940</c:v>
                </c:pt>
                <c:pt idx="708">
                  <c:v>2400</c:v>
                </c:pt>
                <c:pt idx="709">
                  <c:v>2000</c:v>
                </c:pt>
                <c:pt idx="710">
                  <c:v>2400</c:v>
                </c:pt>
                <c:pt idx="711">
                  <c:v>4550</c:v>
                </c:pt>
                <c:pt idx="712">
                  <c:v>2600</c:v>
                </c:pt>
                <c:pt idx="713">
                  <c:v>4840</c:v>
                </c:pt>
                <c:pt idx="714">
                  <c:v>2980</c:v>
                </c:pt>
                <c:pt idx="715">
                  <c:v>2400</c:v>
                </c:pt>
                <c:pt idx="716">
                  <c:v>1714</c:v>
                </c:pt>
                <c:pt idx="717">
                  <c:v>600</c:v>
                </c:pt>
                <c:pt idx="718">
                  <c:v>1550</c:v>
                </c:pt>
                <c:pt idx="719">
                  <c:v>1600</c:v>
                </c:pt>
                <c:pt idx="720">
                  <c:v>1581</c:v>
                </c:pt>
                <c:pt idx="721">
                  <c:v>600</c:v>
                </c:pt>
                <c:pt idx="722">
                  <c:v>1600</c:v>
                </c:pt>
                <c:pt idx="723">
                  <c:v>600</c:v>
                </c:pt>
                <c:pt idx="724">
                  <c:v>2820</c:v>
                </c:pt>
                <c:pt idx="725">
                  <c:v>2638</c:v>
                </c:pt>
                <c:pt idx="726">
                  <c:v>2800</c:v>
                </c:pt>
                <c:pt idx="727">
                  <c:v>3776</c:v>
                </c:pt>
                <c:pt idx="728">
                  <c:v>1900</c:v>
                </c:pt>
                <c:pt idx="729">
                  <c:v>3564</c:v>
                </c:pt>
                <c:pt idx="730">
                  <c:v>4466</c:v>
                </c:pt>
                <c:pt idx="731">
                  <c:v>2820</c:v>
                </c:pt>
                <c:pt idx="732">
                  <c:v>2200</c:v>
                </c:pt>
                <c:pt idx="733">
                  <c:v>800</c:v>
                </c:pt>
                <c:pt idx="734">
                  <c:v>4334</c:v>
                </c:pt>
                <c:pt idx="735">
                  <c:v>6720</c:v>
                </c:pt>
                <c:pt idx="736">
                  <c:v>3335</c:v>
                </c:pt>
                <c:pt idx="737">
                  <c:v>3816</c:v>
                </c:pt>
                <c:pt idx="738">
                  <c:v>4080</c:v>
                </c:pt>
                <c:pt idx="739">
                  <c:v>800</c:v>
                </c:pt>
                <c:pt idx="740">
                  <c:v>1581</c:v>
                </c:pt>
                <c:pt idx="741">
                  <c:v>2400</c:v>
                </c:pt>
                <c:pt idx="742">
                  <c:v>2060</c:v>
                </c:pt>
                <c:pt idx="743">
                  <c:v>1500</c:v>
                </c:pt>
                <c:pt idx="744">
                  <c:v>2200</c:v>
                </c:pt>
                <c:pt idx="745">
                  <c:v>1260</c:v>
                </c:pt>
                <c:pt idx="746">
                  <c:v>800</c:v>
                </c:pt>
                <c:pt idx="747">
                  <c:v>2000</c:v>
                </c:pt>
                <c:pt idx="748">
                  <c:v>2800</c:v>
                </c:pt>
                <c:pt idx="749">
                  <c:v>2000</c:v>
                </c:pt>
                <c:pt idx="750">
                  <c:v>2500</c:v>
                </c:pt>
                <c:pt idx="751">
                  <c:v>3000</c:v>
                </c:pt>
                <c:pt idx="752">
                  <c:v>1580</c:v>
                </c:pt>
                <c:pt idx="753">
                  <c:v>2000</c:v>
                </c:pt>
                <c:pt idx="754">
                  <c:v>1150</c:v>
                </c:pt>
                <c:pt idx="755">
                  <c:v>2600</c:v>
                </c:pt>
                <c:pt idx="756">
                  <c:v>2720</c:v>
                </c:pt>
                <c:pt idx="757">
                  <c:v>1938</c:v>
                </c:pt>
                <c:pt idx="758">
                  <c:v>2650</c:v>
                </c:pt>
                <c:pt idx="759">
                  <c:v>2800</c:v>
                </c:pt>
                <c:pt idx="760">
                  <c:v>2200</c:v>
                </c:pt>
                <c:pt idx="761">
                  <c:v>2000</c:v>
                </c:pt>
                <c:pt idx="762">
                  <c:v>2365</c:v>
                </c:pt>
                <c:pt idx="763">
                  <c:v>2880</c:v>
                </c:pt>
                <c:pt idx="764">
                  <c:v>1150</c:v>
                </c:pt>
                <c:pt idx="765">
                  <c:v>1150</c:v>
                </c:pt>
                <c:pt idx="766">
                  <c:v>2650</c:v>
                </c:pt>
                <c:pt idx="767">
                  <c:v>2300</c:v>
                </c:pt>
                <c:pt idx="768">
                  <c:v>1500</c:v>
                </c:pt>
                <c:pt idx="769">
                  <c:v>1500</c:v>
                </c:pt>
                <c:pt idx="770">
                  <c:v>1680</c:v>
                </c:pt>
                <c:pt idx="771">
                  <c:v>1488</c:v>
                </c:pt>
                <c:pt idx="772">
                  <c:v>2600</c:v>
                </c:pt>
                <c:pt idx="773">
                  <c:v>2000</c:v>
                </c:pt>
                <c:pt idx="774">
                  <c:v>1800</c:v>
                </c:pt>
                <c:pt idx="775">
                  <c:v>1680</c:v>
                </c:pt>
                <c:pt idx="776">
                  <c:v>1320</c:v>
                </c:pt>
                <c:pt idx="777">
                  <c:v>2300</c:v>
                </c:pt>
                <c:pt idx="778">
                  <c:v>2300</c:v>
                </c:pt>
                <c:pt idx="779">
                  <c:v>3500</c:v>
                </c:pt>
                <c:pt idx="780">
                  <c:v>1400</c:v>
                </c:pt>
                <c:pt idx="781">
                  <c:v>2194</c:v>
                </c:pt>
                <c:pt idx="782">
                  <c:v>2591</c:v>
                </c:pt>
                <c:pt idx="783">
                  <c:v>1500</c:v>
                </c:pt>
                <c:pt idx="784">
                  <c:v>2100</c:v>
                </c:pt>
                <c:pt idx="785">
                  <c:v>1840</c:v>
                </c:pt>
                <c:pt idx="786">
                  <c:v>1250</c:v>
                </c:pt>
                <c:pt idx="787">
                  <c:v>2410</c:v>
                </c:pt>
                <c:pt idx="788">
                  <c:v>1500</c:v>
                </c:pt>
                <c:pt idx="789">
                  <c:v>2600</c:v>
                </c:pt>
                <c:pt idx="790">
                  <c:v>3192</c:v>
                </c:pt>
                <c:pt idx="791">
                  <c:v>2500</c:v>
                </c:pt>
                <c:pt idx="792">
                  <c:v>2624</c:v>
                </c:pt>
                <c:pt idx="793">
                  <c:v>1320</c:v>
                </c:pt>
                <c:pt idx="794">
                  <c:v>1950</c:v>
                </c:pt>
                <c:pt idx="795">
                  <c:v>2420</c:v>
                </c:pt>
                <c:pt idx="796">
                  <c:v>2200</c:v>
                </c:pt>
                <c:pt idx="797">
                  <c:v>3134</c:v>
                </c:pt>
                <c:pt idx="798">
                  <c:v>2400</c:v>
                </c:pt>
                <c:pt idx="799">
                  <c:v>2190</c:v>
                </c:pt>
                <c:pt idx="800">
                  <c:v>2000</c:v>
                </c:pt>
                <c:pt idx="801">
                  <c:v>1750</c:v>
                </c:pt>
                <c:pt idx="802">
                  <c:v>1840</c:v>
                </c:pt>
                <c:pt idx="803">
                  <c:v>2400</c:v>
                </c:pt>
                <c:pt idx="804">
                  <c:v>2940</c:v>
                </c:pt>
                <c:pt idx="805">
                  <c:v>2211</c:v>
                </c:pt>
                <c:pt idx="806">
                  <c:v>2600</c:v>
                </c:pt>
                <c:pt idx="807">
                  <c:v>2750</c:v>
                </c:pt>
                <c:pt idx="808">
                  <c:v>2400</c:v>
                </c:pt>
                <c:pt idx="809">
                  <c:v>2993</c:v>
                </c:pt>
                <c:pt idx="810">
                  <c:v>2512</c:v>
                </c:pt>
                <c:pt idx="811">
                  <c:v>1744</c:v>
                </c:pt>
                <c:pt idx="812">
                  <c:v>1500</c:v>
                </c:pt>
                <c:pt idx="813">
                  <c:v>2000</c:v>
                </c:pt>
                <c:pt idx="814">
                  <c:v>1996</c:v>
                </c:pt>
                <c:pt idx="815">
                  <c:v>2950</c:v>
                </c:pt>
                <c:pt idx="816">
                  <c:v>2700</c:v>
                </c:pt>
                <c:pt idx="817">
                  <c:v>2800</c:v>
                </c:pt>
                <c:pt idx="818">
                  <c:v>1750</c:v>
                </c:pt>
                <c:pt idx="819">
                  <c:v>1900</c:v>
                </c:pt>
                <c:pt idx="820">
                  <c:v>2200</c:v>
                </c:pt>
                <c:pt idx="821">
                  <c:v>1900</c:v>
                </c:pt>
                <c:pt idx="822">
                  <c:v>2900</c:v>
                </c:pt>
                <c:pt idx="823">
                  <c:v>1340</c:v>
                </c:pt>
                <c:pt idx="824">
                  <c:v>2120</c:v>
                </c:pt>
                <c:pt idx="825">
                  <c:v>3600</c:v>
                </c:pt>
                <c:pt idx="826">
                  <c:v>3000</c:v>
                </c:pt>
                <c:pt idx="827">
                  <c:v>3200</c:v>
                </c:pt>
                <c:pt idx="828">
                  <c:v>2700</c:v>
                </c:pt>
                <c:pt idx="829">
                  <c:v>2050</c:v>
                </c:pt>
                <c:pt idx="830">
                  <c:v>3480</c:v>
                </c:pt>
                <c:pt idx="831">
                  <c:v>1750</c:v>
                </c:pt>
                <c:pt idx="832">
                  <c:v>3980</c:v>
                </c:pt>
                <c:pt idx="833">
                  <c:v>2050</c:v>
                </c:pt>
                <c:pt idx="834">
                  <c:v>2300</c:v>
                </c:pt>
                <c:pt idx="835">
                  <c:v>2500</c:v>
                </c:pt>
                <c:pt idx="836">
                  <c:v>4100</c:v>
                </c:pt>
                <c:pt idx="837">
                  <c:v>2500</c:v>
                </c:pt>
                <c:pt idx="838">
                  <c:v>2850</c:v>
                </c:pt>
                <c:pt idx="839">
                  <c:v>3000</c:v>
                </c:pt>
                <c:pt idx="840">
                  <c:v>3500</c:v>
                </c:pt>
                <c:pt idx="841">
                  <c:v>2000</c:v>
                </c:pt>
                <c:pt idx="842">
                  <c:v>1750</c:v>
                </c:pt>
                <c:pt idx="843">
                  <c:v>1342</c:v>
                </c:pt>
                <c:pt idx="844">
                  <c:v>1342</c:v>
                </c:pt>
                <c:pt idx="845">
                  <c:v>2940</c:v>
                </c:pt>
                <c:pt idx="846">
                  <c:v>2900</c:v>
                </c:pt>
                <c:pt idx="847">
                  <c:v>2000</c:v>
                </c:pt>
                <c:pt idx="848">
                  <c:v>2400</c:v>
                </c:pt>
                <c:pt idx="849">
                  <c:v>4550</c:v>
                </c:pt>
                <c:pt idx="850">
                  <c:v>2600</c:v>
                </c:pt>
                <c:pt idx="851">
                  <c:v>5200</c:v>
                </c:pt>
                <c:pt idx="852">
                  <c:v>3540</c:v>
                </c:pt>
                <c:pt idx="853">
                  <c:v>29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D6C-47A1-BC1A-090AC0B844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19364616"/>
        <c:axId val="919363304"/>
      </c:scatterChart>
      <c:valAx>
        <c:axId val="9193646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err="1"/>
                  <a:t>Energiledd</a:t>
                </a:r>
                <a:r>
                  <a:rPr lang="en-US" baseline="0" dirty="0"/>
                  <a:t> </a:t>
                </a:r>
                <a:r>
                  <a:rPr lang="en-US" baseline="0" dirty="0" err="1"/>
                  <a:t>husholdninger</a:t>
                </a:r>
                <a:r>
                  <a:rPr lang="en-US" baseline="0" dirty="0"/>
                  <a:t> (</a:t>
                </a:r>
                <a:r>
                  <a:rPr lang="en-US" baseline="0" dirty="0" err="1"/>
                  <a:t>øre</a:t>
                </a:r>
                <a:r>
                  <a:rPr lang="en-US" baseline="0" dirty="0"/>
                  <a:t>/kWh)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27577331316162723"/>
              <c:y val="0.88249330568902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19363304"/>
        <c:crosses val="autoZero"/>
        <c:crossBetween val="midCat"/>
      </c:valAx>
      <c:valAx>
        <c:axId val="919363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err="1"/>
                  <a:t>Fastledd</a:t>
                </a:r>
                <a:r>
                  <a:rPr lang="en-US" dirty="0"/>
                  <a:t> </a:t>
                </a:r>
                <a:r>
                  <a:rPr lang="en-US" dirty="0" err="1"/>
                  <a:t>husholdninger</a:t>
                </a:r>
                <a:r>
                  <a:rPr lang="en-US" dirty="0"/>
                  <a:t> (</a:t>
                </a:r>
                <a:r>
                  <a:rPr lang="en-US" dirty="0" err="1"/>
                  <a:t>kr</a:t>
                </a:r>
                <a:r>
                  <a:rPr lang="en-US" dirty="0"/>
                  <a:t>/</a:t>
                </a:r>
                <a:r>
                  <a:rPr lang="en-US" dirty="0" err="1"/>
                  <a:t>år</a:t>
                </a:r>
                <a:r>
                  <a:rPr lang="en-US" dirty="0"/>
                  <a:t>)</a:t>
                </a:r>
              </a:p>
            </c:rich>
          </c:tx>
          <c:layout>
            <c:manualLayout>
              <c:xMode val="edge"/>
              <c:yMode val="edge"/>
              <c:x val="3.7884777594022E-2"/>
              <c:y val="0.1602810619535952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1936461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2555458969E-2"/>
          <c:y val="0.10217728594601251"/>
          <c:w val="0.93845537705873139"/>
          <c:h val="0.5876304833647828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Husholdninger!$AL$31:$AL$49</c:f>
              <c:strCache>
                <c:ptCount val="19"/>
                <c:pt idx="0">
                  <c:v>Akershus</c:v>
                </c:pt>
                <c:pt idx="1">
                  <c:v>Oslo</c:v>
                </c:pt>
                <c:pt idx="2">
                  <c:v>Hordaland</c:v>
                </c:pt>
                <c:pt idx="3">
                  <c:v>Rogaland</c:v>
                </c:pt>
                <c:pt idx="4">
                  <c:v>Vestfold</c:v>
                </c:pt>
                <c:pt idx="5">
                  <c:v>Østfold</c:v>
                </c:pt>
                <c:pt idx="6">
                  <c:v>Sør-Trøndelag</c:v>
                </c:pt>
                <c:pt idx="7">
                  <c:v>Troms</c:v>
                </c:pt>
                <c:pt idx="8">
                  <c:v>Buskerud</c:v>
                </c:pt>
                <c:pt idx="9">
                  <c:v>Oppland</c:v>
                </c:pt>
                <c:pt idx="10">
                  <c:v>Aust-Agder</c:v>
                </c:pt>
                <c:pt idx="11">
                  <c:v>Vest-Agder</c:v>
                </c:pt>
                <c:pt idx="12">
                  <c:v>Telemark</c:v>
                </c:pt>
                <c:pt idx="13">
                  <c:v>Møre og Romsdal</c:v>
                </c:pt>
                <c:pt idx="14">
                  <c:v>Hedmark</c:v>
                </c:pt>
                <c:pt idx="15">
                  <c:v>Nord-Trøndelag</c:v>
                </c:pt>
                <c:pt idx="16">
                  <c:v>Nordland</c:v>
                </c:pt>
                <c:pt idx="17">
                  <c:v>Finnmark</c:v>
                </c:pt>
                <c:pt idx="18">
                  <c:v>Sogn og Fjordane</c:v>
                </c:pt>
              </c:strCache>
            </c:strRef>
          </c:cat>
          <c:val>
            <c:numRef>
              <c:f>Husholdninger!$AM$31:$AM$49</c:f>
              <c:numCache>
                <c:formatCode>General</c:formatCode>
                <c:ptCount val="19"/>
                <c:pt idx="0">
                  <c:v>23.372222222222224</c:v>
                </c:pt>
                <c:pt idx="1">
                  <c:v>23.674444444444443</c:v>
                </c:pt>
                <c:pt idx="2">
                  <c:v>25.171111111111106</c:v>
                </c:pt>
                <c:pt idx="3">
                  <c:v>25.76444444444444</c:v>
                </c:pt>
                <c:pt idx="4">
                  <c:v>25.78</c:v>
                </c:pt>
                <c:pt idx="5">
                  <c:v>26.477777777777774</c:v>
                </c:pt>
                <c:pt idx="6">
                  <c:v>27.027777777777771</c:v>
                </c:pt>
                <c:pt idx="7">
                  <c:v>27.461111111111116</c:v>
                </c:pt>
                <c:pt idx="8">
                  <c:v>27.900000000000002</c:v>
                </c:pt>
                <c:pt idx="9">
                  <c:v>29.638888888888889</c:v>
                </c:pt>
                <c:pt idx="10">
                  <c:v>29.744444444444444</c:v>
                </c:pt>
                <c:pt idx="11">
                  <c:v>29.766666666666666</c:v>
                </c:pt>
                <c:pt idx="12">
                  <c:v>29.959999999999997</c:v>
                </c:pt>
                <c:pt idx="13">
                  <c:v>31.111111111111111</c:v>
                </c:pt>
                <c:pt idx="14">
                  <c:v>31.222222222222221</c:v>
                </c:pt>
                <c:pt idx="15">
                  <c:v>32.11666666666666</c:v>
                </c:pt>
                <c:pt idx="16">
                  <c:v>34.919999999999995</c:v>
                </c:pt>
                <c:pt idx="17">
                  <c:v>35.275555555555563</c:v>
                </c:pt>
                <c:pt idx="18">
                  <c:v>39.19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82-4E5C-A8A8-FB041AB81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9443768"/>
        <c:axId val="899445408"/>
      </c:barChart>
      <c:catAx>
        <c:axId val="899443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99445408"/>
        <c:crosses val="autoZero"/>
        <c:auto val="1"/>
        <c:lblAlgn val="ctr"/>
        <c:lblOffset val="100"/>
        <c:noMultiLvlLbl val="0"/>
      </c:catAx>
      <c:valAx>
        <c:axId val="899445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/>
                  <a:t>Øre/kWh</a:t>
                </a:r>
              </a:p>
            </c:rich>
          </c:tx>
          <c:layout>
            <c:manualLayout>
              <c:xMode val="edge"/>
              <c:yMode val="edge"/>
              <c:x val="2.2126905527289385E-2"/>
              <c:y val="1.850640449208729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99443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802948352414928E-2"/>
          <c:y val="0.1064718262017986"/>
          <c:w val="0.93034883542099611"/>
          <c:h val="0.6033507999322238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Næringskunder!$N$8:$N$26</c:f>
              <c:strCache>
                <c:ptCount val="19"/>
                <c:pt idx="0">
                  <c:v>Oslo</c:v>
                </c:pt>
                <c:pt idx="1">
                  <c:v>Troms</c:v>
                </c:pt>
                <c:pt idx="2">
                  <c:v>Buskerud</c:v>
                </c:pt>
                <c:pt idx="3">
                  <c:v>Rogaland</c:v>
                </c:pt>
                <c:pt idx="4">
                  <c:v>Oppland</c:v>
                </c:pt>
                <c:pt idx="5">
                  <c:v>Akershus</c:v>
                </c:pt>
                <c:pt idx="6">
                  <c:v>Nord-Trøndelag</c:v>
                </c:pt>
                <c:pt idx="7">
                  <c:v>Aust-Agder</c:v>
                </c:pt>
                <c:pt idx="8">
                  <c:v>Vest-Agder</c:v>
                </c:pt>
                <c:pt idx="9">
                  <c:v>Østfold</c:v>
                </c:pt>
                <c:pt idx="10">
                  <c:v>Telemark</c:v>
                </c:pt>
                <c:pt idx="11">
                  <c:v>Hedmark</c:v>
                </c:pt>
                <c:pt idx="12">
                  <c:v>Vestfold</c:v>
                </c:pt>
                <c:pt idx="13">
                  <c:v>Møre og Romsdal</c:v>
                </c:pt>
                <c:pt idx="14">
                  <c:v>Sør-Trøndelag</c:v>
                </c:pt>
                <c:pt idx="15">
                  <c:v>Nordland</c:v>
                </c:pt>
                <c:pt idx="16">
                  <c:v>Finnmark</c:v>
                </c:pt>
                <c:pt idx="17">
                  <c:v>Sogn og Fjordane</c:v>
                </c:pt>
                <c:pt idx="18">
                  <c:v>Hordaland</c:v>
                </c:pt>
              </c:strCache>
            </c:strRef>
          </c:cat>
          <c:val>
            <c:numRef>
              <c:f>Næringskunder!$O$8:$O$26</c:f>
              <c:numCache>
                <c:formatCode>0.00</c:formatCode>
                <c:ptCount val="19"/>
                <c:pt idx="0">
                  <c:v>20.771428571428601</c:v>
                </c:pt>
                <c:pt idx="1">
                  <c:v>22.428571428571427</c:v>
                </c:pt>
                <c:pt idx="2">
                  <c:v>22.842857142857138</c:v>
                </c:pt>
                <c:pt idx="3">
                  <c:v>23.8</c:v>
                </c:pt>
                <c:pt idx="4">
                  <c:v>24.071428571428577</c:v>
                </c:pt>
                <c:pt idx="5">
                  <c:v>24.557142857142857</c:v>
                </c:pt>
                <c:pt idx="6">
                  <c:v>24.842857142857138</c:v>
                </c:pt>
                <c:pt idx="7">
                  <c:v>24.87142857142857</c:v>
                </c:pt>
                <c:pt idx="8">
                  <c:v>24.87142857142857</c:v>
                </c:pt>
                <c:pt idx="9">
                  <c:v>25.928571428571427</c:v>
                </c:pt>
                <c:pt idx="10">
                  <c:v>26.571428571428566</c:v>
                </c:pt>
                <c:pt idx="11">
                  <c:v>26.699999999999996</c:v>
                </c:pt>
                <c:pt idx="12">
                  <c:v>26.942857142857143</c:v>
                </c:pt>
                <c:pt idx="13">
                  <c:v>27</c:v>
                </c:pt>
                <c:pt idx="14">
                  <c:v>27.642857142857142</c:v>
                </c:pt>
                <c:pt idx="15">
                  <c:v>28.700000000000006</c:v>
                </c:pt>
                <c:pt idx="16">
                  <c:v>30.214285714285715</c:v>
                </c:pt>
                <c:pt idx="17">
                  <c:v>30.428571428571427</c:v>
                </c:pt>
                <c:pt idx="18">
                  <c:v>30.957142857142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0-4178-8128-2C4CE89FA1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9443768"/>
        <c:axId val="899445408"/>
      </c:barChart>
      <c:catAx>
        <c:axId val="899443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99445408"/>
        <c:crosses val="autoZero"/>
        <c:auto val="1"/>
        <c:lblAlgn val="ctr"/>
        <c:lblOffset val="100"/>
        <c:noMultiLvlLbl val="0"/>
      </c:catAx>
      <c:valAx>
        <c:axId val="899445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/>
                  <a:t>Øre/kWh</a:t>
                </a:r>
              </a:p>
            </c:rich>
          </c:tx>
          <c:layout>
            <c:manualLayout>
              <c:xMode val="edge"/>
              <c:yMode val="edge"/>
              <c:x val="2.5180151714680726E-2"/>
              <c:y val="8.5803281440273872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99443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119392-1FE3-4CCF-AE7A-B6736A2D898D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57E1BD-9C13-4CDD-A8C1-C3D06C0B191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5529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1pPr>
    <a:lvl2pPr marL="345597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2pPr>
    <a:lvl3pPr marL="691195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3pPr>
    <a:lvl4pPr marL="1036792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4pPr>
    <a:lvl5pPr marL="1382390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5pPr>
    <a:lvl6pPr marL="1727987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6pPr>
    <a:lvl7pPr marL="2073585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7pPr>
    <a:lvl8pPr marL="2419182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8pPr>
    <a:lvl9pPr marL="2764780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Industri = kraftintensiv industri</a:t>
            </a:r>
          </a:p>
          <a:p>
            <a:r>
              <a:rPr lang="nb-NO" dirty="0"/>
              <a:t>Transport = Transport og lagring (jernbane, annen transport og lagring, post og distribusjonsvirksomhet)</a:t>
            </a:r>
          </a:p>
          <a:p>
            <a:r>
              <a:rPr lang="nb-NO" dirty="0"/>
              <a:t>Næring = bygg- og anleggsvirksomhet, varehandel, overnatting, IKT, finans, eiendom, tjenesteyting, offentlig virksomhet, gate- og veilys, helse- og sosial, kunst og sport, annet + jordbruk, skogbruk og </a:t>
            </a:r>
            <a:r>
              <a:rPr lang="nb-NO" dirty="0" err="1"/>
              <a:t>fiske,driv</a:t>
            </a:r>
            <a:r>
              <a:rPr lang="nb-NO" dirty="0"/>
              <a:t>- og veksthus, industri utenom kraftintensiv industri</a:t>
            </a:r>
          </a:p>
          <a:p>
            <a:r>
              <a:rPr lang="nb-NO" dirty="0"/>
              <a:t>Bygninger = husholdninger og hytter og fritidshus</a:t>
            </a:r>
          </a:p>
          <a:p>
            <a:r>
              <a:rPr lang="nb-NO" dirty="0"/>
              <a:t>Norsk sokkel = </a:t>
            </a:r>
            <a:r>
              <a:rPr lang="nb-NO" dirty="0" err="1"/>
              <a:t>Bergsverksdrift</a:t>
            </a:r>
            <a:r>
              <a:rPr lang="nb-NO" dirty="0"/>
              <a:t> + utvinning av råolje og naturgass, samt tjenester tilknyttet denne virksomheten</a:t>
            </a:r>
          </a:p>
          <a:p>
            <a:pPr marL="0" marR="0" lvl="0" indent="0" algn="l" defTabSz="1247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Sum kraftproduksjon = 144 = vannkraft + vindkraft, men ikke (varmekraft 3,5)</a:t>
            </a:r>
          </a:p>
          <a:p>
            <a:r>
              <a:rPr lang="nb-NO" dirty="0"/>
              <a:t>Sum forbruk = 128 + ikke medtatt: diverse forsynings- og renovasjonsvirksomhet (2,4)</a:t>
            </a:r>
          </a:p>
          <a:p>
            <a:r>
              <a:rPr lang="nb-NO" dirty="0"/>
              <a:t>Import – eksport = 8 - 18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3851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7555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Grafen viser utvalgte selskap i </a:t>
            </a:r>
            <a:r>
              <a:rPr lang="nb-NO" dirty="0" err="1"/>
              <a:t>nord-norge</a:t>
            </a:r>
            <a:r>
              <a:rPr lang="nb-NO" baseline="0" dirty="0"/>
              <a:t> basert på NVEs nettleiestatistikk</a:t>
            </a:r>
          </a:p>
          <a:p>
            <a:endParaRPr lang="nb-NO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7939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4444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Tallene </a:t>
            </a:r>
            <a:r>
              <a:rPr lang="nb-NO" baseline="0" dirty="0"/>
              <a:t>inkluderer avgiftene som belastes nettleien til husholdningskunder. Herunder: </a:t>
            </a:r>
            <a:r>
              <a:rPr lang="nb-NO" baseline="0" dirty="0" err="1"/>
              <a:t>Mva</a:t>
            </a:r>
            <a:r>
              <a:rPr lang="nb-NO" baseline="0" dirty="0"/>
              <a:t>, </a:t>
            </a:r>
            <a:r>
              <a:rPr lang="nb-NO" baseline="0" dirty="0" err="1"/>
              <a:t>enova</a:t>
            </a:r>
            <a:r>
              <a:rPr lang="nb-NO" baseline="0" dirty="0"/>
              <a:t>-avgift og avgift og elavgif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aseline="0" dirty="0"/>
              <a:t>Alle fylkene i nord får fritak for </a:t>
            </a:r>
            <a:r>
              <a:rPr lang="nb-NO" baseline="0" dirty="0" err="1"/>
              <a:t>mva</a:t>
            </a:r>
            <a:r>
              <a:rPr lang="nb-NO" baseline="0" dirty="0"/>
              <a:t>, i tillegg får Nord-Troms  og Finnmark fritak for elavgift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4080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Omregnet</a:t>
            </a:r>
            <a:r>
              <a:rPr lang="nb-NO" baseline="0" dirty="0"/>
              <a:t> m/30 000 kWh</a:t>
            </a:r>
            <a:endParaRPr lang="nb-NO" dirty="0"/>
          </a:p>
          <a:p>
            <a:r>
              <a:rPr lang="nb-NO" baseline="0" dirty="0"/>
              <a:t>Nettleien inkluderer avgiftene som belastes nettleien til bedriftskunder, dvs. </a:t>
            </a:r>
            <a:r>
              <a:rPr lang="nb-NO" baseline="0" dirty="0" err="1"/>
              <a:t>enova</a:t>
            </a:r>
            <a:r>
              <a:rPr lang="nb-NO" baseline="0" dirty="0"/>
              <a:t>-avgift (men ikke elavgift eller </a:t>
            </a:r>
            <a:r>
              <a:rPr lang="nb-NO" baseline="0" dirty="0" err="1"/>
              <a:t>mva</a:t>
            </a:r>
            <a:r>
              <a:rPr lang="nb-NO" baseline="0" dirty="0"/>
              <a:t>)</a:t>
            </a:r>
          </a:p>
          <a:p>
            <a:r>
              <a:rPr lang="nb-NO" baseline="0" dirty="0"/>
              <a:t>Ingen særskilte avgiftsfritak for kundene i Nord-Norge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856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Da 60 prosent av inntektsrammen er uavhengig av selskapets egne kostnader, betyr det at dersom selskapet senker sine kostnader kan de selv beholde 60 prosent. </a:t>
            </a:r>
          </a:p>
          <a:p>
            <a:r>
              <a:rPr lang="nb-NO" dirty="0"/>
              <a:t>De resterende 40 prosent av kostnadsbesparelsen videreføres til kundene i form av lavere priser. </a:t>
            </a:r>
          </a:p>
          <a:p>
            <a:r>
              <a:rPr lang="nb-NO" dirty="0"/>
              <a:t>Da selskapet kan beholde en betydelig andel av en eventuell kostnadsbesparelse, gir det gode incentiver for kostnadseffektiv drift. Inntektsrammeformelen er nedfelt i forskrift om kontroll av nettvirksomhet.16 I de følgende avsnittene beskrives kostnadsgrunnlaget og kostnadsnormen nærmere</a:t>
            </a:r>
          </a:p>
          <a:p>
            <a:endParaRPr lang="nb-NO" dirty="0"/>
          </a:p>
          <a:p>
            <a:r>
              <a:rPr lang="nb-NO" dirty="0"/>
              <a:t>Eiendomsskatt</a:t>
            </a:r>
            <a:r>
              <a:rPr lang="nb-NO" baseline="0" dirty="0"/>
              <a:t> utgjør i underkant av 2 % av inntektsrammen </a:t>
            </a:r>
            <a:endParaRPr lang="nb-NO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470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4389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Mer tall</a:t>
            </a:r>
            <a:r>
              <a:rPr lang="nb-NO" baseline="0" dirty="0"/>
              <a:t> og fakta i rapporten</a:t>
            </a:r>
          </a:p>
          <a:p>
            <a:r>
              <a:rPr lang="nb-NO" baseline="0" dirty="0"/>
              <a:t>For eksempel at uttakskunder i distribusjonsnettet dekker 88 % av totalkostnaden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3832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E02FA2-B61D-4EB9-9A8B-07443A25B9CE}" type="slidenum">
              <a:rPr lang="nb-NO" smtClean="0"/>
              <a:pPr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34828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nb-NO" sz="1600" dirty="0"/>
              <a:t>Eierskap i nettet fordelt på samlet bokført verdi av nettkapitalen i distribusjons- og regionalnettet</a:t>
            </a:r>
            <a:endParaRPr lang="nb-NO" baseline="0" dirty="0"/>
          </a:p>
          <a:p>
            <a:pPr marL="285750" indent="-285750">
              <a:buFontTx/>
              <a:buChar char="-"/>
            </a:pPr>
            <a:r>
              <a:rPr lang="nb-NO" baseline="0" dirty="0"/>
              <a:t>Nettselskapene får kun lov til å beholde 60 %, 40 % av effektiviteten kommer nettkundene til gode i form av lavere nettleie… </a:t>
            </a:r>
          </a:p>
          <a:p>
            <a:r>
              <a:rPr lang="nb-NO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vis vi tar hensyn til statens indirekte eierskap gjennom Statkraft og Statnett blir fordelingen av nettkapitalen som følger: </a:t>
            </a:r>
          </a:p>
          <a:p>
            <a:r>
              <a:rPr lang="nb-NO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rekte er det kommunale eierskapet større fordi flere av de private eierne er holdingsselskaper som igjen er eid av kommuner/fylkeskommuner). F.eks. gjelder dette blant annet Hafslund Nett som her fremstår som 100% privat eid.</a:t>
            </a:r>
          </a:p>
          <a:p>
            <a:pPr marL="285750" indent="-285750">
              <a:buFontTx/>
              <a:buChar char="-"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908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raftproduksjon: </a:t>
            </a:r>
          </a:p>
          <a:p>
            <a:r>
              <a:rPr lang="nb-NO" dirty="0"/>
              <a:t>Basert på NVE og Statnetts prognoser, samt </a:t>
            </a:r>
            <a:r>
              <a:rPr lang="nb-NO" dirty="0" err="1"/>
              <a:t>Equinors</a:t>
            </a:r>
            <a:r>
              <a:rPr lang="nb-NO" dirty="0"/>
              <a:t> nylige utmeldte 10 </a:t>
            </a:r>
            <a:r>
              <a:rPr lang="nb-NO" dirty="0" err="1"/>
              <a:t>TWh</a:t>
            </a:r>
            <a:r>
              <a:rPr lang="nb-NO" dirty="0"/>
              <a:t> for elektrifisering av sokkelen</a:t>
            </a:r>
          </a:p>
          <a:p>
            <a:r>
              <a:rPr lang="nb-NO" dirty="0"/>
              <a:t>Kraftproduksjon: </a:t>
            </a:r>
          </a:p>
          <a:p>
            <a:r>
              <a:rPr lang="nb-NO" dirty="0"/>
              <a:t>Vannkraft: Endring i tabell A1 fra 2020 – 2030 lagt på toppen av 2018 tall</a:t>
            </a:r>
          </a:p>
          <a:p>
            <a:r>
              <a:rPr lang="nb-NO" dirty="0"/>
              <a:t>Vindkraft: 2030 tall på 22 </a:t>
            </a:r>
            <a:r>
              <a:rPr lang="nb-NO" dirty="0" err="1"/>
              <a:t>TWh</a:t>
            </a:r>
            <a:r>
              <a:rPr lang="nb-NO" dirty="0"/>
              <a:t> fratrukket 2018 tall (4)</a:t>
            </a:r>
          </a:p>
          <a:p>
            <a:r>
              <a:rPr lang="nb-NO" dirty="0"/>
              <a:t>Sol: Endring fra 0 i 2018 (antatt) til 2030 (0,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061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746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nb-NO" sz="1600" dirty="0"/>
              <a:t>Elavgift (Finnmark og Nord-Troms er fritatt denne): Provenyinntekt </a:t>
            </a:r>
          </a:p>
          <a:p>
            <a:pPr algn="ctr"/>
            <a:r>
              <a:rPr lang="nb-NO" sz="1600" dirty="0"/>
              <a:t>Merverdiavgift (fritak for husholdninger i Nord-Norge): Provenyinntekt</a:t>
            </a:r>
          </a:p>
          <a:p>
            <a:pPr algn="ctr"/>
            <a:r>
              <a:rPr lang="nb-NO" sz="1600" dirty="0"/>
              <a:t>Avgift til energifondet: Energieffektiviseringstiltak</a:t>
            </a:r>
          </a:p>
          <a:p>
            <a:pPr algn="ctr"/>
            <a:r>
              <a:rPr lang="nb-NO" sz="1600" dirty="0" err="1"/>
              <a:t>Elsertifikater</a:t>
            </a:r>
            <a:r>
              <a:rPr lang="nb-NO" sz="1600" dirty="0"/>
              <a:t>: støtte til ny fornybar kraftproduksjon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146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4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856106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470786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600" dirty="0">
                <a:solidFill>
                  <a:schemeClr val="bg1"/>
                </a:solidFill>
              </a:rPr>
              <a:t>Strømprisen har mye å si når man har et så stort strømforbruk som man har i Nord-Norge</a:t>
            </a:r>
          </a:p>
          <a:p>
            <a:endParaRPr lang="nb-NO" sz="1600" dirty="0">
              <a:solidFill>
                <a:schemeClr val="bg1"/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190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1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Forklarer</a:t>
            </a:r>
            <a:r>
              <a:rPr lang="nb-NO" baseline="0" dirty="0"/>
              <a:t> lengde, spenningsnivå og bruksområde for hvert nivå i rapporten. Kilde: Reiten-rapporten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424584-900E-4414-A98B-BE3F1BFDEDD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768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6653DF4-DF12-4FB7-AA04-1750DE46FBAB}"/>
              </a:ext>
            </a:extLst>
          </p:cNvPr>
          <p:cNvSpPr/>
          <p:nvPr userDrawn="1"/>
        </p:nvSpPr>
        <p:spPr>
          <a:xfrm>
            <a:off x="1" y="3492435"/>
            <a:ext cx="9215438" cy="1692339"/>
          </a:xfrm>
          <a:prstGeom prst="rect">
            <a:avLst/>
          </a:prstGeom>
          <a:gradFill>
            <a:gsLst>
              <a:gs pos="88000">
                <a:srgbClr val="00334D"/>
              </a:gs>
              <a:gs pos="0">
                <a:srgbClr val="004D72"/>
              </a:gs>
              <a:gs pos="2000">
                <a:srgbClr val="004D72"/>
              </a:gs>
              <a:gs pos="100000">
                <a:srgbClr val="00334D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9397EFB-FFC3-4F98-B5D7-97B2B9696B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6117" y="3658232"/>
            <a:ext cx="6911579" cy="492443"/>
          </a:xfrm>
        </p:spPr>
        <p:txBody>
          <a:bodyPr anchor="b"/>
          <a:lstStyle>
            <a:lvl1pPr algn="l">
              <a:defRPr sz="32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77E9FEC-5A8A-4DF8-B9CE-BABF8FE093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5193" y="4483058"/>
            <a:ext cx="4217328" cy="184666"/>
          </a:xfr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Foredragsholder</a:t>
            </a: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ADAA3481-7B7F-40AF-9641-D25DFC8CC8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846" y="4428554"/>
            <a:ext cx="1962000" cy="509431"/>
          </a:xfrm>
          <a:prstGeom prst="rect">
            <a:avLst/>
          </a:prstGeom>
        </p:spPr>
      </p:pic>
      <p:sp>
        <p:nvSpPr>
          <p:cNvPr id="17" name="Plassholder for bilde 16">
            <a:extLst>
              <a:ext uri="{FF2B5EF4-FFF2-40B4-BE49-F238E27FC236}">
                <a16:creationId xmlns:a16="http://schemas.microsoft.com/office/drawing/2014/main" id="{26F83A92-F6AC-4EE8-89DC-2101144BBC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9215437" cy="3492435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098601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53414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0" name="think-cell Slide" r:id="rId4" imgW="592" imgH="588" progId="TCLayout.ActiveDocument.1">
                  <p:embed/>
                </p:oleObj>
              </mc:Choice>
              <mc:Fallback>
                <p:oleObj name="think-cell Slide" r:id="rId4" imgW="592" imgH="58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788" y="3"/>
            <a:ext cx="1145491" cy="127856"/>
          </a:xfrm>
        </p:spPr>
        <p:txBody>
          <a:bodyPr wrap="square">
            <a:spAutoFit/>
          </a:bodyPr>
          <a:lstStyle>
            <a:lvl1pPr marL="0" indent="0">
              <a:buNone/>
              <a:defRPr sz="831"/>
            </a:lvl1pPr>
          </a:lstStyle>
          <a:p>
            <a:pPr lvl="0"/>
            <a:r>
              <a:rPr lang="en-GB" noProof="0" dirty="0"/>
              <a:t>&lt;ADD TRACKER TEXT&gt;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endParaRPr lang="nb-NO" noProof="0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86643" y="4809592"/>
            <a:ext cx="8376014" cy="188908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6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87762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2pPr>
            <a:lvl3pPr marL="368995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3pPr>
            <a:lvl4pPr marL="556757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4pPr>
            <a:lvl5pPr marL="737990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&lt;Source: Write source references like this: Institution (year), title; Institution (year), title. USE hyperlinks where possible&gt;</a:t>
            </a:r>
          </a:p>
        </p:txBody>
      </p:sp>
    </p:spTree>
    <p:extLst>
      <p:ext uri="{BB962C8B-B14F-4D97-AF65-F5344CB8AC3E}">
        <p14:creationId xmlns:p14="http://schemas.microsoft.com/office/powerpoint/2010/main" val="965522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 hasCustomPrompt="1"/>
          </p:nvPr>
        </p:nvSpPr>
        <p:spPr/>
        <p:txBody>
          <a:bodyPr/>
          <a:lstStyle>
            <a:lvl1pPr marL="187764" marR="0" indent="-187764" algn="l" defTabSz="940448" rtl="0" eaLnBrk="1" fontAlgn="base" latinLnBrk="0" hangingPunct="1">
              <a:lnSpc>
                <a:spcPct val="100000"/>
              </a:lnSpc>
              <a:spcBef>
                <a:spcPts val="3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lang="en-US" sz="1888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813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510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359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8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7764" marR="0" lvl="0" indent="-187764" algn="l" defTabSz="940448" rtl="0" eaLnBrk="1" fontAlgn="base" latinLnBrk="0" hangingPunct="1">
              <a:lnSpc>
                <a:spcPct val="100000"/>
              </a:lnSpc>
              <a:spcBef>
                <a:spcPts val="3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lang="en-US" noProof="0" dirty="0"/>
              <a:t>Click to enter text – Hotkeys to move bullet within textbox: </a:t>
            </a:r>
            <a:br>
              <a:rPr lang="en-US" noProof="0" dirty="0"/>
            </a:br>
            <a:r>
              <a:rPr lang="en-US" noProof="0" dirty="0"/>
              <a:t>ALT + SHIFT + ARROW RIGHT/LEFT/UP/DOWN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86643" y="4809592"/>
            <a:ext cx="8376014" cy="188908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6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87762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2pPr>
            <a:lvl3pPr marL="368995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3pPr>
            <a:lvl4pPr marL="556757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4pPr>
            <a:lvl5pPr marL="737990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nb-NO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788" y="3"/>
            <a:ext cx="1145491" cy="127856"/>
          </a:xfrm>
        </p:spPr>
        <p:txBody>
          <a:bodyPr wrap="square">
            <a:spAutoFit/>
          </a:bodyPr>
          <a:lstStyle>
            <a:lvl1pPr marL="0" indent="0">
              <a:buNone/>
              <a:defRPr sz="831"/>
            </a:lvl1pPr>
          </a:lstStyle>
          <a:p>
            <a:pPr lvl="0"/>
            <a:r>
              <a:rPr lang="en-GB" noProof="0" dirty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1015960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00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6" name="think-cell Slide" r:id="rId4" imgW="592" imgH="588" progId="TCLayout.ActiveDocument.1">
                  <p:embed/>
                </p:oleObj>
              </mc:Choice>
              <mc:Fallback>
                <p:oleObj name="think-cell Slide" r:id="rId4" imgW="592" imgH="58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-32" y="1189042"/>
            <a:ext cx="4531528" cy="3347650"/>
          </a:xfrm>
        </p:spPr>
        <p:txBody>
          <a:bodyPr/>
          <a:lstStyle>
            <a:lvl1pPr marL="542396" indent="-259198">
              <a:defRPr sz="2117"/>
            </a:lvl1pPr>
            <a:lvl2pPr marL="680395" indent="-215998">
              <a:defRPr sz="1512"/>
            </a:lvl2pPr>
            <a:lvl3pPr marL="949193" indent="-172799">
              <a:defRPr sz="1361"/>
            </a:lvl3pPr>
            <a:lvl4pPr>
              <a:defRPr sz="1209"/>
            </a:lvl4pPr>
            <a:lvl5pPr>
              <a:defRPr sz="1209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84515" y="1189042"/>
            <a:ext cx="4531528" cy="3347650"/>
          </a:xfrm>
        </p:spPr>
        <p:txBody>
          <a:bodyPr/>
          <a:lstStyle>
            <a:lvl1pPr>
              <a:defRPr sz="1814"/>
            </a:lvl1pPr>
            <a:lvl2pPr marL="410397" indent="-215998">
              <a:defRPr sz="1512"/>
            </a:lvl2pPr>
            <a:lvl3pPr marL="745195" indent="-172799" defTabSz="743995">
              <a:defRPr sz="1361"/>
            </a:lvl3pPr>
            <a:lvl4pPr>
              <a:defRPr sz="1209"/>
            </a:lvl4pPr>
            <a:lvl5pPr>
              <a:defRPr sz="1209"/>
            </a:lvl5pPr>
            <a:lvl6pPr>
              <a:defRPr sz="1361"/>
            </a:lvl6pPr>
            <a:lvl7pPr>
              <a:defRPr sz="1361"/>
            </a:lvl7pPr>
            <a:lvl8pPr>
              <a:defRPr sz="1361"/>
            </a:lvl8pPr>
            <a:lvl9pPr>
              <a:defRPr sz="1361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ABDF5-0E50-49A9-B7DA-FF7C69814E4F}" type="datetimeFigureOut">
              <a:rPr lang="nb-NO" smtClean="0"/>
              <a:pPr/>
              <a:t>26.10.2020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6E134-4889-4FC1-A74F-E2F85B27FCC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072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 -&gt; Observ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3991" y="1355075"/>
            <a:ext cx="3048664" cy="3358101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>
            <a:noAutofit/>
          </a:bodyPr>
          <a:lstStyle>
            <a:lvl1pPr>
              <a:defRPr sz="1661" baseline="0">
                <a:solidFill>
                  <a:schemeClr val="bg1"/>
                </a:solidFill>
              </a:defRPr>
            </a:lvl1pPr>
            <a:lvl2pPr>
              <a:defRPr sz="1510">
                <a:solidFill>
                  <a:schemeClr val="bg1"/>
                </a:solidFill>
              </a:defRPr>
            </a:lvl2pPr>
            <a:lvl3pPr>
              <a:defRPr sz="1359">
                <a:solidFill>
                  <a:schemeClr val="bg1"/>
                </a:solidFill>
              </a:defRPr>
            </a:lvl3pPr>
            <a:lvl4pPr>
              <a:defRPr sz="1208">
                <a:solidFill>
                  <a:schemeClr val="bg1"/>
                </a:solidFill>
              </a:defRPr>
            </a:lvl4pPr>
            <a:lvl5pPr>
              <a:defRPr sz="105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252787" y="1355078"/>
            <a:ext cx="5661204" cy="335810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>
            <a:noAutofit/>
          </a:bodyPr>
          <a:lstStyle>
            <a:lvl1pPr>
              <a:defRPr sz="1661">
                <a:solidFill>
                  <a:schemeClr val="tx1"/>
                </a:solidFill>
              </a:defRPr>
            </a:lvl1pPr>
            <a:lvl2pPr>
              <a:defRPr sz="1510">
                <a:solidFill>
                  <a:schemeClr val="tx1"/>
                </a:solidFill>
              </a:defRPr>
            </a:lvl2pPr>
            <a:lvl3pPr>
              <a:defRPr sz="1359">
                <a:solidFill>
                  <a:schemeClr val="tx1"/>
                </a:solidFill>
              </a:defRPr>
            </a:lvl3pPr>
            <a:lvl4pPr>
              <a:defRPr sz="1208">
                <a:solidFill>
                  <a:schemeClr val="tx1"/>
                </a:solidFill>
              </a:defRPr>
            </a:lvl4pPr>
            <a:lvl5pPr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13994" y="1066091"/>
            <a:ext cx="3047963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&lt;Observations&gt;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252787" y="1066091"/>
            <a:ext cx="5661204" cy="27699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&lt;Graphs / Tables / Figures&gt;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nb-NO" noProof="0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586643" y="4809592"/>
            <a:ext cx="8376014" cy="188908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6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87762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2pPr>
            <a:lvl3pPr marL="368995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3pPr>
            <a:lvl4pPr marL="556757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4pPr>
            <a:lvl5pPr marL="737990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788" y="3"/>
            <a:ext cx="1145491" cy="127856"/>
          </a:xfrm>
        </p:spPr>
        <p:txBody>
          <a:bodyPr wrap="square">
            <a:spAutoFit/>
          </a:bodyPr>
          <a:lstStyle>
            <a:lvl1pPr marL="0" indent="0">
              <a:buNone/>
              <a:defRPr sz="831"/>
            </a:lvl1pPr>
          </a:lstStyle>
          <a:p>
            <a:pPr lvl="0"/>
            <a:r>
              <a:rPr lang="en-GB" noProof="0" dirty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24571198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ic -&gt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2086" y="1347387"/>
            <a:ext cx="3048664" cy="3365792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none"/>
        </p:style>
        <p:txBody>
          <a:bodyPr>
            <a:noAutofit/>
          </a:bodyPr>
          <a:lstStyle>
            <a:lvl1pPr>
              <a:defRPr sz="1661" baseline="0">
                <a:solidFill>
                  <a:schemeClr val="bg1"/>
                </a:solidFill>
              </a:defRPr>
            </a:lvl1pPr>
            <a:lvl2pPr>
              <a:defRPr sz="1510">
                <a:solidFill>
                  <a:schemeClr val="bg1"/>
                </a:solidFill>
              </a:defRPr>
            </a:lvl2pPr>
            <a:lvl3pPr>
              <a:defRPr sz="1359">
                <a:solidFill>
                  <a:schemeClr val="bg1"/>
                </a:solidFill>
              </a:defRPr>
            </a:lvl3pPr>
            <a:lvl4pPr>
              <a:defRPr sz="1208">
                <a:solidFill>
                  <a:schemeClr val="bg1"/>
                </a:solidFill>
              </a:defRPr>
            </a:lvl4pPr>
            <a:lvl5pPr>
              <a:defRPr sz="105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3300750" y="1347387"/>
            <a:ext cx="5661204" cy="336579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>
            <a:noAutofit/>
          </a:bodyPr>
          <a:lstStyle>
            <a:lvl1pPr>
              <a:defRPr sz="1661">
                <a:solidFill>
                  <a:schemeClr val="tx1"/>
                </a:solidFill>
              </a:defRPr>
            </a:lvl1pPr>
            <a:lvl2pPr>
              <a:defRPr sz="1510">
                <a:solidFill>
                  <a:schemeClr val="tx1"/>
                </a:solidFill>
              </a:defRPr>
            </a:lvl2pPr>
            <a:lvl3pPr>
              <a:defRPr sz="1359">
                <a:solidFill>
                  <a:schemeClr val="tx1"/>
                </a:solidFill>
              </a:defRPr>
            </a:lvl3pPr>
            <a:lvl4pPr>
              <a:defRPr sz="1208">
                <a:solidFill>
                  <a:schemeClr val="tx1"/>
                </a:solidFill>
              </a:defRPr>
            </a:lvl4pPr>
            <a:lvl5pPr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52086" y="1070384"/>
            <a:ext cx="3047963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&lt;Drivers / Logic&gt;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300750" y="1070384"/>
            <a:ext cx="5661204" cy="276999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&lt;Consequence in graphs / tables / figures&gt;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nb-NO" noProof="0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586643" y="4809592"/>
            <a:ext cx="8376014" cy="188908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6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87762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2pPr>
            <a:lvl3pPr marL="368995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3pPr>
            <a:lvl4pPr marL="556757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4pPr>
            <a:lvl5pPr marL="737990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788" y="3"/>
            <a:ext cx="1145491" cy="127856"/>
          </a:xfrm>
        </p:spPr>
        <p:txBody>
          <a:bodyPr wrap="square">
            <a:spAutoFit/>
          </a:bodyPr>
          <a:lstStyle>
            <a:lvl1pPr marL="0" indent="0">
              <a:buNone/>
              <a:defRPr sz="831"/>
            </a:lvl1pPr>
          </a:lstStyle>
          <a:p>
            <a:pPr lvl="0"/>
            <a:r>
              <a:rPr lang="en-GB" noProof="0" dirty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37411651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Varied font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 hasCustomPrompt="1"/>
          </p:nvPr>
        </p:nvSpPr>
        <p:spPr/>
        <p:txBody>
          <a:bodyPr/>
          <a:lstStyle>
            <a:lvl1pPr marL="187764" marR="0" indent="-187764" algn="l" defTabSz="940448" rtl="0" eaLnBrk="1" fontAlgn="base" latinLnBrk="0" hangingPunct="1">
              <a:lnSpc>
                <a:spcPct val="100000"/>
              </a:lnSpc>
              <a:spcBef>
                <a:spcPts val="617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lang="en-US" sz="1813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813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510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359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058" kern="120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87764" marR="0" lvl="0" indent="-187764" algn="l" defTabSz="940448" rtl="0" eaLnBrk="1" fontAlgn="base" latinLnBrk="0" hangingPunct="1">
              <a:lnSpc>
                <a:spcPct val="100000"/>
              </a:lnSpc>
              <a:spcBef>
                <a:spcPts val="3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lang="en-US" noProof="0" dirty="0"/>
              <a:t>Click to enter text – Hotkeys to move bullet within textbox: </a:t>
            </a:r>
            <a:br>
              <a:rPr lang="en-US" noProof="0" dirty="0"/>
            </a:br>
            <a:r>
              <a:rPr lang="en-US" noProof="0" dirty="0"/>
              <a:t>ALT + SHIFT + ARROW RIGHT/LEFT/UP/DOWN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86643" y="4809592"/>
            <a:ext cx="8376014" cy="188908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6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87762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2pPr>
            <a:lvl3pPr marL="368995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3pPr>
            <a:lvl4pPr marL="556757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4pPr>
            <a:lvl5pPr marL="737990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nb-NO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788" y="3"/>
            <a:ext cx="1145491" cy="127856"/>
          </a:xfrm>
        </p:spPr>
        <p:txBody>
          <a:bodyPr wrap="square">
            <a:spAutoFit/>
          </a:bodyPr>
          <a:lstStyle>
            <a:lvl1pPr marL="0" indent="0">
              <a:buNone/>
              <a:defRPr sz="831"/>
            </a:lvl1pPr>
          </a:lstStyle>
          <a:p>
            <a:pPr lvl="0"/>
            <a:r>
              <a:rPr lang="en-GB" noProof="0" dirty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1881492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vertical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52788" y="1387505"/>
            <a:ext cx="8709869" cy="3328000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/>
          <a:lstStyle>
            <a:lvl1pPr>
              <a:defRPr sz="1661">
                <a:solidFill>
                  <a:schemeClr val="tx1"/>
                </a:solidFill>
              </a:defRPr>
            </a:lvl1pPr>
            <a:lvl2pPr>
              <a:defRPr sz="1510">
                <a:solidFill>
                  <a:schemeClr val="tx1"/>
                </a:solidFill>
              </a:defRPr>
            </a:lvl2pPr>
            <a:lvl3pPr>
              <a:defRPr sz="1359">
                <a:solidFill>
                  <a:schemeClr val="tx1"/>
                </a:solidFill>
              </a:defRPr>
            </a:lvl3pPr>
            <a:lvl4pPr>
              <a:defRPr sz="1208">
                <a:solidFill>
                  <a:schemeClr val="tx1"/>
                </a:solidFill>
              </a:defRPr>
            </a:lvl4pPr>
            <a:lvl5pPr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249584" y="1068162"/>
            <a:ext cx="8716392" cy="319346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 tIns="98063" bIns="98063" anchor="ctr" anchorCtr="0">
            <a:noAutofit/>
          </a:bodyPr>
          <a:lstStyle>
            <a:lvl1pPr marL="0" indent="0">
              <a:buNone/>
              <a:defRPr b="0" i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Heading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86643" y="4809592"/>
            <a:ext cx="8376014" cy="188908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6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87762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2pPr>
            <a:lvl3pPr marL="368995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3pPr>
            <a:lvl4pPr marL="556757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4pPr>
            <a:lvl5pPr marL="737990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nb-NO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788" y="3"/>
            <a:ext cx="1145491" cy="127856"/>
          </a:xfrm>
        </p:spPr>
        <p:txBody>
          <a:bodyPr wrap="square">
            <a:spAutoFit/>
          </a:bodyPr>
          <a:lstStyle>
            <a:lvl1pPr marL="0" indent="0">
              <a:buNone/>
              <a:defRPr sz="831"/>
            </a:lvl1pPr>
          </a:lstStyle>
          <a:p>
            <a:pPr lvl="0"/>
            <a:r>
              <a:rPr lang="en-GB" noProof="0" dirty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12985932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rive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52789" y="1357164"/>
            <a:ext cx="4010666" cy="3358343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rIns="122577">
            <a:noAutofit/>
          </a:bodyPr>
          <a:lstStyle>
            <a:lvl1pPr>
              <a:defRPr sz="1661">
                <a:solidFill>
                  <a:schemeClr val="tx1"/>
                </a:solidFill>
              </a:defRPr>
            </a:lvl1pPr>
            <a:lvl2pPr>
              <a:defRPr sz="1510">
                <a:solidFill>
                  <a:schemeClr val="tx1"/>
                </a:solidFill>
              </a:defRPr>
            </a:lvl2pPr>
            <a:lvl3pPr>
              <a:defRPr sz="1359">
                <a:solidFill>
                  <a:schemeClr val="tx1"/>
                </a:solidFill>
              </a:defRPr>
            </a:lvl3pPr>
            <a:lvl4pPr>
              <a:defRPr sz="1208">
                <a:solidFill>
                  <a:schemeClr val="tx1"/>
                </a:solidFill>
              </a:defRPr>
            </a:lvl4pPr>
            <a:lvl5pPr>
              <a:defRPr sz="1058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4607724" y="1357165"/>
            <a:ext cx="4354933" cy="335834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none"/>
        </p:style>
        <p:txBody>
          <a:bodyPr>
            <a:noAutofit/>
          </a:bodyPr>
          <a:lstStyle>
            <a:lvl1pPr>
              <a:defRPr sz="1661">
                <a:solidFill>
                  <a:schemeClr val="bg1"/>
                </a:solidFill>
              </a:defRPr>
            </a:lvl1pPr>
            <a:lvl2pPr>
              <a:defRPr sz="1510">
                <a:solidFill>
                  <a:schemeClr val="bg1"/>
                </a:solidFill>
              </a:defRPr>
            </a:lvl2pPr>
            <a:lvl3pPr>
              <a:defRPr sz="1359">
                <a:solidFill>
                  <a:schemeClr val="bg1"/>
                </a:solidFill>
              </a:defRPr>
            </a:lvl3pPr>
            <a:lvl4pPr>
              <a:defRPr sz="1208">
                <a:solidFill>
                  <a:schemeClr val="bg1"/>
                </a:solidFill>
              </a:defRPr>
            </a:lvl4pPr>
            <a:lvl5pPr>
              <a:defRPr sz="1058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252789" y="1080166"/>
            <a:ext cx="4010666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 marL="0" indent="0">
              <a:buNone/>
              <a:defRPr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&lt;Drivers&gt;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607721" y="1080166"/>
            <a:ext cx="4354235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 marL="0" indent="0">
              <a:buNone/>
              <a:defRPr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&lt;Consequence&gt;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 hasCustomPrompt="1"/>
          </p:nvPr>
        </p:nvSpPr>
        <p:spPr>
          <a:xfrm rot="5400000">
            <a:off x="3130312" y="2891064"/>
            <a:ext cx="2558215" cy="290540"/>
          </a:xfrm>
          <a:prstGeom prst="flowChartExtra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vert="horz" lIns="124539" tIns="62269" rIns="124539" bIns="62269" rtlCol="0">
            <a:normAutofit/>
          </a:bodyPr>
          <a:lstStyle>
            <a:lvl1pPr>
              <a:defRPr lang="nb-NO" dirty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endParaRPr lang="nb-NO" noProof="0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 hasCustomPrompt="1"/>
          </p:nvPr>
        </p:nvSpPr>
        <p:spPr>
          <a:xfrm>
            <a:off x="586643" y="4809592"/>
            <a:ext cx="8376014" cy="188908"/>
          </a:xfrm>
        </p:spPr>
        <p:txBody>
          <a:bodyPr wrap="square" lIns="24516" tIns="24516" rIns="24516" bIns="24516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906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187762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2pPr>
            <a:lvl3pPr marL="368995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3pPr>
            <a:lvl4pPr marL="556757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4pPr>
            <a:lvl5pPr marL="737990" indent="0">
              <a:buNone/>
              <a:defRPr sz="906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2788" y="3"/>
            <a:ext cx="1145491" cy="127856"/>
          </a:xfrm>
        </p:spPr>
        <p:txBody>
          <a:bodyPr wrap="square">
            <a:spAutoFit/>
          </a:bodyPr>
          <a:lstStyle>
            <a:lvl1pPr marL="0" indent="0">
              <a:buNone/>
              <a:defRPr sz="831"/>
            </a:lvl1pPr>
          </a:lstStyle>
          <a:p>
            <a:pPr lvl="0"/>
            <a:r>
              <a:rPr lang="en-GB" noProof="0" dirty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26634919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t 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6653DF4-DF12-4FB7-AA04-1750DE46FBAB}"/>
              </a:ext>
            </a:extLst>
          </p:cNvPr>
          <p:cNvSpPr/>
          <p:nvPr userDrawn="1"/>
        </p:nvSpPr>
        <p:spPr>
          <a:xfrm>
            <a:off x="5760719" y="1"/>
            <a:ext cx="3454720" cy="5184774"/>
          </a:xfrm>
          <a:prstGeom prst="rect">
            <a:avLst/>
          </a:prstGeom>
          <a:gradFill>
            <a:gsLst>
              <a:gs pos="88000">
                <a:srgbClr val="00334D"/>
              </a:gs>
              <a:gs pos="0">
                <a:srgbClr val="004D72"/>
              </a:gs>
              <a:gs pos="2000">
                <a:srgbClr val="004D72"/>
              </a:gs>
              <a:gs pos="100000">
                <a:srgbClr val="00334D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9397EFB-FFC3-4F98-B5D7-97B2B9696B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138" y="1107440"/>
            <a:ext cx="2732704" cy="1477328"/>
          </a:xfrm>
        </p:spPr>
        <p:txBody>
          <a:bodyPr anchor="b">
            <a:spAutoFit/>
          </a:bodyPr>
          <a:lstStyle>
            <a:lvl1pPr algn="l">
              <a:defRPr sz="32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77E9FEC-5A8A-4DF8-B9CE-BABF8FE093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10621" y="3328631"/>
            <a:ext cx="1601897" cy="184666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>
                <a:solidFill>
                  <a:schemeClr val="l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Foredragsholder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658B04F6-7CC9-4661-A520-F3A3D47A0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383614" y="3529408"/>
            <a:ext cx="20732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l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84492F72-6232-4A7E-8883-6C94952DF423}" type="datetime1">
              <a:rPr lang="nb-NO" smtClean="0"/>
              <a:t>26.10.2020</a:t>
            </a:fld>
            <a:endParaRPr lang="nb-NO" dirty="0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FEC8AE31-6521-46E3-9709-75B217982555}"/>
              </a:ext>
            </a:extLst>
          </p:cNvPr>
          <p:cNvSpPr txBox="1"/>
          <p:nvPr userDrawn="1"/>
        </p:nvSpPr>
        <p:spPr>
          <a:xfrm>
            <a:off x="5998135" y="3529408"/>
            <a:ext cx="15011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200" dirty="0">
                <a:solidFill>
                  <a:schemeClr val="lt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to:</a:t>
            </a: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ADAA3481-7B7F-40AF-9641-D25DFC8CC8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846" y="4428554"/>
            <a:ext cx="1962000" cy="509431"/>
          </a:xfrm>
          <a:prstGeom prst="rect">
            <a:avLst/>
          </a:prstGeom>
        </p:spPr>
      </p:pic>
      <p:sp>
        <p:nvSpPr>
          <p:cNvPr id="17" name="Plassholder for bilde 16">
            <a:extLst>
              <a:ext uri="{FF2B5EF4-FFF2-40B4-BE49-F238E27FC236}">
                <a16:creationId xmlns:a16="http://schemas.microsoft.com/office/drawing/2014/main" id="{26F83A92-F6AC-4EE8-89DC-2101144BBC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5760720" cy="5184774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5522694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B8F55A-E0F8-40FB-93E1-358CA298E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91" y="1155968"/>
            <a:ext cx="7775258" cy="3163113"/>
          </a:xfrm>
        </p:spPr>
        <p:txBody>
          <a:bodyPr/>
          <a:lstStyle>
            <a:lvl1pPr>
              <a:defRPr sz="1800" b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52F991B-2E06-4B89-A8B6-FE85A0A93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775258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14694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med grafikk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E75B2F6D-8568-49E5-8D8A-6726D56E79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490" y="0"/>
            <a:ext cx="5202947" cy="5038354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52F991B-2E06-4B89-A8B6-FE85A0A93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775258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B8F55A-E0F8-40FB-93E1-358CA298E2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6396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52F991B-2E06-4B89-A8B6-FE85A0A93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68" y="582714"/>
            <a:ext cx="7775258" cy="492443"/>
          </a:xfrm>
        </p:spPr>
        <p:txBody>
          <a:bodyPr/>
          <a:lstStyle>
            <a:lvl1pPr>
              <a:defRPr sz="32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9DB72D1F-7EA9-4FEC-A557-F3F3779C2A3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846" y="4428554"/>
            <a:ext cx="1962000" cy="509431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7DF6047-60C6-433A-91AD-775EEAAC69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68" y="1517918"/>
            <a:ext cx="7775258" cy="2820617"/>
          </a:xfrm>
          <a:prstGeom prst="rect">
            <a:avLst/>
          </a:prstGeom>
        </p:spPr>
        <p:txBody>
          <a:bodyPr lIns="0" tIns="0" rIns="0" bIns="0"/>
          <a:lstStyle>
            <a:lvl1pPr marL="409575" indent="-409575">
              <a:lnSpc>
                <a:spcPct val="90000"/>
              </a:lnSpc>
              <a:buFontTx/>
              <a:buBlip>
                <a:blip r:embed="rId4"/>
              </a:buBlip>
              <a:defRPr sz="1800" b="1">
                <a:solidFill>
                  <a:schemeClr val="lt1"/>
                </a:solidFill>
              </a:defRPr>
            </a:lvl1pPr>
            <a:lvl2pPr marL="410400" indent="0">
              <a:lnSpc>
                <a:spcPct val="90000"/>
              </a:lnSpc>
              <a:buNone/>
              <a:defRPr sz="1600">
                <a:solidFill>
                  <a:schemeClr val="lt1"/>
                </a:solidFill>
              </a:defRPr>
            </a:lvl2pPr>
            <a:lvl3pPr marL="914400" indent="0">
              <a:buNone/>
              <a:defRPr sz="2500">
                <a:solidFill>
                  <a:schemeClr val="lt1"/>
                </a:solidFill>
              </a:defRPr>
            </a:lvl3pPr>
            <a:lvl4pPr>
              <a:defRPr sz="2500">
                <a:solidFill>
                  <a:schemeClr val="lt1"/>
                </a:solidFill>
              </a:defRPr>
            </a:lvl4pPr>
            <a:lvl5pPr>
              <a:defRPr sz="2500">
                <a:solidFill>
                  <a:schemeClr val="lt1"/>
                </a:solidFill>
              </a:defRPr>
            </a:lvl5pPr>
          </a:lstStyle>
          <a:p>
            <a:pPr lvl="0"/>
            <a:r>
              <a:rPr lang="nb-NO" dirty="0"/>
              <a:t>tekststiler i malen</a:t>
            </a:r>
          </a:p>
          <a:p>
            <a:pPr lvl="1"/>
            <a:r>
              <a:rPr lang="nb-NO" dirty="0" err="1"/>
              <a:t>AnRedigerdre</a:t>
            </a:r>
            <a:r>
              <a:rPr lang="nb-NO" dirty="0"/>
              <a:t> nivå</a:t>
            </a:r>
          </a:p>
        </p:txBody>
      </p:sp>
    </p:spTree>
    <p:extLst>
      <p:ext uri="{BB962C8B-B14F-4D97-AF65-F5344CB8AC3E}">
        <p14:creationId xmlns:p14="http://schemas.microsoft.com/office/powerpoint/2010/main" val="425624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52F991B-2E06-4B89-A8B6-FE85A0A93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6863" y="393221"/>
            <a:ext cx="3888486" cy="86177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B8F55A-E0F8-40FB-93E1-358CA298E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6863" y="1358899"/>
            <a:ext cx="3888486" cy="29908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B2B4086E-FBC7-4BF3-B41A-8447CA7AB07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4140503" cy="5184775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465042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6">
            <a:extLst>
              <a:ext uri="{FF2B5EF4-FFF2-40B4-BE49-F238E27FC236}">
                <a16:creationId xmlns:a16="http://schemas.microsoft.com/office/drawing/2014/main" id="{9AEAC00A-12A1-4331-A6B3-2599658AC3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5760720" cy="5184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4B3EF898-23F8-4B35-8F1E-36AC1B21A0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73482" y="-1"/>
            <a:ext cx="5741957" cy="5181172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3028F9F-6EC2-4DEA-B3AA-89D632008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65832" y="2392700"/>
            <a:ext cx="3982917" cy="369332"/>
          </a:xfrm>
        </p:spPr>
        <p:txBody>
          <a:bodyPr anchor="b"/>
          <a:lstStyle>
            <a:lvl1pPr>
              <a:defRPr sz="2400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Kapitteltitte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601D198-D721-4E87-A92F-3AB7C8F55E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65832" y="2753857"/>
            <a:ext cx="3982917" cy="230832"/>
          </a:xfrm>
        </p:spPr>
        <p:txBody>
          <a:bodyPr wrap="square">
            <a:spAutoFit/>
          </a:bodyPr>
          <a:lstStyle>
            <a:lvl1pPr marL="0" indent="0">
              <a:buNone/>
              <a:defRPr sz="1500">
                <a:solidFill>
                  <a:schemeClr val="lt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457934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B897D90-F49F-46B6-8E30-FB42C62DB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775258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60DF870D-15DA-43AB-80E3-023810027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92" y="1155969"/>
            <a:ext cx="3780473" cy="315662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0A02751B-21C0-4CDE-A19A-050B9B37AB5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714875" y="1155968"/>
            <a:ext cx="3780473" cy="315662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74084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FF37993-392C-4D52-BC45-6451CBFFD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775258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95719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F8637E-C11E-4A0E-AFAE-8A598AC565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036986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1" name="think-cell Slide" r:id="rId23" imgW="663" imgH="664" progId="TCLayout.ActiveDocument.1">
                  <p:embed/>
                </p:oleObj>
              </mc:Choice>
              <mc:Fallback>
                <p:oleObj name="think-cell Slide" r:id="rId23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16B8270-5E15-43BC-BA4C-485A09DFF33A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200" b="1" i="0" baseline="0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7D69D3A-50ED-4868-9182-28D979FD6039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868" y="4421353"/>
            <a:ext cx="1864800" cy="480732"/>
          </a:xfrm>
          <a:prstGeom prst="rect">
            <a:avLst/>
          </a:prstGeom>
        </p:spPr>
      </p:pic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B3717209-DA6B-4DEB-9F91-672892415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775258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80F4840-36CA-431A-81CA-8EE8FDEB16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91" y="1155968"/>
            <a:ext cx="7775258" cy="315662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43909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60" r:id="rId4"/>
    <p:sldLayoutId id="2147483663" r:id="rId5"/>
    <p:sldLayoutId id="2147483661" r:id="rId6"/>
    <p:sldLayoutId id="2147483651" r:id="rId7"/>
    <p:sldLayoutId id="2147483652" r:id="rId8"/>
    <p:sldLayoutId id="2147483654" r:id="rId9"/>
    <p:sldLayoutId id="2147483655" r:id="rId10"/>
    <p:sldLayoutId id="2147483664" r:id="rId11"/>
    <p:sldLayoutId id="2147483665" r:id="rId12"/>
    <p:sldLayoutId id="2147483666" r:id="rId13"/>
    <p:sldLayoutId id="2147483667" r:id="rId14"/>
    <p:sldLayoutId id="2147483668" r:id="rId15"/>
    <p:sldLayoutId id="2147483669" r:id="rId16"/>
    <p:sldLayoutId id="2147483670" r:id="rId17"/>
    <p:sldLayoutId id="2147483672" r:id="rId18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19.xml"/><Relationship Id="rId7" Type="http://schemas.openxmlformats.org/officeDocument/2006/relationships/image" Target="../media/image6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1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21.xml"/><Relationship Id="rId7" Type="http://schemas.openxmlformats.org/officeDocument/2006/relationships/image" Target="../media/image58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62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42.emf"/><Relationship Id="rId17" Type="http://schemas.openxmlformats.org/officeDocument/2006/relationships/image" Target="../media/image49.png"/><Relationship Id="rId2" Type="http://schemas.openxmlformats.org/officeDocument/2006/relationships/tags" Target="../tags/tag26.xml"/><Relationship Id="rId16" Type="http://schemas.openxmlformats.org/officeDocument/2006/relationships/image" Target="../media/image57.png"/><Relationship Id="rId1" Type="http://schemas.openxmlformats.org/officeDocument/2006/relationships/vmlDrawing" Target="../drawings/vmlDrawing14.vml"/><Relationship Id="rId6" Type="http://schemas.openxmlformats.org/officeDocument/2006/relationships/tags" Target="../tags/tag30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29.xml"/><Relationship Id="rId15" Type="http://schemas.openxmlformats.org/officeDocument/2006/relationships/image" Target="../media/image63.png"/><Relationship Id="rId10" Type="http://schemas.openxmlformats.org/officeDocument/2006/relationships/notesSlide" Target="../notesSlides/notesSlide8.xml"/><Relationship Id="rId4" Type="http://schemas.openxmlformats.org/officeDocument/2006/relationships/tags" Target="../tags/tag28.xml"/><Relationship Id="rId9" Type="http://schemas.openxmlformats.org/officeDocument/2006/relationships/slideLayout" Target="../slideLayouts/slideLayout11.xml"/><Relationship Id="rId14" Type="http://schemas.openxmlformats.org/officeDocument/2006/relationships/chart" Target="../charts/char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12" Type="http://schemas.openxmlformats.org/officeDocument/2006/relationships/image" Target="../media/image68.png"/><Relationship Id="rId2" Type="http://schemas.openxmlformats.org/officeDocument/2006/relationships/tags" Target="../tags/tag33.xml"/><Relationship Id="rId16" Type="http://schemas.openxmlformats.org/officeDocument/2006/relationships/image" Target="../media/image72.png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67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71.png"/><Relationship Id="rId10" Type="http://schemas.openxmlformats.org/officeDocument/2006/relationships/image" Target="../media/image66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5.png"/><Relationship Id="rId14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svg"/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12" Type="http://schemas.openxmlformats.org/officeDocument/2006/relationships/image" Target="../media/image7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76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75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13" Type="http://schemas.openxmlformats.org/officeDocument/2006/relationships/image" Target="../media/image83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12" Type="http://schemas.openxmlformats.org/officeDocument/2006/relationships/image" Target="../media/image82.png"/><Relationship Id="rId2" Type="http://schemas.openxmlformats.org/officeDocument/2006/relationships/tags" Target="../tags/tag37.xml"/><Relationship Id="rId16" Type="http://schemas.openxmlformats.org/officeDocument/2006/relationships/image" Target="../media/image52.png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81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85.png"/><Relationship Id="rId10" Type="http://schemas.openxmlformats.org/officeDocument/2006/relationships/image" Target="../media/image80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9.png"/><Relationship Id="rId14" Type="http://schemas.openxmlformats.org/officeDocument/2006/relationships/image" Target="../media/image8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9.png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12" Type="http://schemas.openxmlformats.org/officeDocument/2006/relationships/image" Target="../media/image88.png"/><Relationship Id="rId2" Type="http://schemas.openxmlformats.org/officeDocument/2006/relationships/tags" Target="../tags/tag39.xml"/><Relationship Id="rId16" Type="http://schemas.openxmlformats.org/officeDocument/2006/relationships/image" Target="../media/image52.png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87.png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91.png"/><Relationship Id="rId10" Type="http://schemas.openxmlformats.org/officeDocument/2006/relationships/image" Target="../media/image86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80.png"/><Relationship Id="rId14" Type="http://schemas.openxmlformats.org/officeDocument/2006/relationships/image" Target="../media/image9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49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5.xml"/><Relationship Id="rId11" Type="http://schemas.openxmlformats.org/officeDocument/2006/relationships/image" Target="../media/image92.png"/><Relationship Id="rId5" Type="http://schemas.openxmlformats.org/officeDocument/2006/relationships/tags" Target="../tags/tag44.xml"/><Relationship Id="rId10" Type="http://schemas.openxmlformats.org/officeDocument/2006/relationships/image" Target="../media/image1.emf"/><Relationship Id="rId4" Type="http://schemas.openxmlformats.org/officeDocument/2006/relationships/tags" Target="../tags/tag43.xml"/><Relationship Id="rId9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32.png"/><Relationship Id="rId3" Type="http://schemas.openxmlformats.org/officeDocument/2006/relationships/tags" Target="../tags/tag48.xml"/><Relationship Id="rId7" Type="http://schemas.openxmlformats.org/officeDocument/2006/relationships/image" Target="../media/image93.png"/><Relationship Id="rId12" Type="http://schemas.openxmlformats.org/officeDocument/2006/relationships/image" Target="../media/image29.png"/><Relationship Id="rId2" Type="http://schemas.openxmlformats.org/officeDocument/2006/relationships/tags" Target="../tags/tag47.xml"/><Relationship Id="rId16" Type="http://schemas.openxmlformats.org/officeDocument/2006/relationships/image" Target="../media/image36.png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35.png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7.png"/><Relationship Id="rId1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eg"/><Relationship Id="rId3" Type="http://schemas.openxmlformats.org/officeDocument/2006/relationships/tags" Target="../tags/tag50.xml"/><Relationship Id="rId7" Type="http://schemas.openxmlformats.org/officeDocument/2006/relationships/image" Target="../media/image95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1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12" Type="http://schemas.openxmlformats.org/officeDocument/2006/relationships/image" Target="../media/image100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99.png"/><Relationship Id="rId5" Type="http://schemas.openxmlformats.org/officeDocument/2006/relationships/notesSlide" Target="../notesSlides/notesSlide15.xml"/><Relationship Id="rId15" Type="http://schemas.openxmlformats.org/officeDocument/2006/relationships/image" Target="../media/image103.png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8.png"/><Relationship Id="rId1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07.png"/><Relationship Id="rId3" Type="http://schemas.openxmlformats.org/officeDocument/2006/relationships/tags" Target="../tags/tag58.xml"/><Relationship Id="rId7" Type="http://schemas.openxmlformats.org/officeDocument/2006/relationships/image" Target="../media/image104.png"/><Relationship Id="rId12" Type="http://schemas.openxmlformats.org/officeDocument/2006/relationships/image" Target="../media/image5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106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49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2.png"/><Relationship Id="rId14" Type="http://schemas.openxmlformats.org/officeDocument/2006/relationships/image" Target="../media/image108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image" Target="../media/image1.emf"/><Relationship Id="rId3" Type="http://schemas.openxmlformats.org/officeDocument/2006/relationships/tags" Target="../tags/tag60.xml"/><Relationship Id="rId21" Type="http://schemas.openxmlformats.org/officeDocument/2006/relationships/tags" Target="../tags/tag78.xml"/><Relationship Id="rId34" Type="http://schemas.openxmlformats.org/officeDocument/2006/relationships/image" Target="../media/image116.png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oleObject" Target="../embeddings/oleObject26.bin"/><Relationship Id="rId33" Type="http://schemas.openxmlformats.org/officeDocument/2006/relationships/image" Target="../media/image115.png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29" Type="http://schemas.openxmlformats.org/officeDocument/2006/relationships/image" Target="../media/image111.png"/><Relationship Id="rId1" Type="http://schemas.openxmlformats.org/officeDocument/2006/relationships/vmlDrawing" Target="../drawings/vmlDrawing26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notesSlide" Target="../notesSlides/notesSlide16.xml"/><Relationship Id="rId32" Type="http://schemas.openxmlformats.org/officeDocument/2006/relationships/image" Target="../media/image114.png"/><Relationship Id="rId37" Type="http://schemas.openxmlformats.org/officeDocument/2006/relationships/image" Target="../media/image107.png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slideLayout" Target="../slideLayouts/slideLayout11.xml"/><Relationship Id="rId28" Type="http://schemas.openxmlformats.org/officeDocument/2006/relationships/image" Target="../media/image110.jpeg"/><Relationship Id="rId36" Type="http://schemas.openxmlformats.org/officeDocument/2006/relationships/image" Target="../media/image117.png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31" Type="http://schemas.openxmlformats.org/officeDocument/2006/relationships/image" Target="../media/image113.png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image" Target="../media/image109.png"/><Relationship Id="rId30" Type="http://schemas.openxmlformats.org/officeDocument/2006/relationships/image" Target="../media/image112.png"/><Relationship Id="rId35" Type="http://schemas.openxmlformats.org/officeDocument/2006/relationships/image" Target="../media/image10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118.png"/><Relationship Id="rId2" Type="http://schemas.openxmlformats.org/officeDocument/2006/relationships/tags" Target="../tags/tag8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tags" Target="../tags/tag7.xml"/><Relationship Id="rId21" Type="http://schemas.openxmlformats.org/officeDocument/2006/relationships/image" Target="../media/image24.png"/><Relationship Id="rId7" Type="http://schemas.openxmlformats.org/officeDocument/2006/relationships/image" Target="../media/image10.emf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tags" Target="../tags/tag6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3.png"/><Relationship Id="rId3" Type="http://schemas.openxmlformats.org/officeDocument/2006/relationships/tags" Target="../tags/tag83.xml"/><Relationship Id="rId7" Type="http://schemas.openxmlformats.org/officeDocument/2006/relationships/image" Target="../media/image1.emf"/><Relationship Id="rId12" Type="http://schemas.openxmlformats.org/officeDocument/2006/relationships/image" Target="../media/image122.png"/><Relationship Id="rId2" Type="http://schemas.openxmlformats.org/officeDocument/2006/relationships/tags" Target="../tags/tag8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121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120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6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tags" Target="../tags/tag85.xml"/><Relationship Id="rId7" Type="http://schemas.openxmlformats.org/officeDocument/2006/relationships/image" Target="../media/image124.png"/><Relationship Id="rId2" Type="http://schemas.openxmlformats.org/officeDocument/2006/relationships/tags" Target="../tags/tag8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127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2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87.xml"/><Relationship Id="rId7" Type="http://schemas.openxmlformats.org/officeDocument/2006/relationships/image" Target="../media/image1.emf"/><Relationship Id="rId2" Type="http://schemas.openxmlformats.org/officeDocument/2006/relationships/tags" Target="../tags/tag86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27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13" Type="http://schemas.openxmlformats.org/officeDocument/2006/relationships/image" Target="../media/image133.png"/><Relationship Id="rId18" Type="http://schemas.openxmlformats.org/officeDocument/2006/relationships/image" Target="../media/image138.png"/><Relationship Id="rId3" Type="http://schemas.openxmlformats.org/officeDocument/2006/relationships/tags" Target="../tags/tag89.xml"/><Relationship Id="rId7" Type="http://schemas.openxmlformats.org/officeDocument/2006/relationships/image" Target="../media/image128.emf"/><Relationship Id="rId12" Type="http://schemas.openxmlformats.org/officeDocument/2006/relationships/image" Target="../media/image132.png"/><Relationship Id="rId17" Type="http://schemas.openxmlformats.org/officeDocument/2006/relationships/image" Target="../media/image137.png"/><Relationship Id="rId2" Type="http://schemas.openxmlformats.org/officeDocument/2006/relationships/tags" Target="../tags/tag88.xml"/><Relationship Id="rId16" Type="http://schemas.openxmlformats.org/officeDocument/2006/relationships/image" Target="../media/image136.png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131.png"/><Relationship Id="rId5" Type="http://schemas.openxmlformats.org/officeDocument/2006/relationships/notesSlide" Target="../notesSlides/notesSlide19.xml"/><Relationship Id="rId15" Type="http://schemas.openxmlformats.org/officeDocument/2006/relationships/image" Target="../media/image135.png"/><Relationship Id="rId10" Type="http://schemas.openxmlformats.org/officeDocument/2006/relationships/image" Target="../media/image130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29.png"/><Relationship Id="rId14" Type="http://schemas.openxmlformats.org/officeDocument/2006/relationships/image" Target="../media/image13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28.png"/><Relationship Id="rId18" Type="http://schemas.openxmlformats.org/officeDocument/2006/relationships/image" Target="../media/image29.png"/><Relationship Id="rId26" Type="http://schemas.openxmlformats.org/officeDocument/2006/relationships/image" Target="../media/image36.png"/><Relationship Id="rId3" Type="http://schemas.openxmlformats.org/officeDocument/2006/relationships/tags" Target="../tags/tag9.xml"/><Relationship Id="rId21" Type="http://schemas.openxmlformats.org/officeDocument/2006/relationships/image" Target="../media/image32.png"/><Relationship Id="rId34" Type="http://schemas.openxmlformats.org/officeDocument/2006/relationships/image" Target="../media/image13.png"/><Relationship Id="rId7" Type="http://schemas.openxmlformats.org/officeDocument/2006/relationships/image" Target="../media/image10.emf"/><Relationship Id="rId12" Type="http://schemas.openxmlformats.org/officeDocument/2006/relationships/image" Target="../media/image27.png"/><Relationship Id="rId17" Type="http://schemas.openxmlformats.org/officeDocument/2006/relationships/image" Target="../media/image22.png"/><Relationship Id="rId25" Type="http://schemas.openxmlformats.org/officeDocument/2006/relationships/image" Target="../media/image35.png"/><Relationship Id="rId33" Type="http://schemas.openxmlformats.org/officeDocument/2006/relationships/image" Target="../media/image11.png"/><Relationship Id="rId2" Type="http://schemas.openxmlformats.org/officeDocument/2006/relationships/tags" Target="../tags/tag8.xml"/><Relationship Id="rId16" Type="http://schemas.openxmlformats.org/officeDocument/2006/relationships/image" Target="../media/image12.png"/><Relationship Id="rId20" Type="http://schemas.openxmlformats.org/officeDocument/2006/relationships/image" Target="../media/image31.png"/><Relationship Id="rId29" Type="http://schemas.microsoft.com/office/2007/relationships/hdphoto" Target="../media/hdphoto1.wdp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7.png"/><Relationship Id="rId24" Type="http://schemas.openxmlformats.org/officeDocument/2006/relationships/image" Target="../media/image34.png"/><Relationship Id="rId32" Type="http://schemas.openxmlformats.org/officeDocument/2006/relationships/image" Target="../media/image25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1.png"/><Relationship Id="rId23" Type="http://schemas.openxmlformats.org/officeDocument/2006/relationships/image" Target="../media/image26.png"/><Relationship Id="rId28" Type="http://schemas.openxmlformats.org/officeDocument/2006/relationships/image" Target="../media/image38.png"/><Relationship Id="rId10" Type="http://schemas.openxmlformats.org/officeDocument/2006/relationships/image" Target="../media/image16.png"/><Relationship Id="rId19" Type="http://schemas.openxmlformats.org/officeDocument/2006/relationships/image" Target="../media/image30.png"/><Relationship Id="rId31" Type="http://schemas.openxmlformats.org/officeDocument/2006/relationships/image" Target="../media/image4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33.png"/><Relationship Id="rId27" Type="http://schemas.openxmlformats.org/officeDocument/2006/relationships/image" Target="../media/image37.png"/><Relationship Id="rId30" Type="http://schemas.openxmlformats.org/officeDocument/2006/relationships/image" Target="../media/image39.png"/><Relationship Id="rId35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11.xml"/><Relationship Id="rId7" Type="http://schemas.openxmlformats.org/officeDocument/2006/relationships/image" Target="../media/image4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45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tags" Target="../tags/tag12.xml"/><Relationship Id="rId16" Type="http://schemas.openxmlformats.org/officeDocument/2006/relationships/image" Target="../media/image54.pn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49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tags" Target="../tags/tag15.xml"/><Relationship Id="rId7" Type="http://schemas.openxmlformats.org/officeDocument/2006/relationships/image" Target="../media/image58.emf"/><Relationship Id="rId12" Type="http://schemas.openxmlformats.org/officeDocument/2006/relationships/chart" Target="../charts/char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53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4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chart" Target="../charts/char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1C8A7BC-4847-4B30-8A91-F93C052B55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9922" y="3769445"/>
            <a:ext cx="8748585" cy="492443"/>
          </a:xfrm>
        </p:spPr>
        <p:txBody>
          <a:bodyPr/>
          <a:lstStyle/>
          <a:p>
            <a:r>
              <a:rPr lang="nb-NO" dirty="0"/>
              <a:t>Hva er egentlig nettleie og </a:t>
            </a:r>
            <a:r>
              <a:rPr lang="nb-NO"/>
              <a:t>hva påvirker den?</a:t>
            </a:r>
            <a:endParaRPr lang="nb-NO" dirty="0"/>
          </a:p>
        </p:txBody>
      </p:sp>
      <p:pic>
        <p:nvPicPr>
          <p:cNvPr id="7" name="Plassholder for bilde 6" descr="Et bilde som inneholder vindu, bord, datamaskin, mat&#10;&#10;Automatisk generert beskrivelse">
            <a:extLst>
              <a:ext uri="{FF2B5EF4-FFF2-40B4-BE49-F238E27FC236}">
                <a16:creationId xmlns:a16="http://schemas.microsoft.com/office/drawing/2014/main" id="{091243AA-EA7C-4F59-BBDD-7E1B75444D0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13" b="16313"/>
          <a:stretch>
            <a:fillRect/>
          </a:stretch>
        </p:blipFill>
        <p:spPr>
          <a:xfrm>
            <a:off x="0" y="0"/>
            <a:ext cx="9215438" cy="3492500"/>
          </a:xfrm>
        </p:spPr>
      </p:pic>
    </p:spTree>
    <p:extLst>
      <p:ext uri="{BB962C8B-B14F-4D97-AF65-F5344CB8AC3E}">
        <p14:creationId xmlns:p14="http://schemas.microsoft.com/office/powerpoint/2010/main" val="35227207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1433AB-5F0E-4937-95F0-4EBC601312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134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5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715919-C123-4741-A376-3B110C5192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9484" y="203171"/>
            <a:ext cx="8293894" cy="369332"/>
          </a:xfrm>
        </p:spPr>
        <p:txBody>
          <a:bodyPr/>
          <a:lstStyle/>
          <a:p>
            <a:r>
              <a:rPr lang="nb-NO" sz="2400" dirty="0"/>
              <a:t>De fleste offentlige avgifter legges på nettleien</a:t>
            </a:r>
            <a:endParaRPr lang="en-US" sz="240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31512" y="4744090"/>
            <a:ext cx="8376014" cy="188908"/>
          </a:xfrm>
        </p:spPr>
        <p:txBody>
          <a:bodyPr/>
          <a:lstStyle/>
          <a:p>
            <a:r>
              <a:rPr lang="nb-NO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lde: NVE (2019), BKK</a:t>
            </a:r>
            <a:r>
              <a:rPr lang="nb-NO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ontel, Statsbudsjettet 2020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4530" y="1993679"/>
            <a:ext cx="1239024" cy="769924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33092" y="1195324"/>
            <a:ext cx="1936618" cy="734623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Man betaler merverdiavgift både for strømforbruk, nettleie og avgifter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471351" y="1185249"/>
            <a:ext cx="1796121" cy="743460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25 prosent påslag på prise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72302" y="1160023"/>
            <a:ext cx="1239024" cy="769924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72302" y="2830685"/>
            <a:ext cx="1239024" cy="769924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72302" y="3703734"/>
            <a:ext cx="1239024" cy="769924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784230" y="1181430"/>
            <a:ext cx="1462792" cy="73299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dirty="0">
              <a:solidFill>
                <a:schemeClr val="bg1"/>
              </a:solidFill>
            </a:endParaRPr>
          </a:p>
          <a:p>
            <a:r>
              <a:rPr lang="nb-NO" sz="1359" b="1" dirty="0">
                <a:solidFill>
                  <a:schemeClr val="bg1"/>
                </a:solidFill>
              </a:rPr>
              <a:t>Merverdiavgift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784229" y="2012145"/>
            <a:ext cx="1462793" cy="73299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dirty="0">
              <a:solidFill>
                <a:schemeClr val="bg1"/>
              </a:solidFill>
            </a:endParaRPr>
          </a:p>
          <a:p>
            <a:r>
              <a:rPr lang="nb-NO" sz="1359" b="1" dirty="0" err="1">
                <a:solidFill>
                  <a:schemeClr val="bg1"/>
                </a:solidFill>
              </a:rPr>
              <a:t>Elsertifikater</a:t>
            </a:r>
            <a:endParaRPr lang="nb-NO" sz="1359" b="1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784229" y="2849151"/>
            <a:ext cx="1462793" cy="75145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dirty="0">
              <a:solidFill>
                <a:schemeClr val="bg1"/>
              </a:solidFill>
            </a:endParaRPr>
          </a:p>
          <a:p>
            <a:r>
              <a:rPr lang="nb-NO" sz="1359" b="1" dirty="0">
                <a:solidFill>
                  <a:schemeClr val="bg1"/>
                </a:solidFill>
              </a:rPr>
              <a:t>Enova-avgift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784229" y="3703734"/>
            <a:ext cx="1462793" cy="76173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dirty="0">
              <a:solidFill>
                <a:schemeClr val="bg1"/>
              </a:solidFill>
            </a:endParaRPr>
          </a:p>
          <a:p>
            <a:r>
              <a:rPr lang="nb-NO" sz="1359" b="1" dirty="0">
                <a:solidFill>
                  <a:schemeClr val="bg1"/>
                </a:solidFill>
              </a:rPr>
              <a:t>Elavgift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743557" y="881860"/>
            <a:ext cx="1251842" cy="27248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 b="1" dirty="0">
                <a:ln w="0"/>
                <a:solidFill>
                  <a:schemeClr val="tx1"/>
                </a:solidFill>
              </a:rPr>
              <a:t>FORKLARING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750705" y="904778"/>
            <a:ext cx="1251842" cy="27248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 b="1" dirty="0">
                <a:ln w="0"/>
                <a:solidFill>
                  <a:schemeClr val="tx1"/>
                </a:solidFill>
              </a:rPr>
              <a:t>STØRRELS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546827" y="881860"/>
            <a:ext cx="1251842" cy="272483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 b="1" dirty="0">
                <a:ln w="0"/>
                <a:solidFill>
                  <a:schemeClr val="tx1"/>
                </a:solidFill>
              </a:rPr>
              <a:t>LEGGES PÅ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437972" y="1155772"/>
            <a:ext cx="1469554" cy="758649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Strømleveranse og nettleie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433092" y="2012145"/>
            <a:ext cx="1936618" cy="732990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Støtteordning til kraft produsert fra fornybare energikilder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478566" y="2012145"/>
            <a:ext cx="1796121" cy="751457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Størrelsen varierer med markedsprisen, </a:t>
            </a:r>
            <a:r>
              <a:rPr lang="nb-NO" sz="1058">
                <a:ln w="0"/>
                <a:solidFill>
                  <a:schemeClr val="tx1"/>
                </a:solidFill>
              </a:rPr>
              <a:t>for 2020 </a:t>
            </a:r>
            <a:r>
              <a:rPr lang="nb-NO" sz="1058" dirty="0">
                <a:ln w="0"/>
                <a:solidFill>
                  <a:schemeClr val="tx1"/>
                </a:solidFill>
              </a:rPr>
              <a:t>vil den være </a:t>
            </a:r>
            <a:r>
              <a:rPr lang="nb-NO" sz="1058">
                <a:ln w="0"/>
                <a:solidFill>
                  <a:schemeClr val="tx1"/>
                </a:solidFill>
              </a:rPr>
              <a:t>omkring 0.34 </a:t>
            </a:r>
            <a:r>
              <a:rPr lang="nb-NO" sz="1058" dirty="0">
                <a:ln w="0"/>
                <a:solidFill>
                  <a:schemeClr val="tx1"/>
                </a:solidFill>
              </a:rPr>
              <a:t>øre/kWh ekskl. MVA</a:t>
            </a:r>
          </a:p>
        </p:txBody>
      </p:sp>
      <p:sp>
        <p:nvSpPr>
          <p:cNvPr id="36" name="Rectangle 35"/>
          <p:cNvSpPr/>
          <p:nvPr/>
        </p:nvSpPr>
        <p:spPr>
          <a:xfrm>
            <a:off x="7437972" y="1988925"/>
            <a:ext cx="1469554" cy="758649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Strømleverans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433092" y="2857186"/>
            <a:ext cx="1936618" cy="724955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Avgiften går til Enova som skal finansiere energi-tiltak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478566" y="2857185"/>
            <a:ext cx="1796121" cy="735429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1 øre/kWh, 1,25 øre/kWh inkl. MVA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437972" y="2833966"/>
            <a:ext cx="1469554" cy="758649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Nettlei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3433092" y="3727511"/>
            <a:ext cx="1936618" cy="735429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Hovedformålet er å skaffe inntekt til state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5478566" y="3732474"/>
            <a:ext cx="1850549" cy="730466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>
                <a:ln w="0"/>
                <a:solidFill>
                  <a:schemeClr val="tx1"/>
                </a:solidFill>
              </a:rPr>
              <a:t>16,13 </a:t>
            </a:r>
            <a:r>
              <a:rPr lang="nb-NO" sz="1058" dirty="0">
                <a:ln w="0"/>
                <a:solidFill>
                  <a:schemeClr val="tx1"/>
                </a:solidFill>
              </a:rPr>
              <a:t>øre/kWh</a:t>
            </a:r>
            <a:r>
              <a:rPr lang="nb-NO" sz="1058">
                <a:ln w="0"/>
                <a:solidFill>
                  <a:schemeClr val="tx1"/>
                </a:solidFill>
              </a:rPr>
              <a:t>, 20,16 </a:t>
            </a:r>
            <a:r>
              <a:rPr lang="nb-NO" sz="1058" dirty="0">
                <a:ln w="0"/>
                <a:solidFill>
                  <a:schemeClr val="tx1"/>
                </a:solidFill>
              </a:rPr>
              <a:t>øre/kWh inkl</a:t>
            </a:r>
            <a:r>
              <a:rPr lang="nb-NO" sz="1058">
                <a:ln w="0"/>
                <a:solidFill>
                  <a:schemeClr val="tx1"/>
                </a:solidFill>
              </a:rPr>
              <a:t>. MVA (2020)</a:t>
            </a:r>
            <a:endParaRPr lang="nb-NO" sz="1058" dirty="0">
              <a:ln w="0"/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437972" y="3704291"/>
            <a:ext cx="1469554" cy="758649"/>
          </a:xfrm>
          <a:prstGeom prst="rect">
            <a:avLst/>
          </a:prstGeom>
          <a:ln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34399" indent="-134399">
              <a:buFont typeface="Arial" panose="020B0604020202020204" pitchFamily="34" charset="0"/>
              <a:buChar char="•"/>
            </a:pPr>
            <a:r>
              <a:rPr lang="nb-NO" sz="1058" dirty="0">
                <a:ln w="0"/>
                <a:solidFill>
                  <a:schemeClr val="tx1"/>
                </a:solidFill>
              </a:rPr>
              <a:t>Nettlei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9484" y="4493380"/>
            <a:ext cx="2503684" cy="250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29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25A542-B658-4550-8941-F6EED1C37F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469" y="1297280"/>
            <a:ext cx="958261" cy="51295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DFA5C22-8116-48BE-A3A5-C03C32E2C6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6184" y="2042279"/>
            <a:ext cx="511260" cy="65316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8650757-7592-4C2A-990F-A4D4363A5E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6674" y="3789877"/>
            <a:ext cx="488156" cy="580406"/>
          </a:xfrm>
          <a:prstGeom prst="rect">
            <a:avLst/>
          </a:prstGeom>
        </p:spPr>
      </p:pic>
      <p:sp>
        <p:nvSpPr>
          <p:cNvPr id="8" name="AutoShape 2" descr="Image result for enova logo">
            <a:extLst>
              <a:ext uri="{FF2B5EF4-FFF2-40B4-BE49-F238E27FC236}">
                <a16:creationId xmlns:a16="http://schemas.microsoft.com/office/drawing/2014/main" id="{1E075B9A-E637-48AA-9DA4-CF5F74DBE29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4525" y="243998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21508" name="Picture 4" descr="Image result for enova logo">
            <a:extLst>
              <a:ext uri="{FF2B5EF4-FFF2-40B4-BE49-F238E27FC236}">
                <a16:creationId xmlns:a16="http://schemas.microsoft.com/office/drawing/2014/main" id="{5240C184-0990-47BB-A7BD-C58C6040C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51" y="3106132"/>
            <a:ext cx="809125" cy="255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5617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92DA63-022B-43A5-A02D-A7841255F1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483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2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A7EFD9-8480-4B93-B08C-404245ED60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1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96B10D3-8912-4280-AA86-B8D2192E91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8436492"/>
              </p:ext>
            </p:extLst>
          </p:nvPr>
        </p:nvGraphicFramePr>
        <p:xfrm>
          <a:off x="192948" y="915985"/>
          <a:ext cx="8640660" cy="4079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530" name="Line 2"/>
          <p:cNvSpPr>
            <a:spLocks noChangeShapeType="1"/>
          </p:cNvSpPr>
          <p:nvPr/>
        </p:nvSpPr>
        <p:spPr bwMode="auto">
          <a:xfrm>
            <a:off x="5586859" y="1815477"/>
            <a:ext cx="1633101" cy="38037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wrap="none" anchor="ctr"/>
          <a:lstStyle/>
          <a:p>
            <a:endParaRPr lang="nb-NO" sz="1029" dirty="0"/>
          </a:p>
        </p:txBody>
      </p:sp>
      <p:sp>
        <p:nvSpPr>
          <p:cNvPr id="22531" name="Line 3"/>
          <p:cNvSpPr>
            <a:spLocks noChangeShapeType="1"/>
          </p:cNvSpPr>
          <p:nvPr/>
        </p:nvSpPr>
        <p:spPr bwMode="auto">
          <a:xfrm>
            <a:off x="5532863" y="1869473"/>
            <a:ext cx="1742294" cy="54476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wrap="none" anchor="ctr"/>
          <a:lstStyle/>
          <a:p>
            <a:endParaRPr lang="nb-NO" sz="1029" dirty="0"/>
          </a:p>
        </p:txBody>
      </p:sp>
      <p:sp>
        <p:nvSpPr>
          <p:cNvPr id="22532" name="AutoShape 4"/>
          <p:cNvSpPr>
            <a:spLocks/>
          </p:cNvSpPr>
          <p:nvPr/>
        </p:nvSpPr>
        <p:spPr bwMode="auto">
          <a:xfrm>
            <a:off x="7002774" y="1597090"/>
            <a:ext cx="272384" cy="1796290"/>
          </a:xfrm>
          <a:prstGeom prst="leftBrace">
            <a:avLst>
              <a:gd name="adj1" fmla="val 50743"/>
              <a:gd name="adj2" fmla="val 5000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rgbClr val="F2971A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2D426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nb-NO" altLang="nb-NO" sz="1361" dirty="0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title"/>
          </p:nvPr>
        </p:nvSpPr>
        <p:spPr>
          <a:xfrm>
            <a:off x="556806" y="189142"/>
            <a:ext cx="7775258" cy="584775"/>
          </a:xfrm>
        </p:spPr>
        <p:txBody>
          <a:bodyPr/>
          <a:lstStyle/>
          <a:p>
            <a:pPr eaLnBrk="1" hangingPunct="1"/>
            <a:r>
              <a:rPr lang="nb-NO" altLang="nb-NO" sz="2400" dirty="0"/>
              <a:t>Avgiftsendringer virker inn på nettleien</a:t>
            </a:r>
            <a:br>
              <a:rPr lang="nb-NO" altLang="nb-NO" sz="2400" dirty="0"/>
            </a:br>
            <a:r>
              <a:rPr lang="nb-NO" altLang="nb-NO" sz="1400" dirty="0"/>
              <a:t>(elavgift, energifondavgift, merverdiavgift) (nominelle priser)</a:t>
            </a:r>
            <a:endParaRPr lang="nb-NO" altLang="nb-NO" sz="12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2F24DB1-45A5-4A49-88B4-A8444F4D6056}"/>
              </a:ext>
            </a:extLst>
          </p:cNvPr>
          <p:cNvCxnSpPr>
            <a:cxnSpLocks/>
          </p:cNvCxnSpPr>
          <p:nvPr/>
        </p:nvCxnSpPr>
        <p:spPr>
          <a:xfrm>
            <a:off x="3926532" y="1473160"/>
            <a:ext cx="0" cy="2713219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E14EB23E-3677-40F3-A7C4-D1BA8D0D7B9E}"/>
              </a:ext>
            </a:extLst>
          </p:cNvPr>
          <p:cNvSpPr/>
          <p:nvPr/>
        </p:nvSpPr>
        <p:spPr>
          <a:xfrm>
            <a:off x="4403532" y="1194418"/>
            <a:ext cx="1454042" cy="730509"/>
          </a:xfrm>
          <a:prstGeom prst="wedgeRectCallout">
            <a:avLst>
              <a:gd name="adj1" fmla="val -77735"/>
              <a:gd name="adj2" fmla="val 32458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2"/>
                </a:solidFill>
              </a:rPr>
              <a:t>Elavgiften hentes inn via nettleien fra 2004</a:t>
            </a:r>
          </a:p>
        </p:txBody>
      </p:sp>
    </p:spTree>
    <p:extLst>
      <p:ext uri="{BB962C8B-B14F-4D97-AF65-F5344CB8AC3E}">
        <p14:creationId xmlns:p14="http://schemas.microsoft.com/office/powerpoint/2010/main" val="37291875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2518F4-156F-46FC-BC37-8B0380CEBA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3256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0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914566-F711-4E5F-B41A-62DF7DDFD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3406" y="1434930"/>
            <a:ext cx="2882824" cy="3357602"/>
          </a:xfrm>
          <a:ln w="57150">
            <a:solidFill>
              <a:schemeClr val="tx2"/>
            </a:solidFill>
          </a:ln>
        </p:spPr>
        <p:txBody>
          <a:bodyPr anchor="ctr"/>
          <a:lstStyle/>
          <a:p>
            <a:pPr>
              <a:spcAft>
                <a:spcPts val="453"/>
              </a:spcAft>
            </a:pPr>
            <a:r>
              <a:rPr lang="nb-NO" sz="1208" dirty="0"/>
              <a:t>Kraftprisene er </a:t>
            </a:r>
            <a:r>
              <a:rPr lang="nb-NO" sz="1208"/>
              <a:t>gjerne (nesten) like </a:t>
            </a:r>
            <a:r>
              <a:rPr lang="nb-NO" sz="1208" dirty="0"/>
              <a:t>i hele landet…</a:t>
            </a:r>
          </a:p>
          <a:p>
            <a:pPr>
              <a:spcAft>
                <a:spcPts val="453"/>
              </a:spcAft>
            </a:pPr>
            <a:r>
              <a:rPr lang="nb-NO" sz="1208" dirty="0"/>
              <a:t>…men nettleien varierer</a:t>
            </a:r>
          </a:p>
          <a:p>
            <a:pPr>
              <a:spcAft>
                <a:spcPts val="453"/>
              </a:spcAft>
            </a:pPr>
            <a:r>
              <a:rPr lang="nb-NO" sz="1208"/>
              <a:t>Lavere </a:t>
            </a:r>
            <a:r>
              <a:rPr lang="nb-NO" sz="1208" dirty="0"/>
              <a:t>avgifter </a:t>
            </a:r>
            <a:r>
              <a:rPr lang="nb-NO" sz="1208"/>
              <a:t>i nord </a:t>
            </a:r>
            <a:r>
              <a:rPr lang="nb-NO" sz="1208" dirty="0"/>
              <a:t>pga. fritak for moms i alle tre fylker og fritak for elavgift og </a:t>
            </a:r>
            <a:r>
              <a:rPr lang="nb-NO" sz="1208" dirty="0" err="1"/>
              <a:t>elsertifikatkostnad</a:t>
            </a:r>
            <a:r>
              <a:rPr lang="nb-NO" sz="1208" dirty="0"/>
              <a:t> i Nord-Troms og Finnmark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3300828" y="1156257"/>
            <a:ext cx="5661204" cy="209160"/>
          </a:xfrm>
        </p:spPr>
        <p:txBody>
          <a:bodyPr/>
          <a:lstStyle/>
          <a:p>
            <a:r>
              <a:rPr lang="nb-NO" sz="1359" b="1" cap="none" dirty="0"/>
              <a:t>Gjennomsnittlig samlet strømpris i perioden 2011 til 2018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090" y="126738"/>
            <a:ext cx="8709869" cy="745656"/>
          </a:xfrm>
        </p:spPr>
        <p:txBody>
          <a:bodyPr>
            <a:noAutofit/>
          </a:bodyPr>
          <a:lstStyle/>
          <a:p>
            <a:r>
              <a:rPr lang="nb-NO" sz="2400" dirty="0"/>
              <a:t>Samlet strømpris varierer mellom fylker på grunn av ulik nettleie og avgifter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8"/>
          </p:nvPr>
        </p:nvSpPr>
        <p:spPr>
          <a:xfrm>
            <a:off x="586018" y="4869129"/>
            <a:ext cx="8376014" cy="188908"/>
          </a:xfrm>
        </p:spPr>
        <p:txBody>
          <a:bodyPr/>
          <a:lstStyle/>
          <a:p>
            <a:r>
              <a:rPr lang="nb-NO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lde: SSB (2019)</a:t>
            </a: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 bwMode="auto">
          <a:xfrm>
            <a:off x="3148295" y="1417868"/>
            <a:ext cx="5645527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B345707-4B77-4C83-8026-C5A592047D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4687277"/>
              </p:ext>
            </p:extLst>
          </p:nvPr>
        </p:nvGraphicFramePr>
        <p:xfrm>
          <a:off x="3077155" y="1649280"/>
          <a:ext cx="5884877" cy="3057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7833162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28944E-C96E-46A7-B5FD-8A916C486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575304"/>
            <a:ext cx="7775258" cy="492443"/>
          </a:xfrm>
        </p:spPr>
        <p:txBody>
          <a:bodyPr/>
          <a:lstStyle/>
          <a:p>
            <a:r>
              <a:rPr lang="nb-NO" dirty="0"/>
              <a:t>Agenda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31D4D73-03CC-4C8A-A53B-3C0DD83B2F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1409" y="1542632"/>
            <a:ext cx="5836018" cy="282061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dirty="0"/>
              <a:t>Om nettselskapets rolle</a:t>
            </a:r>
          </a:p>
          <a:p>
            <a:pPr>
              <a:lnSpc>
                <a:spcPct val="150000"/>
              </a:lnSpc>
            </a:pPr>
            <a:r>
              <a:rPr lang="nb-NO" dirty="0"/>
              <a:t>Om strøm og strømregningen</a:t>
            </a:r>
          </a:p>
          <a:p>
            <a:pPr>
              <a:lnSpc>
                <a:spcPct val="150000"/>
              </a:lnSpc>
            </a:pPr>
            <a:r>
              <a:rPr lang="nb-NO" dirty="0"/>
              <a:t>Utforming av nettleien</a:t>
            </a:r>
          </a:p>
          <a:p>
            <a:pPr>
              <a:lnSpc>
                <a:spcPct val="150000"/>
              </a:lnSpc>
            </a:pPr>
            <a:r>
              <a:rPr lang="nb-NO" dirty="0"/>
              <a:t>Hva påvirker </a:t>
            </a:r>
            <a:r>
              <a:rPr lang="nb-NO"/>
              <a:t>nettleien?</a:t>
            </a: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89EE49A0-FA4E-4183-A98A-F8F4C752EE59}"/>
              </a:ext>
            </a:extLst>
          </p:cNvPr>
          <p:cNvSpPr/>
          <p:nvPr/>
        </p:nvSpPr>
        <p:spPr>
          <a:xfrm>
            <a:off x="800458" y="2578210"/>
            <a:ext cx="4059694" cy="58560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01001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90EFF2-CA72-447E-A4BB-49C241D136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64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7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90EFF2-CA72-447E-A4BB-49C241D13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163D5F-78B5-4AAB-BF4B-FA46F2C0EE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93386" y="1130515"/>
            <a:ext cx="3054967" cy="3317296"/>
          </a:xfrm>
        </p:spPr>
        <p:txBody>
          <a:bodyPr anchor="ctr"/>
          <a:lstStyle/>
          <a:p>
            <a:pPr marL="0" indent="0">
              <a:buNone/>
            </a:pPr>
            <a:r>
              <a:rPr lang="nb-NO" sz="1200" b="1"/>
              <a:t>Forutsetninger for prognose etter 2026:</a:t>
            </a:r>
          </a:p>
          <a:p>
            <a:r>
              <a:rPr lang="nb-NO" sz="1200"/>
              <a:t>Forbruket i husholdningene øker med 5-10 TWh, mye pga. elbiler</a:t>
            </a:r>
          </a:p>
          <a:p>
            <a:r>
              <a:rPr lang="nb-NO" sz="1200"/>
              <a:t>Det må investeres i nett for å håndtere dette</a:t>
            </a:r>
          </a:p>
          <a:p>
            <a:r>
              <a:rPr lang="nb-NO" sz="1200"/>
              <a:t>…men en stor andel av nettet må uansett oppdateres de neste 20 årene, da koster det lite å samtidig øke kapasiteten</a:t>
            </a:r>
          </a:p>
          <a:p>
            <a:r>
              <a:rPr lang="nb-NO" sz="1200"/>
              <a:t>..og smarte løsninger med lavere kostnader kan tas i bruk</a:t>
            </a:r>
          </a:p>
          <a:p>
            <a:r>
              <a:rPr lang="nb-NO" sz="1200"/>
              <a:t>..dermed </a:t>
            </a:r>
            <a:r>
              <a:rPr lang="nb-NO" sz="1200" b="1"/>
              <a:t>vil kostnaden til nett ikke øke framover, og trolig gå ned dersom man velger gode løsninger.</a:t>
            </a:r>
            <a:endParaRPr lang="en-US" sz="1200" b="1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248354" y="1134112"/>
            <a:ext cx="5661204" cy="3305310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 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535027" y="1195627"/>
            <a:ext cx="5344230" cy="282977"/>
          </a:xfrm>
        </p:spPr>
        <p:txBody>
          <a:bodyPr/>
          <a:lstStyle/>
          <a:p>
            <a:r>
              <a:rPr lang="nb-NO" sz="1000" i="1" dirty="0">
                <a:solidFill>
                  <a:schemeClr val="tx2"/>
                </a:solidFill>
              </a:rPr>
              <a:t>HISTORISK UTVIKLING OG FREMTIDIGE PROGNOSER FOR NETTLEIEN i 2019 kr. 1993-2040.</a:t>
            </a:r>
            <a:endParaRPr lang="en-US" sz="1000" i="1" dirty="0">
              <a:solidFill>
                <a:schemeClr val="tx2"/>
              </a:solidFill>
            </a:endParaRPr>
          </a:p>
          <a:p>
            <a:endParaRPr lang="en-US" sz="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47" y="204593"/>
            <a:ext cx="8608369" cy="369332"/>
          </a:xfrm>
        </p:spPr>
        <p:txBody>
          <a:bodyPr/>
          <a:lstStyle/>
          <a:p>
            <a:r>
              <a:rPr lang="nb-NO" sz="2400"/>
              <a:t>Elektrifiseringen vil trolig ikke øke nettleien på lang sikt</a:t>
            </a:r>
            <a:endParaRPr lang="en-US" sz="240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03021" y="4765297"/>
            <a:ext cx="8376013" cy="328305"/>
          </a:xfrm>
        </p:spPr>
        <p:txBody>
          <a:bodyPr/>
          <a:lstStyle/>
          <a:p>
            <a:r>
              <a:rPr lang="nb-NO" spc="3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Kilde: SSB, NVE, DNV GL</a:t>
            </a:r>
            <a:endParaRPr lang="en-US" spc="30" dirty="0">
              <a:solidFill>
                <a:srgbClr val="40404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A16269FE-33A4-4FA5-B9B8-AE699DA7B3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4055849"/>
              </p:ext>
            </p:extLst>
          </p:nvPr>
        </p:nvGraphicFramePr>
        <p:xfrm>
          <a:off x="3248978" y="1432392"/>
          <a:ext cx="5600345" cy="3076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962C54B3-C6A6-4C44-B9EE-0CA0159C29A1}"/>
              </a:ext>
            </a:extLst>
          </p:cNvPr>
          <p:cNvSpPr/>
          <p:nvPr/>
        </p:nvSpPr>
        <p:spPr>
          <a:xfrm>
            <a:off x="7301345" y="1372017"/>
            <a:ext cx="1720706" cy="361742"/>
          </a:xfrm>
          <a:prstGeom prst="wedgeRectCallout">
            <a:avLst>
              <a:gd name="adj1" fmla="val -9276"/>
              <a:gd name="adj2" fmla="val 130491"/>
            </a:avLst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>
                <a:solidFill>
                  <a:schemeClr val="tx1"/>
                </a:solidFill>
              </a:rPr>
              <a:t>DNV GL sin prognose inkl. usikkerhet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C911AB54-4468-476B-B322-739CE735B52C}"/>
              </a:ext>
            </a:extLst>
          </p:cNvPr>
          <p:cNvSpPr/>
          <p:nvPr/>
        </p:nvSpPr>
        <p:spPr>
          <a:xfrm>
            <a:off x="6049150" y="1353627"/>
            <a:ext cx="1176163" cy="361742"/>
          </a:xfrm>
          <a:prstGeom prst="wedgeRectCallout">
            <a:avLst>
              <a:gd name="adj1" fmla="val 20180"/>
              <a:gd name="adj2" fmla="val 98253"/>
            </a:avLst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/>
              <a:t>NVEs prognose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541F2F14-214B-465C-B665-C4FE624DC247}"/>
              </a:ext>
            </a:extLst>
          </p:cNvPr>
          <p:cNvSpPr/>
          <p:nvPr/>
        </p:nvSpPr>
        <p:spPr>
          <a:xfrm>
            <a:off x="4687080" y="1353627"/>
            <a:ext cx="1176163" cy="361742"/>
          </a:xfrm>
          <a:prstGeom prst="wedgeRectCallout">
            <a:avLst>
              <a:gd name="adj1" fmla="val 20180"/>
              <a:gd name="adj2" fmla="val 98253"/>
            </a:avLst>
          </a:prstGeom>
          <a:solidFill>
            <a:schemeClr val="tx2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/>
              <a:t>Historisk nettleie</a:t>
            </a: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79FD1E2B-458F-440A-9B35-474CED9C8905}"/>
              </a:ext>
            </a:extLst>
          </p:cNvPr>
          <p:cNvSpPr/>
          <p:nvPr/>
        </p:nvSpPr>
        <p:spPr>
          <a:xfrm>
            <a:off x="7845888" y="2995391"/>
            <a:ext cx="1176163" cy="361742"/>
          </a:xfrm>
          <a:prstGeom prst="wedgeRectCallout">
            <a:avLst>
              <a:gd name="adj1" fmla="val -22815"/>
              <a:gd name="adj2" fmla="val -162184"/>
            </a:avLst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/>
              <a:t>DNV GL best case prognose</a:t>
            </a:r>
          </a:p>
        </p:txBody>
      </p:sp>
    </p:spTree>
    <p:extLst>
      <p:ext uri="{BB962C8B-B14F-4D97-AF65-F5344CB8AC3E}">
        <p14:creationId xmlns:p14="http://schemas.microsoft.com/office/powerpoint/2010/main" val="5648928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905775"/>
              </p:ext>
            </p:extLst>
          </p:nvPr>
        </p:nvGraphicFramePr>
        <p:xfrm>
          <a:off x="1200" y="9237"/>
          <a:ext cx="1198" cy="11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0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200" y="9237"/>
                        <a:ext cx="1198" cy="11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 hidden="1"/>
          <p:cNvSpPr/>
          <p:nvPr>
            <p:custDataLst>
              <p:tags r:id="rId3"/>
            </p:custDataLst>
          </p:nvPr>
        </p:nvSpPr>
        <p:spPr bwMode="auto">
          <a:xfrm>
            <a:off x="1" y="8037"/>
            <a:ext cx="119868" cy="11986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2400" b="1" dirty="0" err="1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7" y="105110"/>
            <a:ext cx="8232559" cy="738664"/>
          </a:xfrm>
        </p:spPr>
        <p:txBody>
          <a:bodyPr/>
          <a:lstStyle/>
          <a:p>
            <a:r>
              <a:rPr lang="nb-NO" sz="2400" dirty="0"/>
              <a:t>Nettet er et naturlig monopol der kostnadene dekkes av kunden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502690" y="1228735"/>
            <a:ext cx="2469985" cy="381783"/>
            <a:chOff x="1115524" y="1698300"/>
            <a:chExt cx="3238000" cy="506564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1127448" y="2204864"/>
              <a:ext cx="3168352" cy="0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1115524" y="1698300"/>
              <a:ext cx="3238000" cy="43204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916" tIns="34458" rIns="68916" bIns="344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8" b="1" dirty="0"/>
                <a:t>Nettet er et naturlig monopol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369800" y="1228735"/>
            <a:ext cx="2470838" cy="381783"/>
            <a:chOff x="1115524" y="1698300"/>
            <a:chExt cx="3238000" cy="506564"/>
          </a:xfrm>
        </p:grpSpPr>
        <p:cxnSp>
          <p:nvCxnSpPr>
            <p:cNvPr id="22" name="Straight Connector 21"/>
            <p:cNvCxnSpPr/>
            <p:nvPr/>
          </p:nvCxnSpPr>
          <p:spPr bwMode="auto">
            <a:xfrm>
              <a:off x="1127448" y="2204864"/>
              <a:ext cx="3168352" cy="0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1115524" y="1698300"/>
              <a:ext cx="3238000" cy="43204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916" tIns="34458" rIns="68916" bIns="344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8" b="1" dirty="0"/>
                <a:t>Inntektsrammeregulering sikrer kostnadsdekning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6237776" y="1228735"/>
            <a:ext cx="2470838" cy="381783"/>
            <a:chOff x="1115524" y="1698300"/>
            <a:chExt cx="3238000" cy="506564"/>
          </a:xfrm>
        </p:grpSpPr>
        <p:cxnSp>
          <p:nvCxnSpPr>
            <p:cNvPr id="42" name="Straight Connector 41"/>
            <p:cNvCxnSpPr/>
            <p:nvPr/>
          </p:nvCxnSpPr>
          <p:spPr bwMode="auto">
            <a:xfrm>
              <a:off x="1127448" y="2204864"/>
              <a:ext cx="3168352" cy="0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9" name="Rectangle 48"/>
            <p:cNvSpPr/>
            <p:nvPr/>
          </p:nvSpPr>
          <p:spPr>
            <a:xfrm>
              <a:off x="1115524" y="1698300"/>
              <a:ext cx="3238000" cy="43204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916" tIns="34458" rIns="68916" bIns="344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8" b="1" dirty="0"/>
                <a:t>Hvis jeg betaler </a:t>
              </a:r>
            </a:p>
            <a:p>
              <a:pPr algn="ctr"/>
              <a:r>
                <a:rPr lang="nb-NO" sz="1208" b="1" dirty="0"/>
                <a:t>mindre, må du betale mer</a:t>
              </a:r>
            </a:p>
          </p:txBody>
        </p:sp>
      </p:grpSp>
      <p:sp>
        <p:nvSpPr>
          <p:cNvPr id="6" name="Rectangle 5"/>
          <p:cNvSpPr/>
          <p:nvPr/>
        </p:nvSpPr>
        <p:spPr>
          <a:xfrm>
            <a:off x="432007" y="2768822"/>
            <a:ext cx="2425953" cy="154834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35464" indent="-135464">
              <a:buFont typeface="Arial" panose="020B0604020202020204" pitchFamily="34" charset="0"/>
              <a:buChar char="•"/>
            </a:pPr>
            <a:r>
              <a:rPr lang="nb-NO" sz="1208" dirty="0"/>
              <a:t>Det et koster mye å </a:t>
            </a:r>
            <a:r>
              <a:rPr lang="nb-NO" sz="1208" b="1" dirty="0"/>
              <a:t>bygge</a:t>
            </a:r>
            <a:r>
              <a:rPr lang="nb-NO" sz="1208" dirty="0"/>
              <a:t> nett, men lite å </a:t>
            </a:r>
            <a:r>
              <a:rPr lang="nb-NO" sz="1208" b="1" dirty="0"/>
              <a:t>bruke</a:t>
            </a:r>
            <a:r>
              <a:rPr lang="nb-NO" sz="1208" dirty="0"/>
              <a:t> nettet</a:t>
            </a:r>
          </a:p>
          <a:p>
            <a:pPr marL="135464" indent="-135464">
              <a:buFont typeface="Arial" panose="020B0604020202020204" pitchFamily="34" charset="0"/>
              <a:buChar char="•"/>
            </a:pPr>
            <a:endParaRPr lang="nb-NO" sz="1208" dirty="0"/>
          </a:p>
          <a:p>
            <a:pPr marL="135464" indent="-135464">
              <a:buFont typeface="Arial" panose="020B0604020202020204" pitchFamily="34" charset="0"/>
              <a:buChar char="•"/>
            </a:pPr>
            <a:r>
              <a:rPr lang="nb-NO" sz="1208" dirty="0"/>
              <a:t>Det er ikke </a:t>
            </a:r>
            <a:r>
              <a:rPr lang="nb-NO" sz="1208" b="1" dirty="0"/>
              <a:t>samfunnsmessig lønnsomt </a:t>
            </a:r>
            <a:r>
              <a:rPr lang="nb-NO" sz="1208" dirty="0"/>
              <a:t>å ha </a:t>
            </a:r>
            <a:r>
              <a:rPr lang="nb-NO" sz="1208" b="1" dirty="0"/>
              <a:t>flere nett </a:t>
            </a:r>
            <a:r>
              <a:rPr lang="nb-NO" sz="1208" dirty="0"/>
              <a:t>i samme område</a:t>
            </a:r>
          </a:p>
          <a:p>
            <a:pPr marL="135464" indent="-135464">
              <a:buFont typeface="Arial" panose="020B0604020202020204" pitchFamily="34" charset="0"/>
              <a:buChar char="•"/>
            </a:pPr>
            <a:endParaRPr lang="nb-NO" sz="1208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9183" y="1873385"/>
            <a:ext cx="2452764" cy="884136"/>
          </a:xfrm>
          <a:prstGeom prst="rect">
            <a:avLst/>
          </a:prstGeom>
        </p:spPr>
      </p:pic>
      <p:sp>
        <p:nvSpPr>
          <p:cNvPr id="58" name="Multiply 57"/>
          <p:cNvSpPr/>
          <p:nvPr/>
        </p:nvSpPr>
        <p:spPr>
          <a:xfrm>
            <a:off x="1449064" y="2185085"/>
            <a:ext cx="434971" cy="353385"/>
          </a:xfrm>
          <a:prstGeom prst="mathMultiply">
            <a:avLst/>
          </a:prstGeom>
          <a:solidFill>
            <a:srgbClr val="C00000"/>
          </a:solidFill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59" name="Rectangle 58"/>
          <p:cNvSpPr/>
          <p:nvPr/>
        </p:nvSpPr>
        <p:spPr>
          <a:xfrm>
            <a:off x="3378899" y="2754338"/>
            <a:ext cx="2425953" cy="154834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35464" indent="-135464">
              <a:buFont typeface="Arial" panose="020B0604020202020204" pitchFamily="34" charset="0"/>
              <a:buChar char="•"/>
            </a:pPr>
            <a:r>
              <a:rPr lang="nb-NO" sz="1208" dirty="0"/>
              <a:t>Reguleringen skal hindre at nettselskapene </a:t>
            </a:r>
            <a:r>
              <a:rPr lang="nb-NO" sz="1208" b="1" dirty="0"/>
              <a:t>utnytter sin monopolstilling</a:t>
            </a:r>
            <a:r>
              <a:rPr lang="nb-NO" sz="1208" dirty="0"/>
              <a:t>, ved å ta en for høy nettleie, og… </a:t>
            </a:r>
          </a:p>
          <a:p>
            <a:pPr marL="135464" indent="-135464">
              <a:buFont typeface="Arial" panose="020B0604020202020204" pitchFamily="34" charset="0"/>
              <a:buChar char="•"/>
            </a:pPr>
            <a:endParaRPr lang="nb-NO" sz="1208" dirty="0"/>
          </a:p>
          <a:p>
            <a:pPr marL="135464" indent="-135464">
              <a:buFont typeface="Arial" panose="020B0604020202020204" pitchFamily="34" charset="0"/>
              <a:buChar char="•"/>
            </a:pPr>
            <a:r>
              <a:rPr lang="nb-NO" sz="1208" dirty="0"/>
              <a:t>…skal sikre et </a:t>
            </a:r>
            <a:r>
              <a:rPr lang="nb-NO" sz="1208" b="1" dirty="0"/>
              <a:t>best mulig kraftnett og strømleveranser til lavest mulig pris</a:t>
            </a:r>
            <a:endParaRPr lang="nb-NO" sz="1208" dirty="0"/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980F4DE2-3A4D-4653-9ECE-7D5CC03724C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76270191"/>
              </p:ext>
            </p:extLst>
          </p:nvPr>
        </p:nvGraphicFramePr>
        <p:xfrm>
          <a:off x="6427788" y="1616075"/>
          <a:ext cx="2016125" cy="152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60" name="Text Placeholder 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56425" y="3105150"/>
            <a:ext cx="193675" cy="16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sz="2400" b="0" i="0" kern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sz="22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sz="20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sz="18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sz="16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076403-9E45-41E9-8B94-444F084A485B}" type="datetime'''''''''''''''''F''''''ø''r'''''">
              <a:rPr lang="nb-NO" altLang="en-US" sz="1058"/>
              <a:pPr marL="0" indent="0" algn="ctr">
                <a:spcBef>
                  <a:spcPct val="0"/>
                </a:spcBef>
                <a:buNone/>
              </a:pPr>
              <a:t>Før</a:t>
            </a:fld>
            <a:endParaRPr lang="nb-NO" sz="1058" dirty="0">
              <a:latin typeface="+mn-lt"/>
              <a:sym typeface="+mn-lt"/>
            </a:endParaRPr>
          </a:p>
        </p:txBody>
      </p:sp>
      <p:sp>
        <p:nvSpPr>
          <p:cNvPr id="72" name="Text Placeholder 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675562" y="3105150"/>
            <a:ext cx="280988" cy="16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sz="2400" b="0" i="0" kern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sz="22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sz="20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sz="18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sz="16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4C3FAC2-AEAD-4179-9DC0-2B555982FDF4}" type="datetime'E''''''''t''''''''''''''''''''''''t''''''''''''''er'''">
              <a:rPr lang="nb-NO" altLang="en-US" sz="1058"/>
              <a:pPr marL="0" indent="0" algn="ctr">
                <a:spcBef>
                  <a:spcPct val="0"/>
                </a:spcBef>
                <a:buNone/>
              </a:pPr>
              <a:t>Etter</a:t>
            </a:fld>
            <a:endParaRPr lang="nb-NO" sz="1058" dirty="0">
              <a:latin typeface="+mn-lt"/>
              <a:sym typeface="+mn-lt"/>
            </a:endParaRPr>
          </a:p>
        </p:txBody>
      </p:sp>
      <p:sp>
        <p:nvSpPr>
          <p:cNvPr id="63" name="Text Placeholder 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546850" y="1957388"/>
            <a:ext cx="152400" cy="16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sz="2400" b="0" i="0" kern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sz="22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sz="20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sz="18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sz="16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F6ED0B8-0AAE-40DA-8508-14C58CCFDC73}" type="datetime'''''D''''''''u'''''">
              <a:rPr lang="nb-NO" altLang="en-US" sz="1058"/>
              <a:pPr marL="0" indent="0" algn="r">
                <a:spcBef>
                  <a:spcPct val="0"/>
                </a:spcBef>
                <a:buNone/>
              </a:pPr>
              <a:t>Du</a:t>
            </a:fld>
            <a:endParaRPr lang="nb-NO" sz="1058" dirty="0">
              <a:latin typeface="+mn-lt"/>
              <a:sym typeface="+mn-lt"/>
            </a:endParaRPr>
          </a:p>
        </p:txBody>
      </p:sp>
      <p:sp>
        <p:nvSpPr>
          <p:cNvPr id="64" name="Text Placeholder 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26213" y="2638425"/>
            <a:ext cx="173038" cy="16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sz="2400" b="0" i="0" kern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sz="22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sz="20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sz="18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sz="1600" b="0" i="0" kern="0" baseline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2CD56A8-5765-4A90-BA5F-6DDC376EF44B}" type="datetime'''''''''''''''''''''''''''''''''''J''''''''''''''''''e''''g'''">
              <a:rPr lang="nb-NO" altLang="en-US" sz="1058"/>
              <a:pPr marL="0" indent="0" algn="r">
                <a:spcBef>
                  <a:spcPct val="0"/>
                </a:spcBef>
                <a:buNone/>
              </a:pPr>
              <a:t>Jeg</a:t>
            </a:fld>
            <a:endParaRPr lang="nb-NO" sz="1058" dirty="0">
              <a:latin typeface="+mn-lt"/>
              <a:sym typeface="+mn-lt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6238613" y="3267076"/>
            <a:ext cx="2669413" cy="13370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35464" indent="-135464">
              <a:buFont typeface="Arial" panose="020B0604020202020204" pitchFamily="34" charset="0"/>
              <a:buChar char="•"/>
            </a:pPr>
            <a:r>
              <a:rPr lang="nb-NO" sz="1208" dirty="0"/>
              <a:t>Den totale inntektsrammen </a:t>
            </a:r>
            <a:r>
              <a:rPr lang="nb-NO" sz="1208" b="1" dirty="0"/>
              <a:t>fordeles på alle brukerne av nettet</a:t>
            </a:r>
          </a:p>
          <a:p>
            <a:pPr marL="135464" indent="-135464">
              <a:buFont typeface="Arial" panose="020B0604020202020204" pitchFamily="34" charset="0"/>
              <a:buChar char="•"/>
            </a:pPr>
            <a:endParaRPr lang="nb-NO" sz="1208" b="1" dirty="0"/>
          </a:p>
          <a:p>
            <a:pPr marL="135464" indent="-135464">
              <a:buFont typeface="Arial" panose="020B0604020202020204" pitchFamily="34" charset="0"/>
              <a:buChar char="•"/>
            </a:pPr>
            <a:r>
              <a:rPr lang="nb-NO" sz="1208" dirty="0"/>
              <a:t>Endringer i bruksmønstre fører til </a:t>
            </a:r>
            <a:r>
              <a:rPr lang="nb-NO" sz="1208" b="1" dirty="0"/>
              <a:t>ren omfordeling mellom kunder</a:t>
            </a:r>
          </a:p>
        </p:txBody>
      </p:sp>
      <p:sp>
        <p:nvSpPr>
          <p:cNvPr id="34" name="Isosceles Triangle 33"/>
          <p:cNvSpPr/>
          <p:nvPr/>
        </p:nvSpPr>
        <p:spPr>
          <a:xfrm rot="5400000">
            <a:off x="1826424" y="2933076"/>
            <a:ext cx="2712747" cy="306975"/>
          </a:xfrm>
          <a:prstGeom prst="triangle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5" name="Isosceles Triangle 34"/>
          <p:cNvSpPr/>
          <p:nvPr/>
        </p:nvSpPr>
        <p:spPr>
          <a:xfrm rot="5400000">
            <a:off x="4676268" y="2924427"/>
            <a:ext cx="2712747" cy="306975"/>
          </a:xfrm>
          <a:prstGeom prst="triangle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F10ACF-A7CC-4E94-9CFC-9476B7C2664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134491" y="1881991"/>
            <a:ext cx="724899" cy="76427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5166598-BC5A-4758-B865-08D6B528451A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r="10180"/>
          <a:stretch/>
        </p:blipFill>
        <p:spPr>
          <a:xfrm>
            <a:off x="361820" y="1881991"/>
            <a:ext cx="543973" cy="50300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87EE0C8-B15B-496B-866C-921D22B7F49D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0287" t="-5067" r="27" b="5067"/>
          <a:stretch/>
        </p:blipFill>
        <p:spPr>
          <a:xfrm>
            <a:off x="2525605" y="1880449"/>
            <a:ext cx="484147" cy="53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58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C8D90D7B-69D5-4C53-9E1E-13A717CB34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075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2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FE7AB59-C04A-4CF9-AF1B-BF4345A821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234" y="160769"/>
            <a:ext cx="8293894" cy="369332"/>
          </a:xfrm>
        </p:spPr>
        <p:txBody>
          <a:bodyPr/>
          <a:lstStyle/>
          <a:p>
            <a:r>
              <a:rPr lang="nb-NO" sz="2400" dirty="0"/>
              <a:t>Vi kan sammenligne strømnettet med veinettet</a:t>
            </a:r>
          </a:p>
        </p:txBody>
      </p:sp>
      <p:sp>
        <p:nvSpPr>
          <p:cNvPr id="6" name="Rectangle 5"/>
          <p:cNvSpPr/>
          <p:nvPr/>
        </p:nvSpPr>
        <p:spPr>
          <a:xfrm>
            <a:off x="366759" y="1302710"/>
            <a:ext cx="815569" cy="835138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7" name="Rectangle 6"/>
          <p:cNvSpPr/>
          <p:nvPr/>
        </p:nvSpPr>
        <p:spPr>
          <a:xfrm>
            <a:off x="1209257" y="1302710"/>
            <a:ext cx="2229223" cy="8351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u="sng" dirty="0">
                <a:solidFill>
                  <a:schemeClr val="bg1"/>
                </a:solidFill>
              </a:rPr>
              <a:t>Leveranse</a:t>
            </a:r>
          </a:p>
          <a:p>
            <a:r>
              <a:rPr lang="nb-NO" sz="1058" dirty="0">
                <a:solidFill>
                  <a:schemeClr val="bg1"/>
                </a:solidFill>
              </a:rPr>
              <a:t>Veiene transporterer mennesker og varer og strømnettet transporterer strøm fra produsentene til forbrukerne</a:t>
            </a:r>
          </a:p>
        </p:txBody>
      </p:sp>
      <p:sp>
        <p:nvSpPr>
          <p:cNvPr id="8" name="Rectangle 7"/>
          <p:cNvSpPr/>
          <p:nvPr/>
        </p:nvSpPr>
        <p:spPr>
          <a:xfrm>
            <a:off x="366759" y="2339172"/>
            <a:ext cx="815569" cy="835138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9" name="Rectangle 8"/>
          <p:cNvSpPr/>
          <p:nvPr/>
        </p:nvSpPr>
        <p:spPr>
          <a:xfrm>
            <a:off x="1211168" y="2334611"/>
            <a:ext cx="2229223" cy="8351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u="sng" dirty="0">
                <a:solidFill>
                  <a:schemeClr val="bg1"/>
                </a:solidFill>
              </a:rPr>
              <a:t>Tilknytning</a:t>
            </a:r>
          </a:p>
          <a:p>
            <a:r>
              <a:rPr lang="nb-NO" sz="1058" dirty="0">
                <a:solidFill>
                  <a:schemeClr val="bg1"/>
                </a:solidFill>
              </a:rPr>
              <a:t>Alle bygninger trenger å være tilknyttet både en vei og et strømnet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45234" y="3387609"/>
            <a:ext cx="815569" cy="835138"/>
          </a:xfrm>
          <a:prstGeom prst="rect">
            <a:avLst/>
          </a:prstGeom>
          <a:noFill/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2" name="Rectangle 11"/>
          <p:cNvSpPr/>
          <p:nvPr/>
        </p:nvSpPr>
        <p:spPr>
          <a:xfrm>
            <a:off x="1206608" y="3387609"/>
            <a:ext cx="2229223" cy="8351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u="sng" dirty="0">
                <a:solidFill>
                  <a:schemeClr val="bg1"/>
                </a:solidFill>
              </a:rPr>
              <a:t>Vedlikehold</a:t>
            </a:r>
          </a:p>
          <a:p>
            <a:r>
              <a:rPr lang="nb-NO" sz="1058" dirty="0">
                <a:solidFill>
                  <a:schemeClr val="bg1"/>
                </a:solidFill>
              </a:rPr>
              <a:t>Akkurat som veiene trenger å vedlikeholdes, har også nettet behov for reinvesteringer for å kunne levere strøm</a:t>
            </a:r>
          </a:p>
        </p:txBody>
      </p:sp>
      <p:sp>
        <p:nvSpPr>
          <p:cNvPr id="16" name="Text Placeholder 9"/>
          <p:cNvSpPr txBox="1">
            <a:spLocks/>
          </p:cNvSpPr>
          <p:nvPr/>
        </p:nvSpPr>
        <p:spPr>
          <a:xfrm>
            <a:off x="269323" y="757502"/>
            <a:ext cx="4789207" cy="327348"/>
          </a:xfrm>
          <a:prstGeom prst="rect">
            <a:avLst/>
          </a:prstGeom>
        </p:spPr>
        <p:txBody>
          <a:bodyPr vert="horz" lIns="94036" tIns="47017" rIns="94036" bIns="47017" rtlCol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lang="en-US" sz="25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lang="en-US" sz="24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lang="en-US" sz="20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lang="en-US" sz="18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lang="en-US" sz="16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nb-NO" sz="1359" b="1" dirty="0"/>
              <a:t>Likhetstrekk mellom vei og nett</a:t>
            </a:r>
          </a:p>
          <a:p>
            <a:pPr marL="0" indent="0">
              <a:buNone/>
            </a:pPr>
            <a:endParaRPr lang="nb-NO" sz="1359" b="1" dirty="0"/>
          </a:p>
        </p:txBody>
      </p:sp>
      <p:sp>
        <p:nvSpPr>
          <p:cNvPr id="37" name="Text Placeholder 9"/>
          <p:cNvSpPr txBox="1">
            <a:spLocks/>
          </p:cNvSpPr>
          <p:nvPr/>
        </p:nvSpPr>
        <p:spPr>
          <a:xfrm>
            <a:off x="4824340" y="1078421"/>
            <a:ext cx="4789207" cy="327348"/>
          </a:xfrm>
          <a:prstGeom prst="rect">
            <a:avLst/>
          </a:prstGeom>
        </p:spPr>
        <p:txBody>
          <a:bodyPr vert="horz" lIns="94036" tIns="47017" rIns="94036" bIns="47017" rtlCol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lang="en-US" sz="25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lang="en-US" sz="24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lang="en-US" sz="20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lang="en-US" sz="18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lang="en-US" sz="16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nb-NO" sz="1359" b="1" dirty="0"/>
              <a:t>Vei</a:t>
            </a:r>
          </a:p>
        </p:txBody>
      </p:sp>
      <p:sp>
        <p:nvSpPr>
          <p:cNvPr id="38" name="Text Placeholder 9"/>
          <p:cNvSpPr txBox="1">
            <a:spLocks/>
          </p:cNvSpPr>
          <p:nvPr/>
        </p:nvSpPr>
        <p:spPr>
          <a:xfrm>
            <a:off x="7632394" y="1077990"/>
            <a:ext cx="4789207" cy="327348"/>
          </a:xfrm>
          <a:prstGeom prst="rect">
            <a:avLst/>
          </a:prstGeom>
        </p:spPr>
        <p:txBody>
          <a:bodyPr vert="horz" lIns="94036" tIns="47017" rIns="94036" bIns="47017" rtlCol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lang="en-US" sz="25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lang="en-US" sz="24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lang="en-US" sz="20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lang="en-US" sz="18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lang="en-US" sz="16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nb-NO" sz="1359" b="1" dirty="0"/>
              <a:t>Nett</a:t>
            </a:r>
          </a:p>
        </p:txBody>
      </p:sp>
      <p:pic>
        <p:nvPicPr>
          <p:cNvPr id="13320" name="Picture 8" descr="https://upload.wikimedia.org/wikipedia/commons/thumb/6/64/Tabliczka_E6.svg/120px-Tabliczka_E6.sv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743" y="1490299"/>
            <a:ext cx="498803" cy="316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4" name="Picture 12" descr="https://upload.wikimedia.org/wikipedia/commons/thumb/7/75/Norwegian-road-sign-723.15.svg/109px-Norwegian-road-sign-723.15.sv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340" y="2506625"/>
            <a:ext cx="481608" cy="331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40"/>
          <p:cNvSpPr/>
          <p:nvPr/>
        </p:nvSpPr>
        <p:spPr>
          <a:xfrm>
            <a:off x="4334314" y="1382784"/>
            <a:ext cx="1495044" cy="869844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b="1" u="sng" dirty="0"/>
              <a:t>Europavei</a:t>
            </a:r>
          </a:p>
          <a:p>
            <a:pPr algn="ctr"/>
            <a:r>
              <a:rPr lang="nb-NO" sz="1058" dirty="0"/>
              <a:t>Eier: State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7157974" y="1381323"/>
            <a:ext cx="1495044" cy="869844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b="1" u="sng" dirty="0"/>
              <a:t>Sentralnett</a:t>
            </a:r>
          </a:p>
          <a:p>
            <a:pPr algn="ctr"/>
            <a:r>
              <a:rPr lang="nb-NO" sz="1058" dirty="0"/>
              <a:t>Eier: staten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334314" y="2403085"/>
            <a:ext cx="1495044" cy="869844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b="1" u="sng" dirty="0"/>
              <a:t>Riksvei</a:t>
            </a:r>
          </a:p>
          <a:p>
            <a:pPr algn="ctr"/>
            <a:r>
              <a:rPr lang="nb-NO" sz="1058" dirty="0"/>
              <a:t>Eier: Fylk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7157974" y="2403085"/>
            <a:ext cx="1495044" cy="869844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b="1" u="sng" dirty="0"/>
              <a:t>Regionalt distribusjonsnett </a:t>
            </a:r>
          </a:p>
          <a:p>
            <a:pPr algn="ctr"/>
            <a:r>
              <a:rPr lang="nb-NO" sz="1058" dirty="0"/>
              <a:t>Eier: Fylke/ kommun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334314" y="3423386"/>
            <a:ext cx="1495044" cy="869844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b="1" u="sng" dirty="0"/>
              <a:t>Kommunal vei</a:t>
            </a:r>
          </a:p>
          <a:p>
            <a:pPr algn="ctr"/>
            <a:r>
              <a:rPr lang="nb-NO" sz="1058" dirty="0"/>
              <a:t>Eier: kommun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7170025" y="3423386"/>
            <a:ext cx="1495044" cy="869844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b="1" u="sng"/>
              <a:t>Lokalt distribusjonsnett</a:t>
            </a:r>
            <a:endParaRPr lang="nb-NO" sz="1058" b="1" u="sng" dirty="0"/>
          </a:p>
          <a:p>
            <a:pPr algn="ctr"/>
            <a:r>
              <a:rPr lang="nb-NO" sz="1058" dirty="0"/>
              <a:t>Eier: Fylke/ kommune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75745" y="1504798"/>
            <a:ext cx="487247" cy="34368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15743" y="3523505"/>
            <a:ext cx="512032" cy="31593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6332015" y="1078421"/>
            <a:ext cx="380599" cy="301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359" b="1" dirty="0" err="1"/>
              <a:t>Vs</a:t>
            </a:r>
            <a:endParaRPr lang="nb-NO" sz="1359" b="1" dirty="0"/>
          </a:p>
        </p:txBody>
      </p:sp>
      <p:sp>
        <p:nvSpPr>
          <p:cNvPr id="22" name="Left-Right Arrow 21"/>
          <p:cNvSpPr/>
          <p:nvPr/>
        </p:nvSpPr>
        <p:spPr>
          <a:xfrm>
            <a:off x="6061362" y="1685366"/>
            <a:ext cx="923668" cy="326227"/>
          </a:xfrm>
          <a:prstGeom prst="leftRight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62" name="Left-Right Arrow 61"/>
          <p:cNvSpPr/>
          <p:nvPr/>
        </p:nvSpPr>
        <p:spPr>
          <a:xfrm>
            <a:off x="6031832" y="2691670"/>
            <a:ext cx="923668" cy="326227"/>
          </a:xfrm>
          <a:prstGeom prst="leftRight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63" name="Left-Right Arrow 62"/>
          <p:cNvSpPr/>
          <p:nvPr/>
        </p:nvSpPr>
        <p:spPr>
          <a:xfrm>
            <a:off x="6061362" y="3695194"/>
            <a:ext cx="921904" cy="326227"/>
          </a:xfrm>
          <a:prstGeom prst="leftRight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" name="Isosceles Triangle 2"/>
          <p:cNvSpPr/>
          <p:nvPr/>
        </p:nvSpPr>
        <p:spPr>
          <a:xfrm rot="5400000">
            <a:off x="1881859" y="2503738"/>
            <a:ext cx="3534134" cy="369011"/>
          </a:xfrm>
          <a:prstGeom prst="triangle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4" name="Rectangle 3"/>
          <p:cNvSpPr/>
          <p:nvPr/>
        </p:nvSpPr>
        <p:spPr>
          <a:xfrm>
            <a:off x="4080996" y="1089461"/>
            <a:ext cx="4789207" cy="331098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5" name="Text Placeholder 9"/>
          <p:cNvSpPr txBox="1">
            <a:spLocks/>
          </p:cNvSpPr>
          <p:nvPr/>
        </p:nvSpPr>
        <p:spPr>
          <a:xfrm>
            <a:off x="4067954" y="748506"/>
            <a:ext cx="4789207" cy="327348"/>
          </a:xfrm>
          <a:prstGeom prst="rect">
            <a:avLst/>
          </a:prstGeom>
        </p:spPr>
        <p:txBody>
          <a:bodyPr vert="horz" lIns="94036" tIns="47017" rIns="94036" bIns="47017" rtlCol="0">
            <a:noAutofit/>
          </a:bodyPr>
          <a:lstStyle>
            <a:lvl1pPr marL="248647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Pct val="110000"/>
              <a:buFont typeface="Wingdings" panose="05000000000000000000" pitchFamily="2" charset="2"/>
              <a:buChar char="§"/>
              <a:tabLst/>
              <a:defRPr lang="en-US" sz="25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88642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har char="–"/>
              <a:defRPr lang="en-US" sz="24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37287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20000"/>
              <a:buChar char="•"/>
              <a:defRPr lang="en-US" sz="20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77284" indent="-23999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○"/>
              <a:defRPr lang="en-US" sz="18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25929" marR="0" indent="-248647" algn="l" defTabSz="1245388" rtl="0" eaLnBrk="1" fontAlgn="base" latinLnBrk="0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 lang="en-US" sz="1600" b="0" i="0" kern="12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463765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714571" indent="-25080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-"/>
              <a:defRPr sz="2500" b="0" i="0" kern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2407" indent="-237834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 b="0" i="0" kern="0" baseline="0">
                <a:solidFill>
                  <a:schemeClr val="tx1"/>
                </a:solidFill>
                <a:latin typeface="+mn-lt"/>
              </a:defRPr>
            </a:lvl8pPr>
            <a:lvl9pPr marL="2201051" indent="-248647" algn="l" rtl="0" eaLnBrk="1" fontAlgn="base" hangingPunct="1">
              <a:lnSpc>
                <a:spcPct val="100000"/>
              </a:lnSpc>
              <a:spcBef>
                <a:spcPts val="409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2500" b="0" i="0" kern="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nb-NO" sz="1359" b="1" dirty="0"/>
              <a:t>I likhet med vei har nett tre nivå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F2F531-9BF0-45B9-964B-CD2D68B8ACF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8285" t="9040"/>
          <a:stretch/>
        </p:blipFill>
        <p:spPr>
          <a:xfrm>
            <a:off x="423575" y="1472352"/>
            <a:ext cx="739574" cy="57650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526483-DF53-4A8C-BF6A-58EC0CFC0A1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3BEF99-0486-4DEB-BCE6-C41D11040B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94905" y="2403085"/>
            <a:ext cx="559339" cy="74808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45C81AD-9A83-461D-B150-5E7671B18F53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5886" r="9452"/>
          <a:stretch/>
        </p:blipFill>
        <p:spPr>
          <a:xfrm>
            <a:off x="423575" y="3560315"/>
            <a:ext cx="630594" cy="51502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77A458C-DB6A-4A83-8603-90E4E30F1B4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33041" y="2470469"/>
            <a:ext cx="346787" cy="24066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B66BBA4-50F0-4908-ABA0-4AC6881B04DF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6915" b="4598"/>
          <a:stretch/>
        </p:blipFill>
        <p:spPr>
          <a:xfrm>
            <a:off x="7744153" y="3450639"/>
            <a:ext cx="346787" cy="33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1838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F4D6B6F-D102-4185-B84A-B399F221C0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559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6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FAA3FAC-97C8-499D-938F-4A973BD326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324" y="138474"/>
            <a:ext cx="8709869" cy="369332"/>
          </a:xfrm>
        </p:spPr>
        <p:txBody>
          <a:bodyPr/>
          <a:lstStyle/>
          <a:p>
            <a:r>
              <a:rPr lang="nb-NO" sz="2400" dirty="0"/>
              <a:t>For flere tjenester betaler vi både for tilgang og forbruk</a:t>
            </a:r>
          </a:p>
        </p:txBody>
      </p:sp>
      <p:sp>
        <p:nvSpPr>
          <p:cNvPr id="7" name="Rectangle 6"/>
          <p:cNvSpPr/>
          <p:nvPr/>
        </p:nvSpPr>
        <p:spPr>
          <a:xfrm>
            <a:off x="4094516" y="622092"/>
            <a:ext cx="2165211" cy="336085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359" b="1" dirty="0">
                <a:solidFill>
                  <a:schemeClr val="tx1"/>
                </a:solidFill>
              </a:rPr>
              <a:t>Fast pris for tilgang</a:t>
            </a:r>
          </a:p>
        </p:txBody>
      </p:sp>
      <p:sp>
        <p:nvSpPr>
          <p:cNvPr id="8" name="Rectangle 7"/>
          <p:cNvSpPr/>
          <p:nvPr/>
        </p:nvSpPr>
        <p:spPr>
          <a:xfrm>
            <a:off x="6514038" y="632103"/>
            <a:ext cx="2130121" cy="327049"/>
          </a:xfrm>
          <a:prstGeom prst="rect">
            <a:avLst/>
          </a:prstGeom>
          <a:noFill/>
          <a:ln>
            <a:noFill/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359" b="1" dirty="0">
                <a:solidFill>
                  <a:schemeClr val="tx1"/>
                </a:solidFill>
              </a:rPr>
              <a:t>Variabel pris på forbruk</a:t>
            </a: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358C7300-53DB-46C5-99BB-58217897BF75}"/>
              </a:ext>
            </a:extLst>
          </p:cNvPr>
          <p:cNvGrpSpPr/>
          <p:nvPr/>
        </p:nvGrpSpPr>
        <p:grpSpPr>
          <a:xfrm>
            <a:off x="571278" y="958177"/>
            <a:ext cx="8072881" cy="3431822"/>
            <a:chOff x="577596" y="1054875"/>
            <a:chExt cx="8072881" cy="3431822"/>
          </a:xfrm>
        </p:grpSpPr>
        <p:sp>
          <p:nvSpPr>
            <p:cNvPr id="10" name="Rectangle 9"/>
            <p:cNvSpPr/>
            <p:nvPr/>
          </p:nvSpPr>
          <p:spPr>
            <a:xfrm>
              <a:off x="577596" y="1054876"/>
              <a:ext cx="1239024" cy="769924"/>
            </a:xfrm>
            <a:prstGeom prst="rect">
              <a:avLst/>
            </a:prstGeom>
            <a:noFill/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1359" b="1" u="sng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054365" y="1054875"/>
              <a:ext cx="2174852" cy="749566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endParaRPr lang="nb-NO" sz="1208" dirty="0">
                <a:ln w="0"/>
                <a:solidFill>
                  <a:schemeClr val="tx1"/>
                </a:solidFill>
              </a:endParaRPr>
            </a:p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Fastledd, varierer mellom størrelse på kunden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943527" y="1054876"/>
              <a:ext cx="1902995" cy="76992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1359" b="1">
                  <a:solidFill>
                    <a:schemeClr val="bg1"/>
                  </a:solidFill>
                </a:rPr>
                <a:t>Strømnettet</a:t>
              </a:r>
              <a:endParaRPr lang="nb-NO" sz="1359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77596" y="1920280"/>
              <a:ext cx="1239024" cy="769924"/>
            </a:xfrm>
            <a:prstGeom prst="rect">
              <a:avLst/>
            </a:prstGeom>
            <a:noFill/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1359" b="1" u="sng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950228" y="1920280"/>
              <a:ext cx="1896293" cy="74956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1359" b="1">
                  <a:solidFill>
                    <a:schemeClr val="bg1"/>
                  </a:solidFill>
                </a:rPr>
                <a:t>Telefonabonnement</a:t>
              </a:r>
              <a:endParaRPr lang="nb-NO" sz="1359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77596" y="2793992"/>
              <a:ext cx="1239024" cy="769924"/>
            </a:xfrm>
            <a:prstGeom prst="rect">
              <a:avLst/>
            </a:prstGeom>
            <a:noFill/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1359" b="1" u="sng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943527" y="2793992"/>
              <a:ext cx="1902995" cy="76992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1359" b="1">
                  <a:solidFill>
                    <a:schemeClr val="bg1"/>
                  </a:solidFill>
                </a:rPr>
                <a:t>Bredbånd</a:t>
              </a:r>
              <a:endParaRPr lang="nb-NO" sz="1359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77596" y="3716773"/>
              <a:ext cx="1239024" cy="769924"/>
            </a:xfrm>
            <a:prstGeom prst="rect">
              <a:avLst/>
            </a:prstGeom>
            <a:noFill/>
            <a:ln w="127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1359" b="1" u="sng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1925364" y="3716772"/>
              <a:ext cx="1921157" cy="769923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1359" b="1">
                  <a:solidFill>
                    <a:schemeClr val="bg1"/>
                  </a:solidFill>
                </a:rPr>
                <a:t>Vei</a:t>
              </a:r>
              <a:endParaRPr lang="nb-NO" sz="1359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501074" y="1054876"/>
              <a:ext cx="2139762" cy="747029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Energiledd</a:t>
              </a:r>
            </a:p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Effektledd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064006" y="1920279"/>
              <a:ext cx="2174852" cy="749566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endParaRPr lang="nb-NO" sz="1208" dirty="0">
                <a:ln w="0"/>
                <a:solidFill>
                  <a:schemeClr val="tx1"/>
                </a:solidFill>
              </a:endParaRPr>
            </a:p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Pris på abonnement, avhenger av «pakke»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6510715" y="1920279"/>
              <a:ext cx="2139762" cy="749566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Pris per tellerskritt</a:t>
              </a:r>
            </a:p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Pris per SMS</a:t>
              </a:r>
            </a:p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Pris for databruk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054365" y="2793992"/>
              <a:ext cx="2174852" cy="769924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>
                  <a:ln w="0"/>
                  <a:solidFill>
                    <a:schemeClr val="tx1"/>
                  </a:solidFill>
                </a:rPr>
                <a:t>Fast pris per måned/år for tilgang på en gitt datakapasitet</a:t>
              </a:r>
              <a:endParaRPr lang="nb-NO" sz="1208" dirty="0">
                <a:ln w="0"/>
                <a:solidFill>
                  <a:schemeClr val="tx1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501074" y="2834488"/>
              <a:ext cx="2139762" cy="729427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>
                  <a:ln w="0"/>
                  <a:solidFill>
                    <a:schemeClr val="tx1"/>
                  </a:solidFill>
                </a:rPr>
                <a:t>Ingen</a:t>
              </a:r>
              <a:endParaRPr lang="nb-NO" sz="1208" dirty="0">
                <a:ln w="0"/>
                <a:solidFill>
                  <a:schemeClr val="tx1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4064006" y="3737727"/>
              <a:ext cx="2174852" cy="728611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>
                  <a:ln w="0"/>
                  <a:solidFill>
                    <a:schemeClr val="tx1"/>
                  </a:solidFill>
                </a:rPr>
                <a:t>Årsavgift </a:t>
              </a:r>
              <a:r>
                <a:rPr lang="nb-NO" sz="1208" dirty="0">
                  <a:ln w="0"/>
                  <a:solidFill>
                    <a:schemeClr val="tx1"/>
                  </a:solidFill>
                </a:rPr>
                <a:t>for bil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6510715" y="3737727"/>
              <a:ext cx="2139762" cy="728611"/>
            </a:xfrm>
            <a:prstGeom prst="rect">
              <a:avLst/>
            </a:prstGeom>
            <a:ln>
              <a:prstDash val="lg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Veibruksavgift</a:t>
              </a:r>
            </a:p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Bompenger</a:t>
              </a:r>
            </a:p>
            <a:p>
              <a:pPr marL="215782" indent="-215782">
                <a:buFont typeface="Arial" panose="020B0604020202020204" pitchFamily="34" charset="0"/>
                <a:buChar char="•"/>
              </a:pPr>
              <a:r>
                <a:rPr lang="nb-NO" sz="1208" dirty="0">
                  <a:ln w="0"/>
                  <a:solidFill>
                    <a:schemeClr val="tx1"/>
                  </a:solidFill>
                </a:rPr>
                <a:t>Rushtidsavgift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7C1A14F9-11E7-49FA-A15A-0B144201A4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8464" y="1037524"/>
            <a:ext cx="406188" cy="5883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3A659CA-30EB-462E-B8D1-23E6FDA98B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15482" y="1128987"/>
            <a:ext cx="438849" cy="5091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9B04A24-75C4-4EEA-AA6F-A61C14B5B3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7653" y="1861688"/>
            <a:ext cx="390166" cy="67335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A6C026-1AD0-4612-92D4-B1F5A96F5EA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9385" y="3747676"/>
            <a:ext cx="615822" cy="514717"/>
          </a:xfrm>
          <a:prstGeom prst="rect">
            <a:avLst/>
          </a:prstGeom>
        </p:spPr>
      </p:pic>
      <p:pic>
        <p:nvPicPr>
          <p:cNvPr id="15" name="Graphic 14" descr="Wireless router">
            <a:extLst>
              <a:ext uri="{FF2B5EF4-FFF2-40B4-BE49-F238E27FC236}">
                <a16:creationId xmlns:a16="http://schemas.microsoft.com/office/drawing/2014/main" id="{E4949714-B666-447B-A6B3-B793B1D9E5F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8726" y="2721107"/>
            <a:ext cx="697140" cy="69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4038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1A628E3-2917-4BDE-BAA0-F2B423CD64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724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8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FF8BF1-7851-4609-8FF4-72D4B61871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393" y="193351"/>
            <a:ext cx="8483039" cy="369332"/>
          </a:xfrm>
        </p:spPr>
        <p:txBody>
          <a:bodyPr/>
          <a:lstStyle/>
          <a:p>
            <a:r>
              <a:rPr lang="nb-NO" sz="2400" dirty="0"/>
              <a:t>Nettleien for husholdninger </a:t>
            </a:r>
            <a:r>
              <a:rPr lang="nb-NO" sz="2400"/>
              <a:t>består ofte av </a:t>
            </a:r>
            <a:r>
              <a:rPr lang="nb-NO" sz="2400" dirty="0"/>
              <a:t>to led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488140" y="4823640"/>
            <a:ext cx="8376014" cy="188908"/>
          </a:xfrm>
        </p:spPr>
        <p:txBody>
          <a:bodyPr/>
          <a:lstStyle/>
          <a:p>
            <a:r>
              <a:rPr lang="nb-NO" dirty="0"/>
              <a:t>Kilde: NVEs nettleiestatistikk</a:t>
            </a:r>
          </a:p>
        </p:txBody>
      </p:sp>
      <p:sp>
        <p:nvSpPr>
          <p:cNvPr id="8" name="Rectangle 7"/>
          <p:cNvSpPr/>
          <p:nvPr/>
        </p:nvSpPr>
        <p:spPr>
          <a:xfrm>
            <a:off x="5512821" y="844553"/>
            <a:ext cx="3406091" cy="40801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bg1"/>
                </a:solidFill>
              </a:rPr>
              <a:t>Størrelsen på fastleddet og energileddet varierer mellom nettselskapene</a:t>
            </a:r>
          </a:p>
        </p:txBody>
      </p:sp>
      <p:sp>
        <p:nvSpPr>
          <p:cNvPr id="9" name="Rectangle 8"/>
          <p:cNvSpPr/>
          <p:nvPr/>
        </p:nvSpPr>
        <p:spPr>
          <a:xfrm>
            <a:off x="260118" y="873674"/>
            <a:ext cx="2288823" cy="408018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bg1"/>
                </a:solidFill>
              </a:rPr>
              <a:t>Fastleddet dekker (minst) de faste kunderelaterte kostnaden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29041" y="861122"/>
            <a:ext cx="2461985" cy="404741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bg1"/>
                </a:solidFill>
              </a:rPr>
              <a:t>Energileddet varierer med hvor mye strøm som bruk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52788" y="1304264"/>
            <a:ext cx="2296153" cy="3364679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0" name="Rectangle 19"/>
          <p:cNvSpPr/>
          <p:nvPr/>
        </p:nvSpPr>
        <p:spPr>
          <a:xfrm>
            <a:off x="2852561" y="1294645"/>
            <a:ext cx="2461985" cy="337429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1" name="Rectangle 20"/>
          <p:cNvSpPr/>
          <p:nvPr/>
        </p:nvSpPr>
        <p:spPr>
          <a:xfrm>
            <a:off x="309393" y="2864244"/>
            <a:ext cx="1095137" cy="77888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Kostnaden ved å være tilknyttet nettet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98511" y="3794721"/>
            <a:ext cx="1106019" cy="695187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Inndekking av nettselskapets faste kostnader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80440" y="1365375"/>
            <a:ext cx="1433518" cy="35685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accent1"/>
                </a:solidFill>
              </a:rPr>
              <a:t>Et fast beløp per husstand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465923" y="1367185"/>
            <a:ext cx="1631138" cy="437175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accent1"/>
                </a:solidFill>
              </a:rPr>
              <a:t>Et beløp per kWh som bruke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899860" y="1861924"/>
            <a:ext cx="1214601" cy="79893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Antall mennesker i husholdningen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882188" y="2883422"/>
            <a:ext cx="1232273" cy="72344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Mange strømkrevende apparater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882188" y="3913621"/>
            <a:ext cx="1232274" cy="68107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Størrelsen på boligen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16794" y="1891568"/>
            <a:ext cx="1087736" cy="70678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Fakturering og administrative kostnader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21131" y="2598352"/>
            <a:ext cx="1632024" cy="26589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tx1"/>
                </a:solidFill>
              </a:rPr>
              <a:t>+ eventuelt:</a:t>
            </a:r>
          </a:p>
        </p:txBody>
      </p:sp>
      <p:graphicFrame>
        <p:nvGraphicFramePr>
          <p:cNvPr id="31" name="Chart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2239663"/>
              </p:ext>
            </p:extLst>
          </p:nvPr>
        </p:nvGraphicFramePr>
        <p:xfrm>
          <a:off x="5512821" y="1304264"/>
          <a:ext cx="3406091" cy="3279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78815" y="2927145"/>
            <a:ext cx="622096" cy="62209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D9852C3-960B-4B39-939F-695E4C417D9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02805" y="1931012"/>
            <a:ext cx="719029" cy="6336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7B5A37-CCC4-4CEA-A347-39ED0E31F3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55235" y="1911143"/>
            <a:ext cx="841825" cy="733203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81A59594-0AD9-4048-8CB7-B481473D3577}"/>
              </a:ext>
            </a:extLst>
          </p:cNvPr>
          <p:cNvGrpSpPr/>
          <p:nvPr/>
        </p:nvGrpSpPr>
        <p:grpSpPr>
          <a:xfrm>
            <a:off x="4183164" y="2773863"/>
            <a:ext cx="962898" cy="775378"/>
            <a:chOff x="4183164" y="2773863"/>
            <a:chExt cx="962898" cy="77537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FF2D1A1-E7BD-43F4-AB11-7FAC5C1EC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183164" y="2773863"/>
              <a:ext cx="469833" cy="487022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C2AE5CE-B73E-4B80-8E4A-1E1AF8696A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752838" y="2859237"/>
              <a:ext cx="393224" cy="480431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F976F73-4332-42DF-9B7B-918938DDC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394014" y="3279438"/>
              <a:ext cx="358824" cy="269803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62395D6-A14D-4431-85C4-74BA6A0577D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09659" y="3873014"/>
            <a:ext cx="686675" cy="70904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9902A76-40AB-449C-8CA9-2041407B79F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646084" y="3852510"/>
            <a:ext cx="525510" cy="57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0147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414A9851-4527-40F7-B29D-F921F1783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446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1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8C4D08DE-0141-435E-897B-6ABD9980A0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613" y="177368"/>
            <a:ext cx="8709869" cy="369332"/>
          </a:xfrm>
        </p:spPr>
        <p:txBody>
          <a:bodyPr/>
          <a:lstStyle/>
          <a:p>
            <a:r>
              <a:rPr lang="nb-NO" sz="2400" dirty="0"/>
              <a:t>Nettleien for næringskunder </a:t>
            </a:r>
            <a:r>
              <a:rPr lang="nb-NO" sz="2400"/>
              <a:t>består ofte av </a:t>
            </a:r>
            <a:r>
              <a:rPr lang="nb-NO" sz="2400" dirty="0"/>
              <a:t>tre ledd</a:t>
            </a:r>
          </a:p>
        </p:txBody>
      </p:sp>
      <p:sp>
        <p:nvSpPr>
          <p:cNvPr id="6" name="Rectangle 5"/>
          <p:cNvSpPr/>
          <p:nvPr/>
        </p:nvSpPr>
        <p:spPr>
          <a:xfrm>
            <a:off x="372820" y="1184783"/>
            <a:ext cx="2527726" cy="3190676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9" name="Rectangle 8"/>
          <p:cNvSpPr/>
          <p:nvPr/>
        </p:nvSpPr>
        <p:spPr>
          <a:xfrm>
            <a:off x="3361379" y="1198750"/>
            <a:ext cx="2527726" cy="3190676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0" name="Rectangle 9"/>
          <p:cNvSpPr/>
          <p:nvPr/>
        </p:nvSpPr>
        <p:spPr>
          <a:xfrm>
            <a:off x="6238859" y="1198751"/>
            <a:ext cx="2611499" cy="3190676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2" name="Rectangle 11"/>
          <p:cNvSpPr/>
          <p:nvPr/>
        </p:nvSpPr>
        <p:spPr>
          <a:xfrm>
            <a:off x="3361379" y="753096"/>
            <a:ext cx="2532929" cy="40311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983" b="1" dirty="0">
                <a:solidFill>
                  <a:schemeClr val="bg1"/>
                </a:solidFill>
              </a:rPr>
              <a:t>Energileddet varierer med hvor mye strøm som bruk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238859" y="753739"/>
            <a:ext cx="2616703" cy="39956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983" b="1" dirty="0">
                <a:solidFill>
                  <a:schemeClr val="bg1"/>
                </a:solidFill>
              </a:rPr>
              <a:t>Effektleddet settes etter timen(e) med høyest forbruk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4091" y="2625055"/>
            <a:ext cx="1092669" cy="6121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Kostnaden ved å være tilknyttet nette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64091" y="3524705"/>
            <a:ext cx="1128711" cy="65558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Inndekking av nettselskapets faste kostnader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462662" y="2485120"/>
            <a:ext cx="1033054" cy="60185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Behovet for oppvarming og kjøling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462662" y="3388310"/>
            <a:ext cx="1033054" cy="60185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Annet som krever strøm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391219" y="1861922"/>
            <a:ext cx="1264463" cy="83932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Den timen i måneden eller året bedriften bruker mest strø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389646" y="3100839"/>
            <a:ext cx="1233224" cy="89657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Effektleddet avhenger av årstid – ofte lavere om sommeren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66925" y="1239623"/>
            <a:ext cx="1920314" cy="285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tx1"/>
                </a:solidFill>
              </a:rPr>
              <a:t>Et fast beløp per bedrift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453572" y="1267234"/>
            <a:ext cx="2286853" cy="25805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>
                <a:solidFill>
                  <a:schemeClr val="tx1"/>
                </a:solidFill>
              </a:rPr>
              <a:t>Et beløp </a:t>
            </a:r>
            <a:r>
              <a:rPr lang="nb-NO" sz="1058" b="1" dirty="0">
                <a:solidFill>
                  <a:schemeClr val="tx1"/>
                </a:solidFill>
              </a:rPr>
              <a:t>per kWh </a:t>
            </a:r>
            <a:r>
              <a:rPr lang="nb-NO" sz="1058" b="1">
                <a:solidFill>
                  <a:schemeClr val="tx1"/>
                </a:solidFill>
              </a:rPr>
              <a:t>som brukes i løpet av månden</a:t>
            </a:r>
            <a:endParaRPr lang="nb-NO" sz="1058" b="1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280744" y="1261545"/>
            <a:ext cx="2527727" cy="377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tx1"/>
                </a:solidFill>
              </a:rPr>
              <a:t>Et beløp per kWh som brukes i timen med høyest forbruk (</a:t>
            </a:r>
            <a:r>
              <a:rPr lang="nb-NO" sz="1058" b="1">
                <a:solidFill>
                  <a:schemeClr val="tx1"/>
                </a:solidFill>
              </a:rPr>
              <a:t>kW) i løpet av måneden</a:t>
            </a:r>
            <a:endParaRPr lang="nb-NO" sz="1058" b="1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72819" y="767322"/>
            <a:ext cx="2555034" cy="38889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983" b="1" dirty="0">
                <a:solidFill>
                  <a:schemeClr val="bg1"/>
                </a:solidFill>
              </a:rPr>
              <a:t>Fastleddet dekker (minst) de faste kunderelaterte kostnaden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64091" y="1616244"/>
            <a:ext cx="1129559" cy="59052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dirty="0">
                <a:solidFill>
                  <a:schemeClr val="bg1"/>
                </a:solidFill>
              </a:rPr>
              <a:t>Fakturering og administrative kostnader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55215" y="2274664"/>
            <a:ext cx="1632024" cy="26589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 b="1" dirty="0">
                <a:solidFill>
                  <a:schemeClr val="tx1"/>
                </a:solidFill>
              </a:rPr>
              <a:t>+ eventuelt: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71B33C9-90D3-4276-B9E8-4181A09F1A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9932" y="2609534"/>
            <a:ext cx="697442" cy="69744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E7BC13F-AB99-48B3-A55A-156CB7D231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48215" y="1606499"/>
            <a:ext cx="791384" cy="69744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B14C5C2-193D-4841-B2CF-8F16DB4F346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63906" y="2547529"/>
            <a:ext cx="743263" cy="5262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101C1EF-A615-40AD-BBF5-8EF70798D44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22743" y="3389957"/>
            <a:ext cx="722158" cy="6363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B0263D9-7811-4FFC-B4E0-5C1904BACA3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96999" y="3658251"/>
            <a:ext cx="365407" cy="3277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855075-C05F-458E-A330-EB01FB1999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08042" y="1882752"/>
            <a:ext cx="825236" cy="8423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33BCE47-D60B-46F8-96F7-3F18C70823D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81435" y="1676710"/>
            <a:ext cx="285673" cy="29532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2093DC2A-8C2B-4055-A6F9-D219EBEC46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985835" y="1735090"/>
            <a:ext cx="285673" cy="29532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10BF864-D347-4C09-8C35-D872ABF2D4B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859775" y="3183151"/>
            <a:ext cx="707333" cy="74825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5E13A93-A184-4FAD-BAB4-182E30D2E96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967990" y="3562694"/>
            <a:ext cx="525510" cy="57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151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28944E-C96E-46A7-B5FD-8A916C486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575304"/>
            <a:ext cx="7775258" cy="492443"/>
          </a:xfrm>
        </p:spPr>
        <p:txBody>
          <a:bodyPr/>
          <a:lstStyle/>
          <a:p>
            <a:r>
              <a:rPr lang="nb-NO" dirty="0"/>
              <a:t>Agenda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31D4D73-03CC-4C8A-A53B-3C0DD83B2F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1409" y="1542632"/>
            <a:ext cx="5836018" cy="282061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dirty="0"/>
              <a:t>Om nettselskapets rolle</a:t>
            </a:r>
          </a:p>
          <a:p>
            <a:pPr>
              <a:lnSpc>
                <a:spcPct val="150000"/>
              </a:lnSpc>
            </a:pPr>
            <a:r>
              <a:rPr lang="nb-NO" dirty="0"/>
              <a:t>Om strøm og strømregningen</a:t>
            </a:r>
          </a:p>
          <a:p>
            <a:pPr>
              <a:lnSpc>
                <a:spcPct val="150000"/>
              </a:lnSpc>
            </a:pPr>
            <a:r>
              <a:rPr lang="nb-NO" dirty="0"/>
              <a:t>Utforming av nettleien</a:t>
            </a:r>
          </a:p>
          <a:p>
            <a:pPr>
              <a:lnSpc>
                <a:spcPct val="150000"/>
              </a:lnSpc>
            </a:pPr>
            <a:r>
              <a:rPr lang="nb-NO" dirty="0"/>
              <a:t>Hva påvirker </a:t>
            </a:r>
            <a:r>
              <a:rPr lang="nb-NO"/>
              <a:t>nettleien?</a:t>
            </a: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89EE49A0-FA4E-4183-A98A-F8F4C752EE59}"/>
              </a:ext>
            </a:extLst>
          </p:cNvPr>
          <p:cNvSpPr/>
          <p:nvPr/>
        </p:nvSpPr>
        <p:spPr>
          <a:xfrm>
            <a:off x="720090" y="1454331"/>
            <a:ext cx="4059694" cy="58560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96211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015E57B-101A-4F90-A56B-67082F9F2D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192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5" name="think-cell Slide" r:id="rId9" imgW="663" imgH="664" progId="TCLayout.ActiveDocument.1">
                  <p:embed/>
                </p:oleObj>
              </mc:Choice>
              <mc:Fallback>
                <p:oleObj name="think-cell Slide" r:id="rId9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CEEA33-16F8-41B8-A6B3-A55003376A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582D642-6B9D-407A-B35F-A6A006C20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775258" cy="369332"/>
          </a:xfrm>
        </p:spPr>
        <p:txBody>
          <a:bodyPr/>
          <a:lstStyle/>
          <a:p>
            <a:r>
              <a:rPr lang="nb-NO" sz="2400" dirty="0"/>
              <a:t>Produksjon og innmatingstariff til s-net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5BD0704-AD2B-4EEB-B5B0-EA5F5A36B2E8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B02C78-44A7-4467-86A2-2D8728D201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8376F1A-C2E2-4278-A8AE-ED27C0359C3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9576" y="1207641"/>
            <a:ext cx="1234985" cy="178687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33B85C4-D0B1-46EC-971B-1A741338FB25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0287" t="-5067" r="27" b="5067"/>
          <a:stretch/>
        </p:blipFill>
        <p:spPr>
          <a:xfrm>
            <a:off x="959576" y="2967462"/>
            <a:ext cx="1393411" cy="1538673"/>
          </a:xfrm>
          <a:prstGeom prst="rect">
            <a:avLst/>
          </a:prstGeom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3D9481F1-BF8D-4AD7-81B7-86BED1D1BC51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939466" y="1866049"/>
            <a:ext cx="2762192" cy="2272512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73038" indent="-173038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3038" algn="l"/>
                <a:tab pos="631825" algn="l"/>
                <a:tab pos="981075" algn="l"/>
              </a:tabLst>
            </a:pPr>
            <a:r>
              <a:rPr lang="nb-NO" sz="1400" b="0"/>
              <a:t>Nettleien er 1,34 øre/kWh. Av dette er 0,2 øre/kWh avgift for systemtjenester</a:t>
            </a:r>
          </a:p>
          <a:p>
            <a:pPr marL="173038" indent="-173038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3038" algn="l"/>
                <a:tab pos="631825" algn="l"/>
                <a:tab pos="981075" algn="l"/>
              </a:tabLst>
            </a:pPr>
            <a:r>
              <a:rPr lang="nb-NO" sz="1400" b="0"/>
              <a:t>EU-regelverk har satt et tak på innmatingstariffen på 1,2 €/MWh. </a:t>
            </a:r>
          </a:p>
          <a:p>
            <a:pPr marL="0" lvl="1" indent="0">
              <a:buClrTx/>
              <a:buSzPct val="100000"/>
              <a:buNone/>
            </a:pPr>
            <a:endParaRPr lang="nb-NO" sz="1400" b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FADA233-93E1-4ABB-8211-DDBAEB5AE103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01765" y="1866049"/>
            <a:ext cx="2762192" cy="2272512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0011" tIns="108014" rIns="90011" bIns="4680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31775" algn="l"/>
                <a:tab pos="631825" algn="l"/>
                <a:tab pos="981075" algn="l"/>
              </a:tabLst>
            </a:pPr>
            <a:r>
              <a:rPr lang="nb-NO" sz="1400" b="0"/>
              <a:t>Produsenter tarifferes på grunnlag av hvor mye kraft de i gjennomsnitt har levert inn på nettet siste 10 år.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31775" algn="l"/>
                <a:tab pos="631825" algn="l"/>
                <a:tab pos="981075" algn="l"/>
              </a:tabLst>
            </a:pPr>
            <a:r>
              <a:rPr lang="nb-NO" sz="1400" b="0"/>
              <a:t>For nye produksjonsanlegg er tariffen basert på hvor mye energi anlegget er forventet å levere inn på nettet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BA35DF-8C01-4BC6-BCC3-B930DDF36F7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939466" y="1504120"/>
            <a:ext cx="2762192" cy="357372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nb-NO" sz="1600">
                <a:solidFill>
                  <a:schemeClr val="bg1">
                    <a:lumMod val="100000"/>
                  </a:schemeClr>
                </a:solidFill>
                <a:latin typeface="Calibri" panose="020F0502020204030204" pitchFamily="34" charset="0"/>
              </a:rPr>
              <a:t>Priser</a:t>
            </a:r>
            <a:endParaRPr lang="nb-NO" sz="1600" dirty="0">
              <a:solidFill>
                <a:schemeClr val="bg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hteck 12">
            <a:extLst>
              <a:ext uri="{FF2B5EF4-FFF2-40B4-BE49-F238E27FC236}">
                <a16:creationId xmlns:a16="http://schemas.microsoft.com/office/drawing/2014/main" id="{7C7469DA-FE87-402F-90A9-A27AAB2B9D03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901765" y="1504120"/>
            <a:ext cx="2762192" cy="357372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9525">
            <a:solidFill>
              <a:schemeClr val="accent1">
                <a:lumMod val="10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eaLnBrk="0" hangingPunct="0">
              <a:spcAft>
                <a:spcPct val="0"/>
              </a:spcAft>
            </a:pPr>
            <a:r>
              <a:rPr lang="nb-NO" sz="1600">
                <a:solidFill>
                  <a:schemeClr val="bg1">
                    <a:lumMod val="100000"/>
                  </a:schemeClr>
                </a:solidFill>
                <a:latin typeface="Calibri" panose="020F0502020204030204" pitchFamily="34" charset="0"/>
              </a:rPr>
              <a:t>Grunnlag for tariffen</a:t>
            </a:r>
            <a:endParaRPr lang="nb-NO" sz="1600" dirty="0">
              <a:solidFill>
                <a:schemeClr val="bg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5559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FB1871-964E-480D-B85C-7C85F101CF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637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2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5EE751-AAF6-44E0-8599-A1BD6B9C86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1035A3-14DC-4732-8FE9-29181D1C2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883582" cy="369332"/>
          </a:xfrm>
        </p:spPr>
        <p:txBody>
          <a:bodyPr/>
          <a:lstStyle/>
          <a:p>
            <a:r>
              <a:rPr lang="nb-NO" sz="2400"/>
              <a:t>Elektrifisering gjør at mange trenger mer strø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6CA75E8-B146-4E7C-85F0-E2655E66C2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1870" y="2482252"/>
            <a:ext cx="3366931" cy="18938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1422085-EE10-44F9-A32E-CDA7AD0DBE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212" y="2482253"/>
            <a:ext cx="3366931" cy="18938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A911F2F-F6A9-428F-8C6C-1A0AAAC8070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126" y="1276034"/>
            <a:ext cx="553928" cy="55392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6DB475-4423-48C6-BECD-DF18A4287A5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125" y="1173472"/>
            <a:ext cx="703248" cy="68809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7ACAFE9-AF47-451E-AB8A-D4A940FD7A5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510" y="1189528"/>
            <a:ext cx="411654" cy="4116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1182A37-08D5-41D9-B9AD-A1027F24042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513" y="1232718"/>
            <a:ext cx="508188" cy="50818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CF0A4F2-B8BD-4FF7-B654-D7B41DDD28A0}"/>
              </a:ext>
            </a:extLst>
          </p:cNvPr>
          <p:cNvSpPr txBox="1"/>
          <p:nvPr/>
        </p:nvSpPr>
        <p:spPr>
          <a:xfrm>
            <a:off x="2542650" y="1740905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Transport</a:t>
            </a:r>
            <a:endParaRPr lang="en-GB" sz="83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45BE34-D4A1-4358-8DCC-F65156E5AAF3}"/>
              </a:ext>
            </a:extLst>
          </p:cNvPr>
          <p:cNvSpPr txBox="1"/>
          <p:nvPr/>
        </p:nvSpPr>
        <p:spPr>
          <a:xfrm>
            <a:off x="995073" y="1740905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Næring</a:t>
            </a:r>
            <a:endParaRPr lang="en-GB" sz="831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E511D16-7B55-4A8F-AC4E-F9568F3DF4F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3203" y="1030992"/>
            <a:ext cx="536916" cy="53691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006019A-6093-46FB-9D44-D4F519D212A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8899" y="1208725"/>
            <a:ext cx="779709" cy="77970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910060C-1DAE-49C9-B782-BF3661B1FC0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402" y="1463688"/>
            <a:ext cx="519059" cy="51905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FB4ED3C-F915-4C6E-8C1A-01B0BA317D1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216" y="994312"/>
            <a:ext cx="482371" cy="48237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CC0D455E-86A8-4564-B770-8AC4366AC667}"/>
              </a:ext>
            </a:extLst>
          </p:cNvPr>
          <p:cNvSpPr/>
          <p:nvPr/>
        </p:nvSpPr>
        <p:spPr>
          <a:xfrm>
            <a:off x="741212" y="962889"/>
            <a:ext cx="7677589" cy="11499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9308582-ED60-4F71-82BA-B7DB672F3AF1}"/>
              </a:ext>
            </a:extLst>
          </p:cNvPr>
          <p:cNvSpPr txBox="1"/>
          <p:nvPr/>
        </p:nvSpPr>
        <p:spPr>
          <a:xfrm>
            <a:off x="3662205" y="969816"/>
            <a:ext cx="475659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/>
              <a:t>Elektrifisering av transport og næring gjør at strømnettet kan bli overbelastet mange steder.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/>
              <a:t>Bransjen vil forsøke å finne gode løsninger for at alle som trenger det kan få tilgang på strøm – og at det ikke skal bli unødvendig dyrt pga. unødvendig store investeringer i strømnette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6822FB-E17F-4FBB-A0B8-8F5559C4E61A}"/>
              </a:ext>
            </a:extLst>
          </p:cNvPr>
          <p:cNvSpPr txBox="1"/>
          <p:nvPr/>
        </p:nvSpPr>
        <p:spPr>
          <a:xfrm>
            <a:off x="741212" y="2252656"/>
            <a:ext cx="33597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Mye samtidig bruk av nette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86278B-0B8D-4F30-BFCD-2F03A4288A29}"/>
              </a:ext>
            </a:extLst>
          </p:cNvPr>
          <p:cNvSpPr txBox="1"/>
          <p:nvPr/>
        </p:nvSpPr>
        <p:spPr>
          <a:xfrm>
            <a:off x="5036119" y="2252656"/>
            <a:ext cx="33597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Smart bruk av nettet</a:t>
            </a:r>
          </a:p>
        </p:txBody>
      </p:sp>
    </p:spTree>
    <p:extLst>
      <p:ext uri="{BB962C8B-B14F-4D97-AF65-F5344CB8AC3E}">
        <p14:creationId xmlns:p14="http://schemas.microsoft.com/office/powerpoint/2010/main" val="28159463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2DF3240-756A-4AE5-8C99-FD46CAB406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096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4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0CE9ACB-52AB-4F03-96FC-B1CDB6B328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D6DFD7-E660-439F-8603-8F061D4F8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7775258" cy="738664"/>
          </a:xfrm>
        </p:spPr>
        <p:txBody>
          <a:bodyPr/>
          <a:lstStyle/>
          <a:p>
            <a:r>
              <a:rPr lang="nb-NO" sz="2400"/>
              <a:t>For å unngå at nettkostnadene blir unødvendig høye, vil utforming av nettleien endres framover</a:t>
            </a:r>
          </a:p>
        </p:txBody>
      </p:sp>
      <p:pic>
        <p:nvPicPr>
          <p:cNvPr id="3" name="Content Placeholder 43" descr="A screenshot of a cell phone&#10;&#10;Description automatically generated">
            <a:extLst>
              <a:ext uri="{FF2B5EF4-FFF2-40B4-BE49-F238E27FC236}">
                <a16:creationId xmlns:a16="http://schemas.microsoft.com/office/drawing/2014/main" id="{4B8BC226-7141-4884-8C4C-C14273C372D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67"/>
          <a:stretch/>
        </p:blipFill>
        <p:spPr>
          <a:xfrm>
            <a:off x="4410674" y="1379082"/>
            <a:ext cx="4092278" cy="1551817"/>
          </a:xfrm>
          <a:prstGeom prst="rect">
            <a:avLst/>
          </a:prstGeom>
        </p:spPr>
      </p:pic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24052F9E-27EE-4A98-806C-BF4370B0CFA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76" b="10307"/>
          <a:stretch/>
        </p:blipFill>
        <p:spPr>
          <a:xfrm>
            <a:off x="4410714" y="3008301"/>
            <a:ext cx="4093152" cy="1416277"/>
          </a:xfrm>
          <a:prstGeom prst="rect">
            <a:avLst/>
          </a:prstGeom>
        </p:spPr>
      </p:pic>
      <p:sp>
        <p:nvSpPr>
          <p:cNvPr id="5" name="Content Placeholder 39">
            <a:extLst>
              <a:ext uri="{FF2B5EF4-FFF2-40B4-BE49-F238E27FC236}">
                <a16:creationId xmlns:a16="http://schemas.microsoft.com/office/drawing/2014/main" id="{DB97E1BE-F8F3-419B-B160-781D9EC7D042}"/>
              </a:ext>
            </a:extLst>
          </p:cNvPr>
          <p:cNvSpPr txBox="1">
            <a:spLocks/>
          </p:cNvSpPr>
          <p:nvPr/>
        </p:nvSpPr>
        <p:spPr>
          <a:xfrm>
            <a:off x="398388" y="1386124"/>
            <a:ext cx="3293848" cy="33476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542396" indent="-25919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11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0395" indent="-21599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12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9193" indent="-172799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61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300"/>
          </a:p>
          <a:p>
            <a:r>
              <a:rPr lang="nb-NO" sz="1300"/>
              <a:t>De fleste vil få </a:t>
            </a:r>
            <a:r>
              <a:rPr lang="nb-NO" sz="1300" b="1"/>
              <a:t>samme nettleie som i dag</a:t>
            </a:r>
            <a:r>
              <a:rPr lang="nb-NO" sz="1300"/>
              <a:t> med ny utforming av regningen for nett</a:t>
            </a:r>
          </a:p>
          <a:p>
            <a:r>
              <a:rPr lang="nb-NO" sz="1300"/>
              <a:t>En kunde med veldig jevnt forbruk vil få noe </a:t>
            </a:r>
            <a:r>
              <a:rPr lang="nb-NO" sz="1300" b="1"/>
              <a:t>lavere regning</a:t>
            </a:r>
          </a:p>
          <a:p>
            <a:r>
              <a:rPr lang="nb-NO" sz="1300"/>
              <a:t>En kunde med mye samtidig og ujevnt forbruk vil få noe </a:t>
            </a:r>
            <a:r>
              <a:rPr lang="nb-NO" sz="1300" b="1"/>
              <a:t>høyere regning </a:t>
            </a:r>
            <a:r>
              <a:rPr lang="nb-NO" sz="1300"/>
              <a:t>enn i dag</a:t>
            </a:r>
          </a:p>
          <a:p>
            <a:r>
              <a:rPr lang="nb-NO" sz="1300"/>
              <a:t>Det vil lønne seg å bruke nett smart, f.eks. ved å lade elbil om natten og ikke på ettermiddag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FEB6D5-689B-4B6B-B8D0-831389EFC50D}"/>
              </a:ext>
            </a:extLst>
          </p:cNvPr>
          <p:cNvSpPr txBox="1"/>
          <p:nvPr/>
        </p:nvSpPr>
        <p:spPr>
          <a:xfrm>
            <a:off x="4410714" y="2868592"/>
            <a:ext cx="39851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/>
              <a:t>Utjevning av forbruket ved at f.eks elbilen lades på natten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121020-E7FD-4013-8CD9-6FD0DC055ABA}"/>
              </a:ext>
            </a:extLst>
          </p:cNvPr>
          <p:cNvSpPr txBox="1"/>
          <p:nvPr/>
        </p:nvSpPr>
        <p:spPr>
          <a:xfrm>
            <a:off x="4334431" y="1243410"/>
            <a:ext cx="42788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/>
              <a:t>Mye samtidig forbruk, f.eks. lading av elbil på ettermiddagstoppen:</a:t>
            </a:r>
          </a:p>
        </p:txBody>
      </p:sp>
    </p:spTree>
    <p:extLst>
      <p:ext uri="{BB962C8B-B14F-4D97-AF65-F5344CB8AC3E}">
        <p14:creationId xmlns:p14="http://schemas.microsoft.com/office/powerpoint/2010/main" val="7750602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28944E-C96E-46A7-B5FD-8A916C486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575304"/>
            <a:ext cx="7775258" cy="492443"/>
          </a:xfrm>
        </p:spPr>
        <p:txBody>
          <a:bodyPr/>
          <a:lstStyle/>
          <a:p>
            <a:r>
              <a:rPr lang="nb-NO" dirty="0"/>
              <a:t>Agenda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31D4D73-03CC-4C8A-A53B-3C0DD83B2F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1409" y="1542632"/>
            <a:ext cx="5836018" cy="282061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dirty="0"/>
              <a:t>Om nettselskapets rolle</a:t>
            </a:r>
          </a:p>
          <a:p>
            <a:pPr>
              <a:lnSpc>
                <a:spcPct val="150000"/>
              </a:lnSpc>
            </a:pPr>
            <a:r>
              <a:rPr lang="nb-NO" dirty="0"/>
              <a:t>Om strøm og strømregningen</a:t>
            </a:r>
          </a:p>
          <a:p>
            <a:pPr>
              <a:lnSpc>
                <a:spcPct val="150000"/>
              </a:lnSpc>
            </a:pPr>
            <a:r>
              <a:rPr lang="nb-NO" dirty="0"/>
              <a:t>Utforming av nettleien</a:t>
            </a:r>
          </a:p>
          <a:p>
            <a:pPr>
              <a:lnSpc>
                <a:spcPct val="150000"/>
              </a:lnSpc>
            </a:pPr>
            <a:r>
              <a:rPr lang="nb-NO" dirty="0"/>
              <a:t>Hva påvirker nettleien?</a:t>
            </a:r>
          </a:p>
          <a:p>
            <a:pPr marL="0" indent="0">
              <a:buNone/>
            </a:pP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89EE49A0-FA4E-4183-A98A-F8F4C752EE59}"/>
              </a:ext>
            </a:extLst>
          </p:cNvPr>
          <p:cNvSpPr/>
          <p:nvPr/>
        </p:nvSpPr>
        <p:spPr>
          <a:xfrm>
            <a:off x="720090" y="3108297"/>
            <a:ext cx="4059694" cy="58560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80462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121A4A8-914D-4346-8352-0EEE56483D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156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0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1A4A3C4-53A3-4194-94C1-BB0EF55F6E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49584" y="789090"/>
            <a:ext cx="8716392" cy="319279"/>
          </a:xfrm>
        </p:spPr>
        <p:txBody>
          <a:bodyPr/>
          <a:lstStyle/>
          <a:p>
            <a:r>
              <a:rPr lang="en-US" sz="1510" cap="none" dirty="0" err="1"/>
              <a:t>Nettselskapenes</a:t>
            </a:r>
            <a:r>
              <a:rPr lang="en-US" sz="1510" cap="none" dirty="0"/>
              <a:t> </a:t>
            </a:r>
            <a:r>
              <a:rPr lang="en-US" sz="1510" cap="none" dirty="0" err="1"/>
              <a:t>nettleie</a:t>
            </a:r>
            <a:r>
              <a:rPr lang="en-US" sz="1510" cap="none" dirty="0"/>
              <a:t> for </a:t>
            </a:r>
            <a:r>
              <a:rPr lang="en-US" sz="1510" b="1" cap="none" dirty="0" err="1"/>
              <a:t>husholdninger</a:t>
            </a:r>
            <a:r>
              <a:rPr lang="en-US" sz="1510" cap="none" dirty="0"/>
              <a:t> </a:t>
            </a:r>
            <a:r>
              <a:rPr lang="en-US" sz="1510" cap="none" dirty="0" err="1"/>
              <a:t>i</a:t>
            </a:r>
            <a:r>
              <a:rPr lang="en-US" sz="1510" cap="none" dirty="0"/>
              <a:t> D-</a:t>
            </a:r>
            <a:r>
              <a:rPr lang="en-US" sz="1510" cap="none" dirty="0" err="1"/>
              <a:t>nettet</a:t>
            </a:r>
            <a:r>
              <a:rPr lang="en-US" sz="1510" cap="none" dirty="0"/>
              <a:t> per </a:t>
            </a:r>
            <a:r>
              <a:rPr lang="en-US" sz="1510" cap="none" dirty="0" err="1"/>
              <a:t>fylke</a:t>
            </a:r>
            <a:r>
              <a:rPr lang="en-US" sz="1510" cap="none" dirty="0"/>
              <a:t> </a:t>
            </a:r>
            <a:r>
              <a:rPr lang="en-US" sz="1510" cap="none" dirty="0" err="1"/>
              <a:t>i</a:t>
            </a:r>
            <a:r>
              <a:rPr lang="en-US" sz="1510" cap="none" dirty="0"/>
              <a:t> </a:t>
            </a:r>
            <a:r>
              <a:rPr lang="en-US" sz="1510" cap="none" dirty="0" err="1"/>
              <a:t>perioden</a:t>
            </a:r>
            <a:r>
              <a:rPr lang="en-US" sz="1510" cap="none" dirty="0"/>
              <a:t> 2011 </a:t>
            </a:r>
            <a:r>
              <a:rPr lang="en-US" sz="1510" cap="none" dirty="0" err="1"/>
              <a:t>til</a:t>
            </a:r>
            <a:r>
              <a:rPr lang="en-US" sz="1510" cap="none" dirty="0"/>
              <a:t> 2019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nb-NO" dirty="0"/>
              <a:t>Kilde: NVE (2019)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2455" y="308527"/>
            <a:ext cx="8709869" cy="420305"/>
          </a:xfrm>
        </p:spPr>
        <p:txBody>
          <a:bodyPr>
            <a:noAutofit/>
          </a:bodyPr>
          <a:lstStyle/>
          <a:p>
            <a:r>
              <a:rPr lang="nb-NO" sz="2400" dirty="0"/>
              <a:t>Nettleien for </a:t>
            </a:r>
            <a:r>
              <a:rPr lang="nb-NO" sz="2400" b="1" dirty="0"/>
              <a:t>husholdninger</a:t>
            </a:r>
            <a:r>
              <a:rPr lang="nb-NO" sz="2400" dirty="0"/>
              <a:t> varierer mellom fylkene</a:t>
            </a:r>
          </a:p>
        </p:txBody>
      </p:sp>
      <p:sp>
        <p:nvSpPr>
          <p:cNvPr id="9" name="Rectangle 8"/>
          <p:cNvSpPr/>
          <p:nvPr/>
        </p:nvSpPr>
        <p:spPr>
          <a:xfrm>
            <a:off x="249585" y="1168360"/>
            <a:ext cx="8712934" cy="337599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249584" y="4233204"/>
            <a:ext cx="2920907" cy="324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756" dirty="0"/>
              <a:t>*</a:t>
            </a:r>
            <a:r>
              <a:rPr lang="nb-NO" sz="756" dirty="0" err="1"/>
              <a:t>Uvektet</a:t>
            </a:r>
            <a:r>
              <a:rPr lang="nb-NO" sz="756" dirty="0"/>
              <a:t> gjennomsnitt per fylke, inkl. avgifter som belastes nettleien til husholdninger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7FDDD15E-C858-4D8E-B51F-9C6EF116AB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9917492"/>
              </p:ext>
            </p:extLst>
          </p:nvPr>
        </p:nvGraphicFramePr>
        <p:xfrm>
          <a:off x="302455" y="1220787"/>
          <a:ext cx="8609428" cy="3231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1915469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FB3930-3760-4B5B-A302-1C67A1191E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854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5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9F40B5-1B39-4A44-B4E4-E8646DD41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49584" y="789090"/>
            <a:ext cx="8716392" cy="319279"/>
          </a:xfrm>
        </p:spPr>
        <p:txBody>
          <a:bodyPr/>
          <a:lstStyle/>
          <a:p>
            <a:r>
              <a:rPr lang="en-US" sz="1510" cap="none" dirty="0" err="1"/>
              <a:t>Nettselskapenes</a:t>
            </a:r>
            <a:r>
              <a:rPr lang="en-US" sz="1510" cap="none" dirty="0"/>
              <a:t> </a:t>
            </a:r>
            <a:r>
              <a:rPr lang="en-US" sz="1510" cap="none" dirty="0" err="1"/>
              <a:t>nettleie</a:t>
            </a:r>
            <a:r>
              <a:rPr lang="en-US" sz="1510" cap="none" dirty="0"/>
              <a:t> for </a:t>
            </a:r>
            <a:r>
              <a:rPr lang="en-US" sz="1510" b="1" cap="none" dirty="0" err="1"/>
              <a:t>næringskunder</a:t>
            </a:r>
            <a:r>
              <a:rPr lang="en-US" sz="1510" cap="none" dirty="0"/>
              <a:t> </a:t>
            </a:r>
            <a:r>
              <a:rPr lang="en-US" sz="1510" cap="none" dirty="0" err="1"/>
              <a:t>i</a:t>
            </a:r>
            <a:r>
              <a:rPr lang="en-US" sz="1510" cap="none" dirty="0"/>
              <a:t> D-</a:t>
            </a:r>
            <a:r>
              <a:rPr lang="en-US" sz="1510" cap="none" dirty="0" err="1"/>
              <a:t>nettet</a:t>
            </a:r>
            <a:r>
              <a:rPr lang="en-US" sz="1510" cap="none" dirty="0"/>
              <a:t> per </a:t>
            </a:r>
            <a:r>
              <a:rPr lang="en-US" sz="1510" cap="none" dirty="0" err="1"/>
              <a:t>fylke</a:t>
            </a:r>
            <a:r>
              <a:rPr lang="en-US" sz="1510" cap="none" dirty="0"/>
              <a:t> </a:t>
            </a:r>
            <a:r>
              <a:rPr lang="en-US" sz="1510" cap="none" dirty="0" err="1"/>
              <a:t>i</a:t>
            </a:r>
            <a:r>
              <a:rPr lang="en-US" sz="1510" cap="none" dirty="0"/>
              <a:t> </a:t>
            </a:r>
            <a:r>
              <a:rPr lang="en-US" sz="1510" cap="none" dirty="0" err="1"/>
              <a:t>perioden</a:t>
            </a:r>
            <a:r>
              <a:rPr lang="en-US" sz="1510" cap="none" dirty="0"/>
              <a:t> 2011 </a:t>
            </a:r>
            <a:r>
              <a:rPr lang="en-US" sz="1510" cap="none" dirty="0" err="1"/>
              <a:t>til</a:t>
            </a:r>
            <a:r>
              <a:rPr lang="en-US" sz="1510" cap="none" dirty="0"/>
              <a:t> 2017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nb-NO" dirty="0"/>
              <a:t>Kilde: NVE (2019)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2788" y="308793"/>
            <a:ext cx="8709869" cy="369332"/>
          </a:xfrm>
        </p:spPr>
        <p:txBody>
          <a:bodyPr/>
          <a:lstStyle/>
          <a:p>
            <a:r>
              <a:rPr lang="nb-NO" sz="2400" dirty="0"/>
              <a:t>Nettleien for </a:t>
            </a:r>
            <a:r>
              <a:rPr lang="nb-NO" sz="2400" b="1" dirty="0"/>
              <a:t>næringskunder</a:t>
            </a:r>
            <a:r>
              <a:rPr lang="nb-NO" sz="2400" dirty="0"/>
              <a:t> varierer mellom fylkene</a:t>
            </a:r>
          </a:p>
        </p:txBody>
      </p:sp>
      <p:sp>
        <p:nvSpPr>
          <p:cNvPr id="9" name="Rectangle 8"/>
          <p:cNvSpPr/>
          <p:nvPr/>
        </p:nvSpPr>
        <p:spPr>
          <a:xfrm>
            <a:off x="249585" y="1168360"/>
            <a:ext cx="8712934" cy="337599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3" name="TextBox 12"/>
          <p:cNvSpPr txBox="1"/>
          <p:nvPr/>
        </p:nvSpPr>
        <p:spPr>
          <a:xfrm>
            <a:off x="249584" y="4219395"/>
            <a:ext cx="3175899" cy="324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756" dirty="0"/>
              <a:t>*Uvektet gjennomsnitt per fylke, Nettleien er omregnet til øre/kWh for en næringskunde med effektuttak på 40 kW og 160 </a:t>
            </a:r>
            <a:r>
              <a:rPr lang="nb-NO" sz="756" dirty="0" err="1"/>
              <a:t>MWh</a:t>
            </a:r>
            <a:r>
              <a:rPr lang="nb-NO" sz="756" dirty="0"/>
              <a:t>/år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042AACD7-C032-4F92-914A-BF44238507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218595"/>
              </p:ext>
            </p:extLst>
          </p:nvPr>
        </p:nvGraphicFramePr>
        <p:xfrm>
          <a:off x="249584" y="1188556"/>
          <a:ext cx="8712934" cy="3157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049008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7DD69D15-CC24-4AF1-ADBF-C1B0075F65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068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09B554FD-1BEC-44EE-8BE1-3D1CBFCB5D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796" y="102033"/>
            <a:ext cx="8709869" cy="745656"/>
          </a:xfrm>
        </p:spPr>
        <p:txBody>
          <a:bodyPr>
            <a:noAutofit/>
          </a:bodyPr>
          <a:lstStyle/>
          <a:p>
            <a:r>
              <a:rPr lang="nb-NO" sz="2400" dirty="0"/>
              <a:t>Myndighetene legger rammene for hva nettselskapene kan tjene </a:t>
            </a:r>
            <a:r>
              <a:rPr lang="nb-NO" sz="2400"/>
              <a:t>og størrelse på </a:t>
            </a:r>
            <a:r>
              <a:rPr lang="nb-NO" sz="2400" dirty="0"/>
              <a:t>nettleie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5207" y="1204142"/>
            <a:ext cx="4735229" cy="250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29" b="1" dirty="0"/>
              <a:t>Nivået på nettselskapenes inntekter avhenger av :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5EC37FCF-32B9-4AEF-839E-3E0298A20F7E}"/>
              </a:ext>
            </a:extLst>
          </p:cNvPr>
          <p:cNvGrpSpPr/>
          <p:nvPr/>
        </p:nvGrpSpPr>
        <p:grpSpPr>
          <a:xfrm>
            <a:off x="5703750" y="2460997"/>
            <a:ext cx="3176240" cy="1710835"/>
            <a:chOff x="5749517" y="2317375"/>
            <a:chExt cx="3176240" cy="1710835"/>
          </a:xfrm>
        </p:grpSpPr>
        <p:sp>
          <p:nvSpPr>
            <p:cNvPr id="50" name="TextBox 49"/>
            <p:cNvSpPr txBox="1"/>
            <p:nvPr/>
          </p:nvSpPr>
          <p:spPr>
            <a:xfrm>
              <a:off x="5912630" y="2624527"/>
              <a:ext cx="1631138" cy="278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8" dirty="0"/>
                <a:t>Tillatt inntjening</a:t>
              </a:r>
            </a:p>
          </p:txBody>
        </p:sp>
        <p:cxnSp>
          <p:nvCxnSpPr>
            <p:cNvPr id="52" name="Straight Connector 51"/>
            <p:cNvCxnSpPr/>
            <p:nvPr/>
          </p:nvCxnSpPr>
          <p:spPr bwMode="auto">
            <a:xfrm>
              <a:off x="5749517" y="2925843"/>
              <a:ext cx="1570539" cy="0"/>
            </a:xfrm>
            <a:prstGeom prst="line">
              <a:avLst/>
            </a:prstGeom>
            <a:ln w="57150">
              <a:solidFill>
                <a:schemeClr val="tx1"/>
              </a:solidFill>
              <a:prstDash val="solid"/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grpSp>
          <p:nvGrpSpPr>
            <p:cNvPr id="56" name="Group 55"/>
            <p:cNvGrpSpPr/>
            <p:nvPr/>
          </p:nvGrpSpPr>
          <p:grpSpPr>
            <a:xfrm>
              <a:off x="7740678" y="2317375"/>
              <a:ext cx="1185079" cy="1277764"/>
              <a:chOff x="10205263" y="3066629"/>
              <a:chExt cx="1569490" cy="1692240"/>
            </a:xfrm>
          </p:grpSpPr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38854" y="3143343"/>
                <a:ext cx="702309" cy="747411"/>
              </a:xfrm>
              <a:prstGeom prst="rect">
                <a:avLst/>
              </a:prstGeom>
            </p:spPr>
          </p:pic>
          <p:sp>
            <p:nvSpPr>
              <p:cNvPr id="49" name="TextBox 48"/>
              <p:cNvSpPr txBox="1"/>
              <p:nvPr/>
            </p:nvSpPr>
            <p:spPr>
              <a:xfrm>
                <a:off x="10285904" y="3882377"/>
                <a:ext cx="1408208" cy="6146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1208" dirty="0"/>
                  <a:t>Nettleie per nettkunde</a:t>
                </a: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10205263" y="3066629"/>
                <a:ext cx="1569490" cy="1692240"/>
              </a:xfrm>
              <a:prstGeom prst="ellipse">
                <a:avLst/>
              </a:prstGeom>
              <a:noFill/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359" dirty="0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29022" y="3088308"/>
              <a:ext cx="611527" cy="611527"/>
            </a:xfrm>
            <a:prstGeom prst="rect">
              <a:avLst/>
            </a:prstGeom>
          </p:spPr>
        </p:pic>
        <p:sp>
          <p:nvSpPr>
            <p:cNvPr id="58" name="TextBox 57"/>
            <p:cNvSpPr txBox="1"/>
            <p:nvPr/>
          </p:nvSpPr>
          <p:spPr>
            <a:xfrm>
              <a:off x="5800140" y="3749992"/>
              <a:ext cx="1431891" cy="278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208" dirty="0"/>
                <a:t>Antall nettkunder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7396131" y="2696060"/>
              <a:ext cx="815569" cy="41767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nb-NO" sz="2114" b="1" dirty="0"/>
                <a:t>=</a:t>
              </a:r>
            </a:p>
          </p:txBody>
        </p:sp>
      </p:grpSp>
      <p:cxnSp>
        <p:nvCxnSpPr>
          <p:cNvPr id="9" name="Straight Connector 8"/>
          <p:cNvCxnSpPr/>
          <p:nvPr/>
        </p:nvCxnSpPr>
        <p:spPr bwMode="auto">
          <a:xfrm>
            <a:off x="321572" y="1480770"/>
            <a:ext cx="4567188" cy="0"/>
          </a:xfrm>
          <a:prstGeom prst="line">
            <a:avLst/>
          </a:prstGeom>
          <a:ln w="19050">
            <a:solidFill>
              <a:schemeClr val="tx2"/>
            </a:solidFill>
            <a:prstDash val="solid"/>
            <a:headEnd type="none" w="med" len="med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405140" y="1643885"/>
            <a:ext cx="922777" cy="54371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208" dirty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05140" y="2840052"/>
            <a:ext cx="922777" cy="5437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5" name="Rectangle 14"/>
          <p:cNvSpPr/>
          <p:nvPr/>
        </p:nvSpPr>
        <p:spPr>
          <a:xfrm>
            <a:off x="405140" y="3438137"/>
            <a:ext cx="922777" cy="5437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6" name="Rectangle 15"/>
          <p:cNvSpPr/>
          <p:nvPr/>
        </p:nvSpPr>
        <p:spPr>
          <a:xfrm>
            <a:off x="405140" y="4036221"/>
            <a:ext cx="922777" cy="5437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7" name="Rectangle 16"/>
          <p:cNvSpPr/>
          <p:nvPr/>
        </p:nvSpPr>
        <p:spPr>
          <a:xfrm>
            <a:off x="1383823" y="1643885"/>
            <a:ext cx="3316648" cy="54371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ttselskapets kostnader til investeringer, drift og vedlikehold av nette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383823" y="2241968"/>
            <a:ext cx="3316648" cy="543713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ttselskapets effektivitet sammenlignet med lignende nettselskaper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383823" y="2840052"/>
            <a:ext cx="3316648" cy="54371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ostnader </a:t>
            </a:r>
            <a:r>
              <a:rPr lang="nb-NO" sz="1208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r bruk av sentralnett og regionalt distribusjonsnett</a:t>
            </a:r>
            <a:endParaRPr lang="nb-NO" sz="1208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383823" y="3438137"/>
            <a:ext cx="3316648" cy="54371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iendomsskatt</a:t>
            </a:r>
            <a:endParaRPr lang="nb-NO" sz="1208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383823" y="4036221"/>
            <a:ext cx="3316648" cy="54371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8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ostnader knyttet til strømavbrudd og brudd med leveringsplikten </a:t>
            </a:r>
          </a:p>
        </p:txBody>
      </p:sp>
      <p:sp>
        <p:nvSpPr>
          <p:cNvPr id="23" name="Isosceles Triangle 22"/>
          <p:cNvSpPr/>
          <p:nvPr/>
        </p:nvSpPr>
        <p:spPr>
          <a:xfrm rot="5400000">
            <a:off x="3545018" y="2935013"/>
            <a:ext cx="3126476" cy="349741"/>
          </a:xfrm>
          <a:prstGeom prst="triangle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grpSp>
        <p:nvGrpSpPr>
          <p:cNvPr id="25" name="Group 24"/>
          <p:cNvGrpSpPr/>
          <p:nvPr/>
        </p:nvGrpSpPr>
        <p:grpSpPr>
          <a:xfrm>
            <a:off x="603773" y="1480770"/>
            <a:ext cx="525510" cy="627767"/>
            <a:chOff x="6292016" y="2853411"/>
            <a:chExt cx="695972" cy="831399"/>
          </a:xfrm>
        </p:grpSpPr>
        <p:pic>
          <p:nvPicPr>
            <p:cNvPr id="26" name="Picture 6" descr="https://cdn0.iconfinder.com/data/icons/huge-business-icons/512/Excavator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9115" y="3145188"/>
              <a:ext cx="539622" cy="5396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tangle 26"/>
            <p:cNvSpPr/>
            <p:nvPr/>
          </p:nvSpPr>
          <p:spPr>
            <a:xfrm>
              <a:off x="6292016" y="2853411"/>
              <a:ext cx="695972" cy="25202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604" b="1" dirty="0"/>
            </a:p>
          </p:txBody>
        </p:sp>
      </p:grpSp>
      <p:sp>
        <p:nvSpPr>
          <p:cNvPr id="28" name="Rectangle 27"/>
          <p:cNvSpPr/>
          <p:nvPr/>
        </p:nvSpPr>
        <p:spPr>
          <a:xfrm>
            <a:off x="405140" y="2241968"/>
            <a:ext cx="922777" cy="5437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77082B-8A73-4706-8FB7-3A8EE440BAB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14561"/>
          <a:stretch/>
        </p:blipFill>
        <p:spPr>
          <a:xfrm>
            <a:off x="633227" y="2310325"/>
            <a:ext cx="496056" cy="4635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FC8A-0A37-48D3-9567-EE9A75ADC2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8680" y="2870217"/>
            <a:ext cx="505935" cy="4971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818F310-FA45-47B8-ACDC-244522A55A7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8479" y="3482241"/>
            <a:ext cx="550599" cy="4776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D3E19C-AB6A-4395-8ECA-2EFA484B3E1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9421" y="4081530"/>
            <a:ext cx="464879" cy="4219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1B6A319-850A-4F05-A03B-EDB8F8CCA05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65599" y="2056550"/>
            <a:ext cx="922778" cy="74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932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23CF8E0-CF39-4146-A46E-294AB82C20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981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9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7F6470D-7563-4E74-91F5-5B102D4E32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232" y="146899"/>
            <a:ext cx="6512403" cy="745656"/>
          </a:xfrm>
        </p:spPr>
        <p:txBody>
          <a:bodyPr>
            <a:noAutofit/>
          </a:bodyPr>
          <a:lstStyle/>
          <a:p>
            <a:r>
              <a:rPr lang="nb-NO" sz="2400" dirty="0"/>
              <a:t>Krevende klima og topografi øker kostnadene ved å bygge og drive nett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2BC6BB15-FFCF-44D1-86D3-F6B8B0F84B1F}"/>
              </a:ext>
            </a:extLst>
          </p:cNvPr>
          <p:cNvGrpSpPr/>
          <p:nvPr/>
        </p:nvGrpSpPr>
        <p:grpSpPr>
          <a:xfrm>
            <a:off x="318078" y="1159823"/>
            <a:ext cx="8705521" cy="3328858"/>
            <a:chOff x="291574" y="1020675"/>
            <a:chExt cx="8705521" cy="3328858"/>
          </a:xfrm>
        </p:grpSpPr>
        <p:grpSp>
          <p:nvGrpSpPr>
            <p:cNvPr id="51" name="Group 50"/>
            <p:cNvGrpSpPr/>
            <p:nvPr/>
          </p:nvGrpSpPr>
          <p:grpSpPr>
            <a:xfrm>
              <a:off x="323143" y="1718230"/>
              <a:ext cx="2300195" cy="804155"/>
              <a:chOff x="726219" y="2567737"/>
              <a:chExt cx="2988558" cy="1083806"/>
            </a:xfrm>
          </p:grpSpPr>
          <p:sp>
            <p:nvSpPr>
              <p:cNvPr id="53" name="Rectangle 52"/>
              <p:cNvSpPr/>
              <p:nvPr/>
            </p:nvSpPr>
            <p:spPr>
              <a:xfrm>
                <a:off x="1734331" y="2567738"/>
                <a:ext cx="1980446" cy="1083805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70729" indent="-70729">
                  <a:buFont typeface="Arial" panose="020B0604020202020204" pitchFamily="34" charset="0"/>
                  <a:buChar char="•"/>
                </a:pPr>
                <a:r>
                  <a:rPr lang="nb-NO" sz="1058" dirty="0">
                    <a:solidFill>
                      <a:schemeClr val="bg1"/>
                    </a:solidFill>
                  </a:rPr>
                  <a:t>Mye vind</a:t>
                </a:r>
              </a:p>
              <a:p>
                <a:pPr marL="70729" indent="-70729">
                  <a:buFont typeface="Arial" panose="020B0604020202020204" pitchFamily="34" charset="0"/>
                  <a:buChar char="•"/>
                </a:pPr>
                <a:r>
                  <a:rPr lang="nb-NO" sz="1058">
                    <a:solidFill>
                      <a:schemeClr val="bg1"/>
                    </a:solidFill>
                  </a:rPr>
                  <a:t>Bosetning på øyer</a:t>
                </a:r>
                <a:endParaRPr lang="nb-NO" sz="1058" dirty="0">
                  <a:solidFill>
                    <a:schemeClr val="bg1"/>
                  </a:solidFill>
                </a:endParaRPr>
              </a:p>
              <a:p>
                <a:pPr marL="70729" indent="-70729">
                  <a:buFont typeface="Arial" panose="020B0604020202020204" pitchFamily="34" charset="0"/>
                  <a:buChar char="•"/>
                </a:pPr>
                <a:r>
                  <a:rPr lang="nb-NO" sz="1058">
                    <a:solidFill>
                      <a:schemeClr val="bg1"/>
                    </a:solidFill>
                  </a:rPr>
                  <a:t>Bratt terreng</a:t>
                </a:r>
              </a:p>
              <a:p>
                <a:pPr marL="70729" indent="-70729">
                  <a:buFont typeface="Arial" panose="020B0604020202020204" pitchFamily="34" charset="0"/>
                  <a:buChar char="•"/>
                </a:pPr>
                <a:r>
                  <a:rPr lang="nb-NO" sz="1058">
                    <a:solidFill>
                      <a:schemeClr val="bg1"/>
                    </a:solidFill>
                  </a:rPr>
                  <a:t>Mye skog</a:t>
                </a:r>
                <a:endParaRPr lang="nb-NO" sz="10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726219" y="2567737"/>
                <a:ext cx="945492" cy="1083805"/>
              </a:xfrm>
              <a:prstGeom prst="rect">
                <a:avLst/>
              </a:prstGeom>
              <a:noFill/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208" b="1" dirty="0" err="1"/>
              </a:p>
            </p:txBody>
          </p:sp>
        </p:grpSp>
        <p:grpSp>
          <p:nvGrpSpPr>
            <p:cNvPr id="62" name="Group 61"/>
            <p:cNvGrpSpPr/>
            <p:nvPr/>
          </p:nvGrpSpPr>
          <p:grpSpPr>
            <a:xfrm>
              <a:off x="316781" y="2601655"/>
              <a:ext cx="2306557" cy="720312"/>
              <a:chOff x="731791" y="3748562"/>
              <a:chExt cx="2982986" cy="1091925"/>
            </a:xfrm>
          </p:grpSpPr>
          <p:sp>
            <p:nvSpPr>
              <p:cNvPr id="63" name="Rectangle 62"/>
              <p:cNvSpPr/>
              <p:nvPr/>
            </p:nvSpPr>
            <p:spPr>
              <a:xfrm>
                <a:off x="1731737" y="3748562"/>
                <a:ext cx="1983040" cy="1083805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70729" indent="-70729">
                  <a:buFont typeface="Arial" panose="020B0604020202020204" pitchFamily="34" charset="0"/>
                  <a:buChar char="•"/>
                </a:pPr>
                <a:r>
                  <a:rPr lang="nb-NO" sz="1058" dirty="0">
                    <a:solidFill>
                      <a:schemeClr val="bg1"/>
                    </a:solidFill>
                  </a:rPr>
                  <a:t>Lave temperaturer</a:t>
                </a:r>
              </a:p>
              <a:p>
                <a:pPr marL="70729" indent="-70729">
                  <a:buFont typeface="Arial" panose="020B0604020202020204" pitchFamily="34" charset="0"/>
                  <a:buChar char="•"/>
                </a:pPr>
                <a:r>
                  <a:rPr lang="nb-NO" sz="1058" dirty="0">
                    <a:solidFill>
                      <a:schemeClr val="bg1"/>
                    </a:solidFill>
                  </a:rPr>
                  <a:t>Mye snø og is</a:t>
                </a:r>
              </a:p>
              <a:p>
                <a:pPr marL="70729" indent="-70729">
                  <a:buFont typeface="Arial" panose="020B0604020202020204" pitchFamily="34" charset="0"/>
                  <a:buChar char="•"/>
                </a:pPr>
                <a:r>
                  <a:rPr lang="nb-NO" sz="1058" dirty="0">
                    <a:solidFill>
                      <a:schemeClr val="bg1"/>
                    </a:solidFill>
                  </a:rPr>
                  <a:t>Lite dagslys 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731791" y="3756682"/>
                <a:ext cx="937326" cy="1083805"/>
              </a:xfrm>
              <a:prstGeom prst="rect">
                <a:avLst/>
              </a:prstGeom>
              <a:noFill/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208" dirty="0" err="1"/>
              </a:p>
            </p:txBody>
          </p:sp>
        </p:grpSp>
        <p:sp>
          <p:nvSpPr>
            <p:cNvPr id="66" name="Isosceles Triangle 65"/>
            <p:cNvSpPr/>
            <p:nvPr/>
          </p:nvSpPr>
          <p:spPr>
            <a:xfrm rot="5400000">
              <a:off x="1655732" y="2952044"/>
              <a:ext cx="2315469" cy="217485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 err="1"/>
            </a:p>
          </p:txBody>
        </p:sp>
        <p:sp>
          <p:nvSpPr>
            <p:cNvPr id="96" name="Isosceles Triangle 95"/>
            <p:cNvSpPr/>
            <p:nvPr/>
          </p:nvSpPr>
          <p:spPr>
            <a:xfrm rot="5400000">
              <a:off x="5300421" y="2945416"/>
              <a:ext cx="2315469" cy="217485"/>
            </a:xfrm>
            <a:prstGeom prst="triangle">
              <a:avLst/>
            </a:prstGeom>
            <a:solidFill>
              <a:schemeClr val="accent1"/>
            </a:solidFill>
            <a:ln w="952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 err="1"/>
            </a:p>
          </p:txBody>
        </p:sp>
        <p:cxnSp>
          <p:nvCxnSpPr>
            <p:cNvPr id="103" name="Straight Connector 102"/>
            <p:cNvCxnSpPr/>
            <p:nvPr/>
          </p:nvCxnSpPr>
          <p:spPr bwMode="auto">
            <a:xfrm>
              <a:off x="323143" y="1558256"/>
              <a:ext cx="2272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solid"/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 bwMode="auto">
            <a:xfrm>
              <a:off x="2976581" y="1558256"/>
              <a:ext cx="3242350" cy="0"/>
            </a:xfrm>
            <a:prstGeom prst="line">
              <a:avLst/>
            </a:prstGeom>
            <a:ln w="6350">
              <a:solidFill>
                <a:schemeClr val="tx1"/>
              </a:solidFill>
              <a:prstDash val="solid"/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 bwMode="auto">
            <a:xfrm>
              <a:off x="6673828" y="1558256"/>
              <a:ext cx="2272839" cy="0"/>
            </a:xfrm>
            <a:prstGeom prst="line">
              <a:avLst/>
            </a:prstGeom>
            <a:ln w="6350">
              <a:solidFill>
                <a:schemeClr val="tx1"/>
              </a:solidFill>
              <a:prstDash val="solid"/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/>
          </p:nvSpPr>
          <p:spPr>
            <a:xfrm>
              <a:off x="291574" y="1058542"/>
              <a:ext cx="2669422" cy="510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359" b="1" dirty="0"/>
                <a:t>Klima, topografi, lokal produksjon…</a:t>
              </a: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2976581" y="1020675"/>
              <a:ext cx="3356322" cy="510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359" b="1" dirty="0"/>
                <a:t>…øker kostnaden til utbygging og drift av nett  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6713501" y="1162034"/>
              <a:ext cx="2283594" cy="301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359" b="1" dirty="0"/>
                <a:t>…og kostnad per kunde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316781" y="3403739"/>
              <a:ext cx="2335909" cy="930342"/>
              <a:chOff x="731791" y="3748562"/>
              <a:chExt cx="2982986" cy="1091925"/>
            </a:xfrm>
          </p:grpSpPr>
          <p:sp>
            <p:nvSpPr>
              <p:cNvPr id="26" name="Rectangle 25"/>
              <p:cNvSpPr/>
              <p:nvPr/>
            </p:nvSpPr>
            <p:spPr>
              <a:xfrm>
                <a:off x="1731737" y="3748562"/>
                <a:ext cx="1983040" cy="1083805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15782" indent="-215782">
                  <a:buFont typeface="Arial" panose="020B0604020202020204" pitchFamily="34" charset="0"/>
                  <a:buChar char="•"/>
                </a:pPr>
                <a:endParaRPr lang="nb-NO" sz="10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731791" y="3756682"/>
                <a:ext cx="937326" cy="1083805"/>
              </a:xfrm>
              <a:prstGeom prst="rect">
                <a:avLst/>
              </a:prstGeom>
              <a:noFill/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208" dirty="0" err="1"/>
              </a:p>
            </p:txBody>
          </p:sp>
        </p:grpSp>
        <p:sp>
          <p:nvSpPr>
            <p:cNvPr id="3" name="Rectangle 2"/>
            <p:cNvSpPr/>
            <p:nvPr/>
          </p:nvSpPr>
          <p:spPr>
            <a:xfrm>
              <a:off x="1100770" y="3443195"/>
              <a:ext cx="1455161" cy="9063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0729" indent="-70729">
                <a:buFont typeface="Arial" panose="020B0604020202020204" pitchFamily="34" charset="0"/>
                <a:buChar char="•"/>
              </a:pPr>
              <a:r>
                <a:rPr lang="nb-NO" sz="1058" dirty="0">
                  <a:solidFill>
                    <a:schemeClr val="bg1"/>
                  </a:solidFill>
                </a:rPr>
                <a:t>Høy produksjon </a:t>
              </a:r>
              <a:r>
                <a:rPr lang="nb-NO" sz="1058" dirty="0">
                  <a:solidFill>
                    <a:schemeClr val="bg1"/>
                  </a:solidFill>
                  <a:sym typeface="Wingdings" panose="05000000000000000000" pitchFamily="2" charset="2"/>
                </a:rPr>
                <a:t></a:t>
              </a:r>
              <a:r>
                <a:rPr lang="nb-NO" sz="1058" dirty="0">
                  <a:solidFill>
                    <a:schemeClr val="bg1"/>
                  </a:solidFill>
                </a:rPr>
                <a:t> lav sentralnetts-kostnad</a:t>
              </a:r>
            </a:p>
            <a:p>
              <a:pPr marL="70729" indent="-70729">
                <a:buFont typeface="Arial" panose="020B0604020202020204" pitchFamily="34" charset="0"/>
                <a:buChar char="•"/>
              </a:pPr>
              <a:r>
                <a:rPr lang="nb-NO" sz="1058" dirty="0">
                  <a:solidFill>
                    <a:schemeClr val="bg1"/>
                  </a:solidFill>
                </a:rPr>
                <a:t>Nettutbygging til produksjon 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3EEA6880-B867-41FF-ABFB-0BF75A222A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5232" y="1987606"/>
            <a:ext cx="627707" cy="5980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7BA5512-3BFB-4AAD-A6CE-9804BE8703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3673" y="2781224"/>
            <a:ext cx="578902" cy="6448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BA4796D-4C03-4146-A18B-86810FE382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8263" y="3617909"/>
            <a:ext cx="315151" cy="45598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7072975-3FE4-4749-850A-0C9212C5832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287" t="-5067" r="27" b="5067"/>
          <a:stretch/>
        </p:blipFill>
        <p:spPr>
          <a:xfrm>
            <a:off x="719085" y="3656292"/>
            <a:ext cx="343418" cy="3792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A33809-3317-4258-8D07-8F9E6FC553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40005" y="2496823"/>
            <a:ext cx="2191568" cy="139093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940DEA7-B316-422F-B236-55E3AD8F68A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1804" y="4063352"/>
            <a:ext cx="459976" cy="38203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845342-39AD-47DE-B109-422BB65D9259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3828" r="9678"/>
          <a:stretch/>
        </p:blipFill>
        <p:spPr>
          <a:xfrm>
            <a:off x="7964834" y="95242"/>
            <a:ext cx="1171215" cy="81304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828AA9E-3C85-4329-93F6-DE78D7DFCAB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999" r="12026"/>
          <a:stretch/>
        </p:blipFill>
        <p:spPr>
          <a:xfrm>
            <a:off x="3009951" y="1987606"/>
            <a:ext cx="3255807" cy="244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4872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9856D0D-FAB5-4390-BE70-19B20C761E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5430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5" name="think-cell Slide" r:id="rId25" imgW="663" imgH="664" progId="TCLayout.ActiveDocument.1">
                  <p:embed/>
                </p:oleObj>
              </mc:Choice>
              <mc:Fallback>
                <p:oleObj name="think-cell Slide" r:id="rId2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9340B4-E067-48F0-8D28-98D8FD756D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927" y="137900"/>
            <a:ext cx="6952419" cy="745656"/>
          </a:xfrm>
        </p:spPr>
        <p:txBody>
          <a:bodyPr>
            <a:noAutofit/>
          </a:bodyPr>
          <a:lstStyle/>
          <a:p>
            <a:r>
              <a:rPr lang="nb-NO" sz="2400" dirty="0"/>
              <a:t>Spredt bosetting krever mer nett</a:t>
            </a:r>
            <a:r>
              <a:rPr lang="nb-NO" sz="2400"/>
              <a:t>, kostnaden per kunde øker med få kunder</a:t>
            </a:r>
            <a:endParaRPr lang="nb-NO" sz="24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252788" y="4812481"/>
            <a:ext cx="8376013" cy="188908"/>
          </a:xfrm>
        </p:spPr>
        <p:txBody>
          <a:bodyPr/>
          <a:lstStyle/>
          <a:p>
            <a:r>
              <a:rPr lang="nb-NO" dirty="0"/>
              <a:t>Kilde: E-rapp (2017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2929" y="1745184"/>
            <a:ext cx="1467308" cy="56746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029" dirty="0"/>
              <a:t>Norske nettselskap har i snitt 113 meter nett per kunde</a:t>
            </a:r>
            <a:endParaRPr lang="en-US" sz="1029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218994" y="2377521"/>
            <a:ext cx="2265602" cy="142488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 bwMode="auto">
          <a:xfrm>
            <a:off x="6218994" y="2033313"/>
            <a:ext cx="2272839" cy="0"/>
          </a:xfrm>
          <a:prstGeom prst="line">
            <a:avLst/>
          </a:prstGeom>
          <a:ln w="6350">
            <a:solidFill>
              <a:schemeClr val="tx1"/>
            </a:solidFill>
            <a:prstDash val="solid"/>
            <a:headEnd type="none" w="med" len="med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218994" y="1525280"/>
            <a:ext cx="2453462" cy="510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9" b="1" dirty="0"/>
              <a:t>Spredt bosetting gir høyere nettleie per nettkund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3DF23A9-2BD9-488B-B371-086308932B6C}"/>
              </a:ext>
            </a:extLst>
          </p:cNvPr>
          <p:cNvGrpSpPr/>
          <p:nvPr/>
        </p:nvGrpSpPr>
        <p:grpSpPr>
          <a:xfrm>
            <a:off x="1247865" y="965067"/>
            <a:ext cx="4548247" cy="4108518"/>
            <a:chOff x="967650" y="928197"/>
            <a:chExt cx="4548247" cy="4108518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8BC2C8F-3A37-401B-AB04-43D4F0D9BE22}"/>
                </a:ext>
              </a:extLst>
            </p:cNvPr>
            <p:cNvGrpSpPr/>
            <p:nvPr/>
          </p:nvGrpSpPr>
          <p:grpSpPr>
            <a:xfrm>
              <a:off x="967650" y="928197"/>
              <a:ext cx="4548247" cy="4108518"/>
              <a:chOff x="886534" y="374288"/>
              <a:chExt cx="5086700" cy="4482556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9EB79A2-82ED-4A74-84DD-A68FDF26938F}"/>
                  </a:ext>
                </a:extLst>
              </p:cNvPr>
              <p:cNvGrpSpPr/>
              <p:nvPr/>
            </p:nvGrpSpPr>
            <p:grpSpPr>
              <a:xfrm>
                <a:off x="1773158" y="374288"/>
                <a:ext cx="3522411" cy="4138517"/>
                <a:chOff x="1773158" y="374288"/>
                <a:chExt cx="3522411" cy="4138517"/>
              </a:xfrm>
            </p:grpSpPr>
            <p:sp>
              <p:nvSpPr>
                <p:cNvPr id="26" name="Freeform 2">
                  <a:extLst>
                    <a:ext uri="{FF2B5EF4-FFF2-40B4-BE49-F238E27FC236}">
                      <a16:creationId xmlns:a16="http://schemas.microsoft.com/office/drawing/2014/main" id="{E8898876-E016-4C20-817B-7ACAA88F47F7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4"/>
                  </p:custDataLst>
                </p:nvPr>
              </p:nvSpPr>
              <p:spPr>
                <a:xfrm>
                  <a:off x="4210412" y="374288"/>
                  <a:ext cx="1085157" cy="8568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70931" h="924614">
                      <a:moveTo>
                        <a:pt x="1024286" y="368013"/>
                      </a:moveTo>
                      <a:lnTo>
                        <a:pt x="1036047" y="370021"/>
                      </a:lnTo>
                      <a:lnTo>
                        <a:pt x="1039341" y="372287"/>
                      </a:lnTo>
                      <a:lnTo>
                        <a:pt x="1040199" y="374111"/>
                      </a:lnTo>
                      <a:lnTo>
                        <a:pt x="1040907" y="378833"/>
                      </a:lnTo>
                      <a:lnTo>
                        <a:pt x="1041966" y="381608"/>
                      </a:lnTo>
                      <a:lnTo>
                        <a:pt x="1042731" y="382520"/>
                      </a:lnTo>
                      <a:lnTo>
                        <a:pt x="1046102" y="385385"/>
                      </a:lnTo>
                      <a:lnTo>
                        <a:pt x="1046184" y="386974"/>
                      </a:lnTo>
                      <a:lnTo>
                        <a:pt x="1046580" y="390970"/>
                      </a:lnTo>
                      <a:lnTo>
                        <a:pt x="1046631" y="392509"/>
                      </a:lnTo>
                      <a:lnTo>
                        <a:pt x="1055689" y="389977"/>
                      </a:lnTo>
                      <a:lnTo>
                        <a:pt x="1056975" y="391789"/>
                      </a:lnTo>
                      <a:lnTo>
                        <a:pt x="1055449" y="396149"/>
                      </a:lnTo>
                      <a:lnTo>
                        <a:pt x="1052385" y="399379"/>
                      </a:lnTo>
                      <a:lnTo>
                        <a:pt x="1043548" y="404415"/>
                      </a:lnTo>
                      <a:lnTo>
                        <a:pt x="1039237" y="411723"/>
                      </a:lnTo>
                      <a:lnTo>
                        <a:pt x="1036767" y="413911"/>
                      </a:lnTo>
                      <a:lnTo>
                        <a:pt x="1034040" y="412907"/>
                      </a:lnTo>
                      <a:lnTo>
                        <a:pt x="1031127" y="410204"/>
                      </a:lnTo>
                      <a:lnTo>
                        <a:pt x="1028597" y="408630"/>
                      </a:lnTo>
                      <a:lnTo>
                        <a:pt x="1027059" y="410979"/>
                      </a:lnTo>
                      <a:lnTo>
                        <a:pt x="1029668" y="414357"/>
                      </a:lnTo>
                      <a:lnTo>
                        <a:pt x="1028821" y="418205"/>
                      </a:lnTo>
                      <a:lnTo>
                        <a:pt x="1025350" y="423546"/>
                      </a:lnTo>
                      <a:lnTo>
                        <a:pt x="1015165" y="422897"/>
                      </a:lnTo>
                      <a:lnTo>
                        <a:pt x="1015987" y="413310"/>
                      </a:lnTo>
                      <a:lnTo>
                        <a:pt x="1021682" y="401467"/>
                      </a:lnTo>
                      <a:lnTo>
                        <a:pt x="1023860" y="394756"/>
                      </a:lnTo>
                      <a:lnTo>
                        <a:pt x="1019493" y="385982"/>
                      </a:lnTo>
                      <a:lnTo>
                        <a:pt x="1018693" y="377266"/>
                      </a:lnTo>
                      <a:lnTo>
                        <a:pt x="1020592" y="370608"/>
                      </a:lnTo>
                      <a:close/>
                      <a:moveTo>
                        <a:pt x="52349" y="326633"/>
                      </a:moveTo>
                      <a:lnTo>
                        <a:pt x="54492" y="328752"/>
                      </a:lnTo>
                      <a:lnTo>
                        <a:pt x="55590" y="330234"/>
                      </a:lnTo>
                      <a:lnTo>
                        <a:pt x="62373" y="336794"/>
                      </a:lnTo>
                      <a:lnTo>
                        <a:pt x="63363" y="340521"/>
                      </a:lnTo>
                      <a:lnTo>
                        <a:pt x="63254" y="348723"/>
                      </a:lnTo>
                      <a:lnTo>
                        <a:pt x="60679" y="361545"/>
                      </a:lnTo>
                      <a:lnTo>
                        <a:pt x="59131" y="365950"/>
                      </a:lnTo>
                      <a:lnTo>
                        <a:pt x="57233" y="369375"/>
                      </a:lnTo>
                      <a:lnTo>
                        <a:pt x="55458" y="371162"/>
                      </a:lnTo>
                      <a:lnTo>
                        <a:pt x="54052" y="370627"/>
                      </a:lnTo>
                      <a:lnTo>
                        <a:pt x="52288" y="367723"/>
                      </a:lnTo>
                      <a:lnTo>
                        <a:pt x="50499" y="362874"/>
                      </a:lnTo>
                      <a:lnTo>
                        <a:pt x="50242" y="355092"/>
                      </a:lnTo>
                      <a:lnTo>
                        <a:pt x="50792" y="345343"/>
                      </a:lnTo>
                      <a:lnTo>
                        <a:pt x="50417" y="338747"/>
                      </a:lnTo>
                      <a:lnTo>
                        <a:pt x="49688" y="335582"/>
                      </a:lnTo>
                      <a:lnTo>
                        <a:pt x="49987" y="333705"/>
                      </a:lnTo>
                      <a:lnTo>
                        <a:pt x="50531" y="333291"/>
                      </a:lnTo>
                      <a:lnTo>
                        <a:pt x="51090" y="332990"/>
                      </a:lnTo>
                      <a:lnTo>
                        <a:pt x="51593" y="331030"/>
                      </a:lnTo>
                      <a:lnTo>
                        <a:pt x="51411" y="327675"/>
                      </a:lnTo>
                      <a:close/>
                      <a:moveTo>
                        <a:pt x="163634" y="315587"/>
                      </a:moveTo>
                      <a:lnTo>
                        <a:pt x="165422" y="317099"/>
                      </a:lnTo>
                      <a:lnTo>
                        <a:pt x="166296" y="319991"/>
                      </a:lnTo>
                      <a:lnTo>
                        <a:pt x="166893" y="327782"/>
                      </a:lnTo>
                      <a:lnTo>
                        <a:pt x="167407" y="331155"/>
                      </a:lnTo>
                      <a:lnTo>
                        <a:pt x="169925" y="336542"/>
                      </a:lnTo>
                      <a:lnTo>
                        <a:pt x="171501" y="333768"/>
                      </a:lnTo>
                      <a:lnTo>
                        <a:pt x="171799" y="326669"/>
                      </a:lnTo>
                      <a:lnTo>
                        <a:pt x="170418" y="319109"/>
                      </a:lnTo>
                      <a:lnTo>
                        <a:pt x="173202" y="316198"/>
                      </a:lnTo>
                      <a:lnTo>
                        <a:pt x="176243" y="318991"/>
                      </a:lnTo>
                      <a:lnTo>
                        <a:pt x="178874" y="325492"/>
                      </a:lnTo>
                      <a:lnTo>
                        <a:pt x="180381" y="333904"/>
                      </a:lnTo>
                      <a:lnTo>
                        <a:pt x="183208" y="336628"/>
                      </a:lnTo>
                      <a:lnTo>
                        <a:pt x="198365" y="338382"/>
                      </a:lnTo>
                      <a:lnTo>
                        <a:pt x="197274" y="339219"/>
                      </a:lnTo>
                      <a:lnTo>
                        <a:pt x="196335" y="340747"/>
                      </a:lnTo>
                      <a:lnTo>
                        <a:pt x="195565" y="342938"/>
                      </a:lnTo>
                      <a:lnTo>
                        <a:pt x="194997" y="345750"/>
                      </a:lnTo>
                      <a:lnTo>
                        <a:pt x="197528" y="347080"/>
                      </a:lnTo>
                      <a:lnTo>
                        <a:pt x="200266" y="347691"/>
                      </a:lnTo>
                      <a:lnTo>
                        <a:pt x="203029" y="349157"/>
                      </a:lnTo>
                      <a:lnTo>
                        <a:pt x="205683" y="353169"/>
                      </a:lnTo>
                      <a:lnTo>
                        <a:pt x="207392" y="358500"/>
                      </a:lnTo>
                      <a:lnTo>
                        <a:pt x="207379" y="362195"/>
                      </a:lnTo>
                      <a:lnTo>
                        <a:pt x="205801" y="364102"/>
                      </a:lnTo>
                      <a:lnTo>
                        <a:pt x="174135" y="363958"/>
                      </a:lnTo>
                      <a:lnTo>
                        <a:pt x="139834" y="354584"/>
                      </a:lnTo>
                      <a:lnTo>
                        <a:pt x="131532" y="343308"/>
                      </a:lnTo>
                      <a:lnTo>
                        <a:pt x="130485" y="341228"/>
                      </a:lnTo>
                      <a:lnTo>
                        <a:pt x="130680" y="336014"/>
                      </a:lnTo>
                      <a:lnTo>
                        <a:pt x="132604" y="332126"/>
                      </a:lnTo>
                      <a:lnTo>
                        <a:pt x="135223" y="330570"/>
                      </a:lnTo>
                      <a:lnTo>
                        <a:pt x="137473" y="332337"/>
                      </a:lnTo>
                      <a:lnTo>
                        <a:pt x="139389" y="335845"/>
                      </a:lnTo>
                      <a:lnTo>
                        <a:pt x="141486" y="338579"/>
                      </a:lnTo>
                      <a:lnTo>
                        <a:pt x="145878" y="342469"/>
                      </a:lnTo>
                      <a:lnTo>
                        <a:pt x="141886" y="334943"/>
                      </a:lnTo>
                      <a:lnTo>
                        <a:pt x="141114" y="333140"/>
                      </a:lnTo>
                      <a:lnTo>
                        <a:pt x="140494" y="327943"/>
                      </a:lnTo>
                      <a:lnTo>
                        <a:pt x="140841" y="323745"/>
                      </a:lnTo>
                      <a:lnTo>
                        <a:pt x="142062" y="322204"/>
                      </a:lnTo>
                      <a:lnTo>
                        <a:pt x="147773" y="328798"/>
                      </a:lnTo>
                      <a:lnTo>
                        <a:pt x="152567" y="322266"/>
                      </a:lnTo>
                      <a:lnTo>
                        <a:pt x="155879" y="327301"/>
                      </a:lnTo>
                      <a:lnTo>
                        <a:pt x="156156" y="322671"/>
                      </a:lnTo>
                      <a:lnTo>
                        <a:pt x="157497" y="320158"/>
                      </a:lnTo>
                      <a:lnTo>
                        <a:pt x="159172" y="320594"/>
                      </a:lnTo>
                      <a:lnTo>
                        <a:pt x="160449" y="324796"/>
                      </a:lnTo>
                      <a:lnTo>
                        <a:pt x="161261" y="324734"/>
                      </a:lnTo>
                      <a:lnTo>
                        <a:pt x="161222" y="320128"/>
                      </a:lnTo>
                      <a:lnTo>
                        <a:pt x="162131" y="316845"/>
                      </a:lnTo>
                      <a:close/>
                      <a:moveTo>
                        <a:pt x="250194" y="230102"/>
                      </a:moveTo>
                      <a:lnTo>
                        <a:pt x="252387" y="232698"/>
                      </a:lnTo>
                      <a:lnTo>
                        <a:pt x="254564" y="234605"/>
                      </a:lnTo>
                      <a:lnTo>
                        <a:pt x="258627" y="231344"/>
                      </a:lnTo>
                      <a:lnTo>
                        <a:pt x="260737" y="233125"/>
                      </a:lnTo>
                      <a:lnTo>
                        <a:pt x="259392" y="235618"/>
                      </a:lnTo>
                      <a:lnTo>
                        <a:pt x="260630" y="238498"/>
                      </a:lnTo>
                      <a:lnTo>
                        <a:pt x="265027" y="244573"/>
                      </a:lnTo>
                      <a:lnTo>
                        <a:pt x="264674" y="249221"/>
                      </a:lnTo>
                      <a:lnTo>
                        <a:pt x="264143" y="253292"/>
                      </a:lnTo>
                      <a:lnTo>
                        <a:pt x="263832" y="257202"/>
                      </a:lnTo>
                      <a:lnTo>
                        <a:pt x="264163" y="261237"/>
                      </a:lnTo>
                      <a:lnTo>
                        <a:pt x="265941" y="266210"/>
                      </a:lnTo>
                      <a:lnTo>
                        <a:pt x="268315" y="267474"/>
                      </a:lnTo>
                      <a:lnTo>
                        <a:pt x="271010" y="267818"/>
                      </a:lnTo>
                      <a:lnTo>
                        <a:pt x="273769" y="270032"/>
                      </a:lnTo>
                      <a:lnTo>
                        <a:pt x="273081" y="271141"/>
                      </a:lnTo>
                      <a:lnTo>
                        <a:pt x="271765" y="274002"/>
                      </a:lnTo>
                      <a:lnTo>
                        <a:pt x="271003" y="275031"/>
                      </a:lnTo>
                      <a:lnTo>
                        <a:pt x="272117" y="277117"/>
                      </a:lnTo>
                      <a:lnTo>
                        <a:pt x="274446" y="280445"/>
                      </a:lnTo>
                      <a:lnTo>
                        <a:pt x="275586" y="281495"/>
                      </a:lnTo>
                      <a:lnTo>
                        <a:pt x="273393" y="292907"/>
                      </a:lnTo>
                      <a:lnTo>
                        <a:pt x="269312" y="300990"/>
                      </a:lnTo>
                      <a:lnTo>
                        <a:pt x="249974" y="324298"/>
                      </a:lnTo>
                      <a:lnTo>
                        <a:pt x="239953" y="328990"/>
                      </a:lnTo>
                      <a:lnTo>
                        <a:pt x="237157" y="332746"/>
                      </a:lnTo>
                      <a:lnTo>
                        <a:pt x="239618" y="332265"/>
                      </a:lnTo>
                      <a:lnTo>
                        <a:pt x="242622" y="332651"/>
                      </a:lnTo>
                      <a:lnTo>
                        <a:pt x="245564" y="334030"/>
                      </a:lnTo>
                      <a:lnTo>
                        <a:pt x="247951" y="336529"/>
                      </a:lnTo>
                      <a:lnTo>
                        <a:pt x="229829" y="350435"/>
                      </a:lnTo>
                      <a:lnTo>
                        <a:pt x="222861" y="352920"/>
                      </a:lnTo>
                      <a:lnTo>
                        <a:pt x="216823" y="351368"/>
                      </a:lnTo>
                      <a:lnTo>
                        <a:pt x="213649" y="345258"/>
                      </a:lnTo>
                      <a:lnTo>
                        <a:pt x="213488" y="336021"/>
                      </a:lnTo>
                      <a:lnTo>
                        <a:pt x="215671" y="325103"/>
                      </a:lnTo>
                      <a:lnTo>
                        <a:pt x="216821" y="321029"/>
                      </a:lnTo>
                      <a:lnTo>
                        <a:pt x="217370" y="315947"/>
                      </a:lnTo>
                      <a:lnTo>
                        <a:pt x="217233" y="310627"/>
                      </a:lnTo>
                      <a:lnTo>
                        <a:pt x="216407" y="305902"/>
                      </a:lnTo>
                      <a:lnTo>
                        <a:pt x="211120" y="325230"/>
                      </a:lnTo>
                      <a:lnTo>
                        <a:pt x="207487" y="332146"/>
                      </a:lnTo>
                      <a:lnTo>
                        <a:pt x="203691" y="329527"/>
                      </a:lnTo>
                      <a:lnTo>
                        <a:pt x="201966" y="326990"/>
                      </a:lnTo>
                      <a:lnTo>
                        <a:pt x="200163" y="326559"/>
                      </a:lnTo>
                      <a:lnTo>
                        <a:pt x="198363" y="326960"/>
                      </a:lnTo>
                      <a:lnTo>
                        <a:pt x="196591" y="326682"/>
                      </a:lnTo>
                      <a:lnTo>
                        <a:pt x="195268" y="325393"/>
                      </a:lnTo>
                      <a:lnTo>
                        <a:pt x="186308" y="312622"/>
                      </a:lnTo>
                      <a:lnTo>
                        <a:pt x="184150" y="310920"/>
                      </a:lnTo>
                      <a:lnTo>
                        <a:pt x="187075" y="308457"/>
                      </a:lnTo>
                      <a:lnTo>
                        <a:pt x="194130" y="310341"/>
                      </a:lnTo>
                      <a:lnTo>
                        <a:pt x="196468" y="305188"/>
                      </a:lnTo>
                      <a:lnTo>
                        <a:pt x="191087" y="302325"/>
                      </a:lnTo>
                      <a:lnTo>
                        <a:pt x="189701" y="301013"/>
                      </a:lnTo>
                      <a:lnTo>
                        <a:pt x="187843" y="297313"/>
                      </a:lnTo>
                      <a:lnTo>
                        <a:pt x="187921" y="295615"/>
                      </a:lnTo>
                      <a:lnTo>
                        <a:pt x="190678" y="293616"/>
                      </a:lnTo>
                      <a:lnTo>
                        <a:pt x="192172" y="291802"/>
                      </a:lnTo>
                      <a:lnTo>
                        <a:pt x="192959" y="291260"/>
                      </a:lnTo>
                      <a:lnTo>
                        <a:pt x="194013" y="290976"/>
                      </a:lnTo>
                      <a:lnTo>
                        <a:pt x="194573" y="290211"/>
                      </a:lnTo>
                      <a:lnTo>
                        <a:pt x="194797" y="288585"/>
                      </a:lnTo>
                      <a:lnTo>
                        <a:pt x="194878" y="286167"/>
                      </a:lnTo>
                      <a:lnTo>
                        <a:pt x="195846" y="285877"/>
                      </a:lnTo>
                      <a:lnTo>
                        <a:pt x="198050" y="286132"/>
                      </a:lnTo>
                      <a:lnTo>
                        <a:pt x="198819" y="285844"/>
                      </a:lnTo>
                      <a:lnTo>
                        <a:pt x="199350" y="284405"/>
                      </a:lnTo>
                      <a:lnTo>
                        <a:pt x="200065" y="280018"/>
                      </a:lnTo>
                      <a:lnTo>
                        <a:pt x="200589" y="278621"/>
                      </a:lnTo>
                      <a:lnTo>
                        <a:pt x="212066" y="269511"/>
                      </a:lnTo>
                      <a:lnTo>
                        <a:pt x="214232" y="271558"/>
                      </a:lnTo>
                      <a:lnTo>
                        <a:pt x="215808" y="276896"/>
                      </a:lnTo>
                      <a:lnTo>
                        <a:pt x="218272" y="275164"/>
                      </a:lnTo>
                      <a:lnTo>
                        <a:pt x="221061" y="271118"/>
                      </a:lnTo>
                      <a:lnTo>
                        <a:pt x="223555" y="269550"/>
                      </a:lnTo>
                      <a:lnTo>
                        <a:pt x="223368" y="267421"/>
                      </a:lnTo>
                      <a:lnTo>
                        <a:pt x="220630" y="265865"/>
                      </a:lnTo>
                      <a:lnTo>
                        <a:pt x="218052" y="262784"/>
                      </a:lnTo>
                      <a:lnTo>
                        <a:pt x="217154" y="259716"/>
                      </a:lnTo>
                      <a:lnTo>
                        <a:pt x="219413" y="258098"/>
                      </a:lnTo>
                      <a:lnTo>
                        <a:pt x="221526" y="258354"/>
                      </a:lnTo>
                      <a:lnTo>
                        <a:pt x="224569" y="259759"/>
                      </a:lnTo>
                      <a:lnTo>
                        <a:pt x="227439" y="262812"/>
                      </a:lnTo>
                      <a:lnTo>
                        <a:pt x="229022" y="268021"/>
                      </a:lnTo>
                      <a:lnTo>
                        <a:pt x="228962" y="273091"/>
                      </a:lnTo>
                      <a:lnTo>
                        <a:pt x="228600" y="278058"/>
                      </a:lnTo>
                      <a:lnTo>
                        <a:pt x="228989" y="281820"/>
                      </a:lnTo>
                      <a:lnTo>
                        <a:pt x="231155" y="283114"/>
                      </a:lnTo>
                      <a:lnTo>
                        <a:pt x="232397" y="280509"/>
                      </a:lnTo>
                      <a:lnTo>
                        <a:pt x="233574" y="268302"/>
                      </a:lnTo>
                      <a:lnTo>
                        <a:pt x="234987" y="263849"/>
                      </a:lnTo>
                      <a:lnTo>
                        <a:pt x="232370" y="262736"/>
                      </a:lnTo>
                      <a:lnTo>
                        <a:pt x="231394" y="260028"/>
                      </a:lnTo>
                      <a:lnTo>
                        <a:pt x="232236" y="257428"/>
                      </a:lnTo>
                      <a:lnTo>
                        <a:pt x="235140" y="256738"/>
                      </a:lnTo>
                      <a:lnTo>
                        <a:pt x="237590" y="258216"/>
                      </a:lnTo>
                      <a:lnTo>
                        <a:pt x="241893" y="262662"/>
                      </a:lnTo>
                      <a:lnTo>
                        <a:pt x="244405" y="263019"/>
                      </a:lnTo>
                      <a:lnTo>
                        <a:pt x="242393" y="259443"/>
                      </a:lnTo>
                      <a:lnTo>
                        <a:pt x="241623" y="258538"/>
                      </a:lnTo>
                      <a:lnTo>
                        <a:pt x="243937" y="252491"/>
                      </a:lnTo>
                      <a:lnTo>
                        <a:pt x="254926" y="257306"/>
                      </a:lnTo>
                      <a:lnTo>
                        <a:pt x="259014" y="256978"/>
                      </a:lnTo>
                      <a:lnTo>
                        <a:pt x="255793" y="252020"/>
                      </a:lnTo>
                      <a:lnTo>
                        <a:pt x="252442" y="248555"/>
                      </a:lnTo>
                      <a:lnTo>
                        <a:pt x="245913" y="244146"/>
                      </a:lnTo>
                      <a:lnTo>
                        <a:pt x="246371" y="242369"/>
                      </a:lnTo>
                      <a:lnTo>
                        <a:pt x="247164" y="238404"/>
                      </a:lnTo>
                      <a:lnTo>
                        <a:pt x="247663" y="236679"/>
                      </a:lnTo>
                      <a:lnTo>
                        <a:pt x="240671" y="234876"/>
                      </a:lnTo>
                      <a:lnTo>
                        <a:pt x="239697" y="233354"/>
                      </a:lnTo>
                      <a:lnTo>
                        <a:pt x="247858" y="230214"/>
                      </a:lnTo>
                      <a:close/>
                      <a:moveTo>
                        <a:pt x="283809" y="183106"/>
                      </a:moveTo>
                      <a:lnTo>
                        <a:pt x="286867" y="185452"/>
                      </a:lnTo>
                      <a:lnTo>
                        <a:pt x="285971" y="188024"/>
                      </a:lnTo>
                      <a:lnTo>
                        <a:pt x="285954" y="190143"/>
                      </a:lnTo>
                      <a:lnTo>
                        <a:pt x="286777" y="191674"/>
                      </a:lnTo>
                      <a:lnTo>
                        <a:pt x="288337" y="192427"/>
                      </a:lnTo>
                      <a:lnTo>
                        <a:pt x="287755" y="194685"/>
                      </a:lnTo>
                      <a:lnTo>
                        <a:pt x="287294" y="196085"/>
                      </a:lnTo>
                      <a:lnTo>
                        <a:pt x="286662" y="196894"/>
                      </a:lnTo>
                      <a:lnTo>
                        <a:pt x="285611" y="197431"/>
                      </a:lnTo>
                      <a:lnTo>
                        <a:pt x="287260" y="199365"/>
                      </a:lnTo>
                      <a:lnTo>
                        <a:pt x="288571" y="198999"/>
                      </a:lnTo>
                      <a:lnTo>
                        <a:pt x="289775" y="197740"/>
                      </a:lnTo>
                      <a:lnTo>
                        <a:pt x="291133" y="196902"/>
                      </a:lnTo>
                      <a:lnTo>
                        <a:pt x="302082" y="195840"/>
                      </a:lnTo>
                      <a:lnTo>
                        <a:pt x="303750" y="196524"/>
                      </a:lnTo>
                      <a:lnTo>
                        <a:pt x="310630" y="202104"/>
                      </a:lnTo>
                      <a:lnTo>
                        <a:pt x="312043" y="203841"/>
                      </a:lnTo>
                      <a:lnTo>
                        <a:pt x="313264" y="205910"/>
                      </a:lnTo>
                      <a:lnTo>
                        <a:pt x="314387" y="208384"/>
                      </a:lnTo>
                      <a:lnTo>
                        <a:pt x="315503" y="211323"/>
                      </a:lnTo>
                      <a:lnTo>
                        <a:pt x="315833" y="216502"/>
                      </a:lnTo>
                      <a:lnTo>
                        <a:pt x="318245" y="219723"/>
                      </a:lnTo>
                      <a:lnTo>
                        <a:pt x="323967" y="224686"/>
                      </a:lnTo>
                      <a:lnTo>
                        <a:pt x="322000" y="235761"/>
                      </a:lnTo>
                      <a:lnTo>
                        <a:pt x="312497" y="243963"/>
                      </a:lnTo>
                      <a:lnTo>
                        <a:pt x="304478" y="260198"/>
                      </a:lnTo>
                      <a:lnTo>
                        <a:pt x="297835" y="264611"/>
                      </a:lnTo>
                      <a:lnTo>
                        <a:pt x="290478" y="264989"/>
                      </a:lnTo>
                      <a:lnTo>
                        <a:pt x="284012" y="261959"/>
                      </a:lnTo>
                      <a:lnTo>
                        <a:pt x="282067" y="257640"/>
                      </a:lnTo>
                      <a:lnTo>
                        <a:pt x="278145" y="250568"/>
                      </a:lnTo>
                      <a:lnTo>
                        <a:pt x="276241" y="246117"/>
                      </a:lnTo>
                      <a:lnTo>
                        <a:pt x="275790" y="243872"/>
                      </a:lnTo>
                      <a:lnTo>
                        <a:pt x="275369" y="240651"/>
                      </a:lnTo>
                      <a:lnTo>
                        <a:pt x="274872" y="237818"/>
                      </a:lnTo>
                      <a:lnTo>
                        <a:pt x="274148" y="236628"/>
                      </a:lnTo>
                      <a:lnTo>
                        <a:pt x="268995" y="237107"/>
                      </a:lnTo>
                      <a:lnTo>
                        <a:pt x="271294" y="232223"/>
                      </a:lnTo>
                      <a:lnTo>
                        <a:pt x="272614" y="227950"/>
                      </a:lnTo>
                      <a:lnTo>
                        <a:pt x="272111" y="224059"/>
                      </a:lnTo>
                      <a:lnTo>
                        <a:pt x="269043" y="220308"/>
                      </a:lnTo>
                      <a:lnTo>
                        <a:pt x="271151" y="217924"/>
                      </a:lnTo>
                      <a:lnTo>
                        <a:pt x="271917" y="216230"/>
                      </a:lnTo>
                      <a:lnTo>
                        <a:pt x="272294" y="213117"/>
                      </a:lnTo>
                      <a:lnTo>
                        <a:pt x="266321" y="207630"/>
                      </a:lnTo>
                      <a:lnTo>
                        <a:pt x="265263" y="205357"/>
                      </a:lnTo>
                      <a:lnTo>
                        <a:pt x="265460" y="201811"/>
                      </a:lnTo>
                      <a:lnTo>
                        <a:pt x="266461" y="199051"/>
                      </a:lnTo>
                      <a:lnTo>
                        <a:pt x="268855" y="194269"/>
                      </a:lnTo>
                      <a:lnTo>
                        <a:pt x="270667" y="187044"/>
                      </a:lnTo>
                      <a:lnTo>
                        <a:pt x="271799" y="185130"/>
                      </a:lnTo>
                      <a:close/>
                      <a:moveTo>
                        <a:pt x="226480" y="148520"/>
                      </a:moveTo>
                      <a:lnTo>
                        <a:pt x="228297" y="149037"/>
                      </a:lnTo>
                      <a:lnTo>
                        <a:pt x="230067" y="150659"/>
                      </a:lnTo>
                      <a:lnTo>
                        <a:pt x="231776" y="153851"/>
                      </a:lnTo>
                      <a:lnTo>
                        <a:pt x="233312" y="156043"/>
                      </a:lnTo>
                      <a:lnTo>
                        <a:pt x="238084" y="160401"/>
                      </a:lnTo>
                      <a:lnTo>
                        <a:pt x="239022" y="160304"/>
                      </a:lnTo>
                      <a:lnTo>
                        <a:pt x="239868" y="165575"/>
                      </a:lnTo>
                      <a:lnTo>
                        <a:pt x="241117" y="168439"/>
                      </a:lnTo>
                      <a:lnTo>
                        <a:pt x="242723" y="169720"/>
                      </a:lnTo>
                      <a:lnTo>
                        <a:pt x="244622" y="170227"/>
                      </a:lnTo>
                      <a:lnTo>
                        <a:pt x="242187" y="173197"/>
                      </a:lnTo>
                      <a:lnTo>
                        <a:pt x="236697" y="173320"/>
                      </a:lnTo>
                      <a:lnTo>
                        <a:pt x="234149" y="176114"/>
                      </a:lnTo>
                      <a:lnTo>
                        <a:pt x="236040" y="178275"/>
                      </a:lnTo>
                      <a:lnTo>
                        <a:pt x="238205" y="179436"/>
                      </a:lnTo>
                      <a:lnTo>
                        <a:pt x="242469" y="180114"/>
                      </a:lnTo>
                      <a:lnTo>
                        <a:pt x="241352" y="181356"/>
                      </a:lnTo>
                      <a:lnTo>
                        <a:pt x="238961" y="181909"/>
                      </a:lnTo>
                      <a:lnTo>
                        <a:pt x="237960" y="182887"/>
                      </a:lnTo>
                      <a:lnTo>
                        <a:pt x="237564" y="184572"/>
                      </a:lnTo>
                      <a:lnTo>
                        <a:pt x="237457" y="188717"/>
                      </a:lnTo>
                      <a:lnTo>
                        <a:pt x="237046" y="190049"/>
                      </a:lnTo>
                      <a:lnTo>
                        <a:pt x="235137" y="190290"/>
                      </a:lnTo>
                      <a:lnTo>
                        <a:pt x="230706" y="187295"/>
                      </a:lnTo>
                      <a:lnTo>
                        <a:pt x="229005" y="188388"/>
                      </a:lnTo>
                      <a:lnTo>
                        <a:pt x="228535" y="191365"/>
                      </a:lnTo>
                      <a:lnTo>
                        <a:pt x="228971" y="199141"/>
                      </a:lnTo>
                      <a:lnTo>
                        <a:pt x="228714" y="202633"/>
                      </a:lnTo>
                      <a:lnTo>
                        <a:pt x="228170" y="202922"/>
                      </a:lnTo>
                      <a:lnTo>
                        <a:pt x="227234" y="202482"/>
                      </a:lnTo>
                      <a:lnTo>
                        <a:pt x="226170" y="202503"/>
                      </a:lnTo>
                      <a:lnTo>
                        <a:pt x="224607" y="205517"/>
                      </a:lnTo>
                      <a:lnTo>
                        <a:pt x="221368" y="208209"/>
                      </a:lnTo>
                      <a:lnTo>
                        <a:pt x="223415" y="211785"/>
                      </a:lnTo>
                      <a:lnTo>
                        <a:pt x="224115" y="212711"/>
                      </a:lnTo>
                      <a:lnTo>
                        <a:pt x="213696" y="211025"/>
                      </a:lnTo>
                      <a:lnTo>
                        <a:pt x="211736" y="209246"/>
                      </a:lnTo>
                      <a:lnTo>
                        <a:pt x="210819" y="209451"/>
                      </a:lnTo>
                      <a:lnTo>
                        <a:pt x="210674" y="215005"/>
                      </a:lnTo>
                      <a:lnTo>
                        <a:pt x="210220" y="216779"/>
                      </a:lnTo>
                      <a:lnTo>
                        <a:pt x="209579" y="218017"/>
                      </a:lnTo>
                      <a:lnTo>
                        <a:pt x="208875" y="218754"/>
                      </a:lnTo>
                      <a:lnTo>
                        <a:pt x="210075" y="221699"/>
                      </a:lnTo>
                      <a:lnTo>
                        <a:pt x="211565" y="222673"/>
                      </a:lnTo>
                      <a:lnTo>
                        <a:pt x="214740" y="222995"/>
                      </a:lnTo>
                      <a:lnTo>
                        <a:pt x="213447" y="224925"/>
                      </a:lnTo>
                      <a:lnTo>
                        <a:pt x="211906" y="230810"/>
                      </a:lnTo>
                      <a:lnTo>
                        <a:pt x="210895" y="232998"/>
                      </a:lnTo>
                      <a:lnTo>
                        <a:pt x="208548" y="233957"/>
                      </a:lnTo>
                      <a:lnTo>
                        <a:pt x="203626" y="232339"/>
                      </a:lnTo>
                      <a:lnTo>
                        <a:pt x="201507" y="233785"/>
                      </a:lnTo>
                      <a:lnTo>
                        <a:pt x="208151" y="237740"/>
                      </a:lnTo>
                      <a:lnTo>
                        <a:pt x="206057" y="247253"/>
                      </a:lnTo>
                      <a:lnTo>
                        <a:pt x="202025" y="245812"/>
                      </a:lnTo>
                      <a:lnTo>
                        <a:pt x="197452" y="241834"/>
                      </a:lnTo>
                      <a:lnTo>
                        <a:pt x="193710" y="243678"/>
                      </a:lnTo>
                      <a:lnTo>
                        <a:pt x="196121" y="244651"/>
                      </a:lnTo>
                      <a:lnTo>
                        <a:pt x="196832" y="248400"/>
                      </a:lnTo>
                      <a:lnTo>
                        <a:pt x="196004" y="252740"/>
                      </a:lnTo>
                      <a:lnTo>
                        <a:pt x="193819" y="255500"/>
                      </a:lnTo>
                      <a:lnTo>
                        <a:pt x="191003" y="255349"/>
                      </a:lnTo>
                      <a:lnTo>
                        <a:pt x="185284" y="251697"/>
                      </a:lnTo>
                      <a:lnTo>
                        <a:pt x="182407" y="251688"/>
                      </a:lnTo>
                      <a:lnTo>
                        <a:pt x="182618" y="254251"/>
                      </a:lnTo>
                      <a:lnTo>
                        <a:pt x="189325" y="258235"/>
                      </a:lnTo>
                      <a:lnTo>
                        <a:pt x="188313" y="261350"/>
                      </a:lnTo>
                      <a:lnTo>
                        <a:pt x="187194" y="263526"/>
                      </a:lnTo>
                      <a:lnTo>
                        <a:pt x="185899" y="264942"/>
                      </a:lnTo>
                      <a:lnTo>
                        <a:pt x="184409" y="265726"/>
                      </a:lnTo>
                      <a:lnTo>
                        <a:pt x="182389" y="265436"/>
                      </a:lnTo>
                      <a:lnTo>
                        <a:pt x="178985" y="262269"/>
                      </a:lnTo>
                      <a:lnTo>
                        <a:pt x="177712" y="261537"/>
                      </a:lnTo>
                      <a:lnTo>
                        <a:pt x="176496" y="263143"/>
                      </a:lnTo>
                      <a:lnTo>
                        <a:pt x="174525" y="269953"/>
                      </a:lnTo>
                      <a:lnTo>
                        <a:pt x="173353" y="271539"/>
                      </a:lnTo>
                      <a:lnTo>
                        <a:pt x="171475" y="271039"/>
                      </a:lnTo>
                      <a:lnTo>
                        <a:pt x="170456" y="269258"/>
                      </a:lnTo>
                      <a:lnTo>
                        <a:pt x="170409" y="266217"/>
                      </a:lnTo>
                      <a:lnTo>
                        <a:pt x="171400" y="262037"/>
                      </a:lnTo>
                      <a:lnTo>
                        <a:pt x="160843" y="258715"/>
                      </a:lnTo>
                      <a:lnTo>
                        <a:pt x="155605" y="258949"/>
                      </a:lnTo>
                      <a:lnTo>
                        <a:pt x="154847" y="263320"/>
                      </a:lnTo>
                      <a:lnTo>
                        <a:pt x="154170" y="265739"/>
                      </a:lnTo>
                      <a:lnTo>
                        <a:pt x="155492" y="269880"/>
                      </a:lnTo>
                      <a:lnTo>
                        <a:pt x="155222" y="272086"/>
                      </a:lnTo>
                      <a:lnTo>
                        <a:pt x="154101" y="272932"/>
                      </a:lnTo>
                      <a:lnTo>
                        <a:pt x="152788" y="273130"/>
                      </a:lnTo>
                      <a:lnTo>
                        <a:pt x="151929" y="272506"/>
                      </a:lnTo>
                      <a:lnTo>
                        <a:pt x="150993" y="271490"/>
                      </a:lnTo>
                      <a:lnTo>
                        <a:pt x="150327" y="271654"/>
                      </a:lnTo>
                      <a:lnTo>
                        <a:pt x="150146" y="276488"/>
                      </a:lnTo>
                      <a:lnTo>
                        <a:pt x="149639" y="278471"/>
                      </a:lnTo>
                      <a:lnTo>
                        <a:pt x="148934" y="279962"/>
                      </a:lnTo>
                      <a:lnTo>
                        <a:pt x="148293" y="280573"/>
                      </a:lnTo>
                      <a:lnTo>
                        <a:pt x="141968" y="272564"/>
                      </a:lnTo>
                      <a:lnTo>
                        <a:pt x="138695" y="271383"/>
                      </a:lnTo>
                      <a:lnTo>
                        <a:pt x="137967" y="280061"/>
                      </a:lnTo>
                      <a:lnTo>
                        <a:pt x="137261" y="284328"/>
                      </a:lnTo>
                      <a:lnTo>
                        <a:pt x="134976" y="283537"/>
                      </a:lnTo>
                      <a:lnTo>
                        <a:pt x="132564" y="280796"/>
                      </a:lnTo>
                      <a:lnTo>
                        <a:pt x="131515" y="279253"/>
                      </a:lnTo>
                      <a:lnTo>
                        <a:pt x="129700" y="278046"/>
                      </a:lnTo>
                      <a:lnTo>
                        <a:pt x="128732" y="278328"/>
                      </a:lnTo>
                      <a:lnTo>
                        <a:pt x="126126" y="282207"/>
                      </a:lnTo>
                      <a:lnTo>
                        <a:pt x="122610" y="283884"/>
                      </a:lnTo>
                      <a:lnTo>
                        <a:pt x="118659" y="282729"/>
                      </a:lnTo>
                      <a:lnTo>
                        <a:pt x="116524" y="279034"/>
                      </a:lnTo>
                      <a:lnTo>
                        <a:pt x="118410" y="273097"/>
                      </a:lnTo>
                      <a:lnTo>
                        <a:pt x="115023" y="269758"/>
                      </a:lnTo>
                      <a:lnTo>
                        <a:pt x="113314" y="274231"/>
                      </a:lnTo>
                      <a:lnTo>
                        <a:pt x="111439" y="287985"/>
                      </a:lnTo>
                      <a:lnTo>
                        <a:pt x="109135" y="291260"/>
                      </a:lnTo>
                      <a:lnTo>
                        <a:pt x="105290" y="294135"/>
                      </a:lnTo>
                      <a:lnTo>
                        <a:pt x="101608" y="294668"/>
                      </a:lnTo>
                      <a:lnTo>
                        <a:pt x="99785" y="291146"/>
                      </a:lnTo>
                      <a:lnTo>
                        <a:pt x="100608" y="285271"/>
                      </a:lnTo>
                      <a:lnTo>
                        <a:pt x="101403" y="281160"/>
                      </a:lnTo>
                      <a:lnTo>
                        <a:pt x="103677" y="272947"/>
                      </a:lnTo>
                      <a:lnTo>
                        <a:pt x="105440" y="269555"/>
                      </a:lnTo>
                      <a:lnTo>
                        <a:pt x="110024" y="264869"/>
                      </a:lnTo>
                      <a:lnTo>
                        <a:pt x="111834" y="259586"/>
                      </a:lnTo>
                      <a:lnTo>
                        <a:pt x="110912" y="259313"/>
                      </a:lnTo>
                      <a:lnTo>
                        <a:pt x="108509" y="257241"/>
                      </a:lnTo>
                      <a:lnTo>
                        <a:pt x="116383" y="248909"/>
                      </a:lnTo>
                      <a:lnTo>
                        <a:pt x="118701" y="244700"/>
                      </a:lnTo>
                      <a:lnTo>
                        <a:pt x="92108" y="248919"/>
                      </a:lnTo>
                      <a:lnTo>
                        <a:pt x="91207" y="249727"/>
                      </a:lnTo>
                      <a:lnTo>
                        <a:pt x="89788" y="253076"/>
                      </a:lnTo>
                      <a:lnTo>
                        <a:pt x="88838" y="253858"/>
                      </a:lnTo>
                      <a:lnTo>
                        <a:pt x="85614" y="253779"/>
                      </a:lnTo>
                      <a:lnTo>
                        <a:pt x="82094" y="251956"/>
                      </a:lnTo>
                      <a:lnTo>
                        <a:pt x="83390" y="247590"/>
                      </a:lnTo>
                      <a:lnTo>
                        <a:pt x="86797" y="242997"/>
                      </a:lnTo>
                      <a:lnTo>
                        <a:pt x="88256" y="239714"/>
                      </a:lnTo>
                      <a:lnTo>
                        <a:pt x="81018" y="240269"/>
                      </a:lnTo>
                      <a:lnTo>
                        <a:pt x="77289" y="239121"/>
                      </a:lnTo>
                      <a:lnTo>
                        <a:pt x="73991" y="235734"/>
                      </a:lnTo>
                      <a:lnTo>
                        <a:pt x="77787" y="230428"/>
                      </a:lnTo>
                      <a:lnTo>
                        <a:pt x="84451" y="230915"/>
                      </a:lnTo>
                      <a:lnTo>
                        <a:pt x="102424" y="239396"/>
                      </a:lnTo>
                      <a:lnTo>
                        <a:pt x="105423" y="239158"/>
                      </a:lnTo>
                      <a:lnTo>
                        <a:pt x="107707" y="236011"/>
                      </a:lnTo>
                      <a:lnTo>
                        <a:pt x="108289" y="232901"/>
                      </a:lnTo>
                      <a:lnTo>
                        <a:pt x="108135" y="229460"/>
                      </a:lnTo>
                      <a:lnTo>
                        <a:pt x="107149" y="226415"/>
                      </a:lnTo>
                      <a:lnTo>
                        <a:pt x="105311" y="224375"/>
                      </a:lnTo>
                      <a:lnTo>
                        <a:pt x="109431" y="223959"/>
                      </a:lnTo>
                      <a:lnTo>
                        <a:pt x="116026" y="228238"/>
                      </a:lnTo>
                      <a:lnTo>
                        <a:pt x="127751" y="239540"/>
                      </a:lnTo>
                      <a:lnTo>
                        <a:pt x="127558" y="236959"/>
                      </a:lnTo>
                      <a:lnTo>
                        <a:pt x="125678" y="232349"/>
                      </a:lnTo>
                      <a:lnTo>
                        <a:pt x="122970" y="223598"/>
                      </a:lnTo>
                      <a:lnTo>
                        <a:pt x="121181" y="215091"/>
                      </a:lnTo>
                      <a:lnTo>
                        <a:pt x="122112" y="211149"/>
                      </a:lnTo>
                      <a:lnTo>
                        <a:pt x="124441" y="210966"/>
                      </a:lnTo>
                      <a:lnTo>
                        <a:pt x="125575" y="211391"/>
                      </a:lnTo>
                      <a:lnTo>
                        <a:pt x="126456" y="213060"/>
                      </a:lnTo>
                      <a:lnTo>
                        <a:pt x="128018" y="216721"/>
                      </a:lnTo>
                      <a:lnTo>
                        <a:pt x="130114" y="219864"/>
                      </a:lnTo>
                      <a:lnTo>
                        <a:pt x="132741" y="221729"/>
                      </a:lnTo>
                      <a:lnTo>
                        <a:pt x="135329" y="221834"/>
                      </a:lnTo>
                      <a:lnTo>
                        <a:pt x="137327" y="219699"/>
                      </a:lnTo>
                      <a:lnTo>
                        <a:pt x="135567" y="217095"/>
                      </a:lnTo>
                      <a:lnTo>
                        <a:pt x="134967" y="213871"/>
                      </a:lnTo>
                      <a:lnTo>
                        <a:pt x="135486" y="210620"/>
                      </a:lnTo>
                      <a:lnTo>
                        <a:pt x="137127" y="207906"/>
                      </a:lnTo>
                      <a:lnTo>
                        <a:pt x="139749" y="207047"/>
                      </a:lnTo>
                      <a:lnTo>
                        <a:pt x="142877" y="208405"/>
                      </a:lnTo>
                      <a:lnTo>
                        <a:pt x="153153" y="216347"/>
                      </a:lnTo>
                      <a:lnTo>
                        <a:pt x="153854" y="218365"/>
                      </a:lnTo>
                      <a:lnTo>
                        <a:pt x="152409" y="222112"/>
                      </a:lnTo>
                      <a:lnTo>
                        <a:pt x="148553" y="226169"/>
                      </a:lnTo>
                      <a:lnTo>
                        <a:pt x="147636" y="228944"/>
                      </a:lnTo>
                      <a:lnTo>
                        <a:pt x="149270" y="232977"/>
                      </a:lnTo>
                      <a:lnTo>
                        <a:pt x="152187" y="234348"/>
                      </a:lnTo>
                      <a:lnTo>
                        <a:pt x="154298" y="230804"/>
                      </a:lnTo>
                      <a:lnTo>
                        <a:pt x="156118" y="226450"/>
                      </a:lnTo>
                      <a:lnTo>
                        <a:pt x="158155" y="225222"/>
                      </a:lnTo>
                      <a:lnTo>
                        <a:pt x="160004" y="228348"/>
                      </a:lnTo>
                      <a:lnTo>
                        <a:pt x="160865" y="233173"/>
                      </a:lnTo>
                      <a:lnTo>
                        <a:pt x="161417" y="238361"/>
                      </a:lnTo>
                      <a:lnTo>
                        <a:pt x="162320" y="242630"/>
                      </a:lnTo>
                      <a:lnTo>
                        <a:pt x="163832" y="244656"/>
                      </a:lnTo>
                      <a:lnTo>
                        <a:pt x="164454" y="241986"/>
                      </a:lnTo>
                      <a:lnTo>
                        <a:pt x="164505" y="237217"/>
                      </a:lnTo>
                      <a:lnTo>
                        <a:pt x="164262" y="233007"/>
                      </a:lnTo>
                      <a:lnTo>
                        <a:pt x="165263" y="229363"/>
                      </a:lnTo>
                      <a:lnTo>
                        <a:pt x="168136" y="228166"/>
                      </a:lnTo>
                      <a:lnTo>
                        <a:pt x="174202" y="228476"/>
                      </a:lnTo>
                      <a:lnTo>
                        <a:pt x="171671" y="223375"/>
                      </a:lnTo>
                      <a:lnTo>
                        <a:pt x="168770" y="219658"/>
                      </a:lnTo>
                      <a:lnTo>
                        <a:pt x="169079" y="213066"/>
                      </a:lnTo>
                      <a:lnTo>
                        <a:pt x="167110" y="209513"/>
                      </a:lnTo>
                      <a:lnTo>
                        <a:pt x="164031" y="206414"/>
                      </a:lnTo>
                      <a:lnTo>
                        <a:pt x="161004" y="201124"/>
                      </a:lnTo>
                      <a:lnTo>
                        <a:pt x="160114" y="198741"/>
                      </a:lnTo>
                      <a:lnTo>
                        <a:pt x="159461" y="196508"/>
                      </a:lnTo>
                      <a:lnTo>
                        <a:pt x="159641" y="194790"/>
                      </a:lnTo>
                      <a:lnTo>
                        <a:pt x="163069" y="193380"/>
                      </a:lnTo>
                      <a:lnTo>
                        <a:pt x="168617" y="188715"/>
                      </a:lnTo>
                      <a:lnTo>
                        <a:pt x="167906" y="192352"/>
                      </a:lnTo>
                      <a:lnTo>
                        <a:pt x="167441" y="193515"/>
                      </a:lnTo>
                      <a:lnTo>
                        <a:pt x="169749" y="195434"/>
                      </a:lnTo>
                      <a:lnTo>
                        <a:pt x="174403" y="195909"/>
                      </a:lnTo>
                      <a:lnTo>
                        <a:pt x="176577" y="199893"/>
                      </a:lnTo>
                      <a:lnTo>
                        <a:pt x="175075" y="200013"/>
                      </a:lnTo>
                      <a:lnTo>
                        <a:pt x="175268" y="202366"/>
                      </a:lnTo>
                      <a:lnTo>
                        <a:pt x="177369" y="202269"/>
                      </a:lnTo>
                      <a:lnTo>
                        <a:pt x="181013" y="200298"/>
                      </a:lnTo>
                      <a:lnTo>
                        <a:pt x="183172" y="201125"/>
                      </a:lnTo>
                      <a:lnTo>
                        <a:pt x="184278" y="203869"/>
                      </a:lnTo>
                      <a:lnTo>
                        <a:pt x="183432" y="207181"/>
                      </a:lnTo>
                      <a:lnTo>
                        <a:pt x="180734" y="211600"/>
                      </a:lnTo>
                      <a:lnTo>
                        <a:pt x="183619" y="214835"/>
                      </a:lnTo>
                      <a:lnTo>
                        <a:pt x="186987" y="219680"/>
                      </a:lnTo>
                      <a:lnTo>
                        <a:pt x="190160" y="222593"/>
                      </a:lnTo>
                      <a:lnTo>
                        <a:pt x="192443" y="220122"/>
                      </a:lnTo>
                      <a:lnTo>
                        <a:pt x="190468" y="215546"/>
                      </a:lnTo>
                      <a:lnTo>
                        <a:pt x="192641" y="213139"/>
                      </a:lnTo>
                      <a:lnTo>
                        <a:pt x="195063" y="211488"/>
                      </a:lnTo>
                      <a:lnTo>
                        <a:pt x="196259" y="208174"/>
                      </a:lnTo>
                      <a:lnTo>
                        <a:pt x="194791" y="200779"/>
                      </a:lnTo>
                      <a:lnTo>
                        <a:pt x="197561" y="200748"/>
                      </a:lnTo>
                      <a:lnTo>
                        <a:pt x="203263" y="204532"/>
                      </a:lnTo>
                      <a:lnTo>
                        <a:pt x="206079" y="204576"/>
                      </a:lnTo>
                      <a:lnTo>
                        <a:pt x="204759" y="203023"/>
                      </a:lnTo>
                      <a:lnTo>
                        <a:pt x="203144" y="199986"/>
                      </a:lnTo>
                      <a:lnTo>
                        <a:pt x="202235" y="197016"/>
                      </a:lnTo>
                      <a:lnTo>
                        <a:pt x="203064" y="195593"/>
                      </a:lnTo>
                      <a:lnTo>
                        <a:pt x="210516" y="196952"/>
                      </a:lnTo>
                      <a:lnTo>
                        <a:pt x="212280" y="194814"/>
                      </a:lnTo>
                      <a:lnTo>
                        <a:pt x="211093" y="193294"/>
                      </a:lnTo>
                      <a:lnTo>
                        <a:pt x="210019" y="192636"/>
                      </a:lnTo>
                      <a:lnTo>
                        <a:pt x="207786" y="192585"/>
                      </a:lnTo>
                      <a:lnTo>
                        <a:pt x="206654" y="192004"/>
                      </a:lnTo>
                      <a:lnTo>
                        <a:pt x="206151" y="190510"/>
                      </a:lnTo>
                      <a:lnTo>
                        <a:pt x="205877" y="188854"/>
                      </a:lnTo>
                      <a:lnTo>
                        <a:pt x="205492" y="187845"/>
                      </a:lnTo>
                      <a:lnTo>
                        <a:pt x="198703" y="184958"/>
                      </a:lnTo>
                      <a:lnTo>
                        <a:pt x="196415" y="183021"/>
                      </a:lnTo>
                      <a:lnTo>
                        <a:pt x="193332" y="177409"/>
                      </a:lnTo>
                      <a:lnTo>
                        <a:pt x="195261" y="175050"/>
                      </a:lnTo>
                      <a:lnTo>
                        <a:pt x="201115" y="174011"/>
                      </a:lnTo>
                      <a:lnTo>
                        <a:pt x="199966" y="173840"/>
                      </a:lnTo>
                      <a:lnTo>
                        <a:pt x="198885" y="173056"/>
                      </a:lnTo>
                      <a:lnTo>
                        <a:pt x="197826" y="171650"/>
                      </a:lnTo>
                      <a:lnTo>
                        <a:pt x="196816" y="169633"/>
                      </a:lnTo>
                      <a:lnTo>
                        <a:pt x="199761" y="168963"/>
                      </a:lnTo>
                      <a:lnTo>
                        <a:pt x="205402" y="174750"/>
                      </a:lnTo>
                      <a:lnTo>
                        <a:pt x="208291" y="175986"/>
                      </a:lnTo>
                      <a:lnTo>
                        <a:pt x="210481" y="174531"/>
                      </a:lnTo>
                      <a:lnTo>
                        <a:pt x="210892" y="171999"/>
                      </a:lnTo>
                      <a:lnTo>
                        <a:pt x="209790" y="169174"/>
                      </a:lnTo>
                      <a:lnTo>
                        <a:pt x="207492" y="166802"/>
                      </a:lnTo>
                      <a:lnTo>
                        <a:pt x="207270" y="164256"/>
                      </a:lnTo>
                      <a:lnTo>
                        <a:pt x="210761" y="167314"/>
                      </a:lnTo>
                      <a:lnTo>
                        <a:pt x="217647" y="176667"/>
                      </a:lnTo>
                      <a:lnTo>
                        <a:pt x="221196" y="179830"/>
                      </a:lnTo>
                      <a:lnTo>
                        <a:pt x="222920" y="180061"/>
                      </a:lnTo>
                      <a:lnTo>
                        <a:pt x="227623" y="178495"/>
                      </a:lnTo>
                      <a:lnTo>
                        <a:pt x="228727" y="176592"/>
                      </a:lnTo>
                      <a:lnTo>
                        <a:pt x="228322" y="171774"/>
                      </a:lnTo>
                      <a:lnTo>
                        <a:pt x="225508" y="165080"/>
                      </a:lnTo>
                      <a:lnTo>
                        <a:pt x="225419" y="161507"/>
                      </a:lnTo>
                      <a:lnTo>
                        <a:pt x="225050" y="158323"/>
                      </a:lnTo>
                      <a:lnTo>
                        <a:pt x="223872" y="154080"/>
                      </a:lnTo>
                      <a:lnTo>
                        <a:pt x="223276" y="150324"/>
                      </a:lnTo>
                      <a:lnTo>
                        <a:pt x="224647" y="148554"/>
                      </a:lnTo>
                      <a:close/>
                      <a:moveTo>
                        <a:pt x="290658" y="86172"/>
                      </a:moveTo>
                      <a:lnTo>
                        <a:pt x="305073" y="86315"/>
                      </a:lnTo>
                      <a:lnTo>
                        <a:pt x="304428" y="89726"/>
                      </a:lnTo>
                      <a:lnTo>
                        <a:pt x="303927" y="90962"/>
                      </a:lnTo>
                      <a:lnTo>
                        <a:pt x="308292" y="93619"/>
                      </a:lnTo>
                      <a:lnTo>
                        <a:pt x="316984" y="91726"/>
                      </a:lnTo>
                      <a:lnTo>
                        <a:pt x="321425" y="94156"/>
                      </a:lnTo>
                      <a:lnTo>
                        <a:pt x="317566" y="97133"/>
                      </a:lnTo>
                      <a:lnTo>
                        <a:pt x="308301" y="96486"/>
                      </a:lnTo>
                      <a:lnTo>
                        <a:pt x="304909" y="100566"/>
                      </a:lnTo>
                      <a:lnTo>
                        <a:pt x="305769" y="101484"/>
                      </a:lnTo>
                      <a:lnTo>
                        <a:pt x="306160" y="102518"/>
                      </a:lnTo>
                      <a:lnTo>
                        <a:pt x="306472" y="103758"/>
                      </a:lnTo>
                      <a:lnTo>
                        <a:pt x="307019" y="105313"/>
                      </a:lnTo>
                      <a:lnTo>
                        <a:pt x="305629" y="107612"/>
                      </a:lnTo>
                      <a:lnTo>
                        <a:pt x="320878" y="104551"/>
                      </a:lnTo>
                      <a:lnTo>
                        <a:pt x="325203" y="107995"/>
                      </a:lnTo>
                      <a:lnTo>
                        <a:pt x="321343" y="108389"/>
                      </a:lnTo>
                      <a:lnTo>
                        <a:pt x="321695" y="111757"/>
                      </a:lnTo>
                      <a:lnTo>
                        <a:pt x="320626" y="113391"/>
                      </a:lnTo>
                      <a:lnTo>
                        <a:pt x="318850" y="113826"/>
                      </a:lnTo>
                      <a:lnTo>
                        <a:pt x="317166" y="113559"/>
                      </a:lnTo>
                      <a:lnTo>
                        <a:pt x="318252" y="115822"/>
                      </a:lnTo>
                      <a:lnTo>
                        <a:pt x="316615" y="118501"/>
                      </a:lnTo>
                      <a:lnTo>
                        <a:pt x="314668" y="117935"/>
                      </a:lnTo>
                      <a:lnTo>
                        <a:pt x="312576" y="116493"/>
                      </a:lnTo>
                      <a:lnTo>
                        <a:pt x="310506" y="116602"/>
                      </a:lnTo>
                      <a:lnTo>
                        <a:pt x="309522" y="118734"/>
                      </a:lnTo>
                      <a:lnTo>
                        <a:pt x="309001" y="121681"/>
                      </a:lnTo>
                      <a:lnTo>
                        <a:pt x="308046" y="124022"/>
                      </a:lnTo>
                      <a:lnTo>
                        <a:pt x="303956" y="124598"/>
                      </a:lnTo>
                      <a:lnTo>
                        <a:pt x="301584" y="123845"/>
                      </a:lnTo>
                      <a:lnTo>
                        <a:pt x="299437" y="122023"/>
                      </a:lnTo>
                      <a:lnTo>
                        <a:pt x="298345" y="119094"/>
                      </a:lnTo>
                      <a:lnTo>
                        <a:pt x="296601" y="115551"/>
                      </a:lnTo>
                      <a:lnTo>
                        <a:pt x="287460" y="111757"/>
                      </a:lnTo>
                      <a:lnTo>
                        <a:pt x="290644" y="108580"/>
                      </a:lnTo>
                      <a:lnTo>
                        <a:pt x="298241" y="106989"/>
                      </a:lnTo>
                      <a:lnTo>
                        <a:pt x="301310" y="103296"/>
                      </a:lnTo>
                      <a:lnTo>
                        <a:pt x="297500" y="101301"/>
                      </a:lnTo>
                      <a:lnTo>
                        <a:pt x="290397" y="103903"/>
                      </a:lnTo>
                      <a:lnTo>
                        <a:pt x="286526" y="102373"/>
                      </a:lnTo>
                      <a:lnTo>
                        <a:pt x="283432" y="98141"/>
                      </a:lnTo>
                      <a:lnTo>
                        <a:pt x="284265" y="95943"/>
                      </a:lnTo>
                      <a:lnTo>
                        <a:pt x="290387" y="94670"/>
                      </a:lnTo>
                      <a:lnTo>
                        <a:pt x="288940" y="92185"/>
                      </a:lnTo>
                      <a:lnTo>
                        <a:pt x="288007" y="91048"/>
                      </a:lnTo>
                      <a:lnTo>
                        <a:pt x="286872" y="90480"/>
                      </a:lnTo>
                      <a:close/>
                      <a:moveTo>
                        <a:pt x="375386" y="49516"/>
                      </a:moveTo>
                      <a:lnTo>
                        <a:pt x="377677" y="50691"/>
                      </a:lnTo>
                      <a:lnTo>
                        <a:pt x="378303" y="52488"/>
                      </a:lnTo>
                      <a:lnTo>
                        <a:pt x="379018" y="53596"/>
                      </a:lnTo>
                      <a:lnTo>
                        <a:pt x="379813" y="54285"/>
                      </a:lnTo>
                      <a:lnTo>
                        <a:pt x="380836" y="54399"/>
                      </a:lnTo>
                      <a:lnTo>
                        <a:pt x="382733" y="52661"/>
                      </a:lnTo>
                      <a:lnTo>
                        <a:pt x="383801" y="52046"/>
                      </a:lnTo>
                      <a:lnTo>
                        <a:pt x="385967" y="51549"/>
                      </a:lnTo>
                      <a:lnTo>
                        <a:pt x="386188" y="53150"/>
                      </a:lnTo>
                      <a:lnTo>
                        <a:pt x="384287" y="56446"/>
                      </a:lnTo>
                      <a:lnTo>
                        <a:pt x="384033" y="58566"/>
                      </a:lnTo>
                      <a:lnTo>
                        <a:pt x="385682" y="59471"/>
                      </a:lnTo>
                      <a:lnTo>
                        <a:pt x="384985" y="60610"/>
                      </a:lnTo>
                      <a:lnTo>
                        <a:pt x="381750" y="63049"/>
                      </a:lnTo>
                      <a:lnTo>
                        <a:pt x="380859" y="66130"/>
                      </a:lnTo>
                      <a:lnTo>
                        <a:pt x="382491" y="68099"/>
                      </a:lnTo>
                      <a:lnTo>
                        <a:pt x="382726" y="70152"/>
                      </a:lnTo>
                      <a:lnTo>
                        <a:pt x="381412" y="77551"/>
                      </a:lnTo>
                      <a:lnTo>
                        <a:pt x="379880" y="78018"/>
                      </a:lnTo>
                      <a:lnTo>
                        <a:pt x="376027" y="78019"/>
                      </a:lnTo>
                      <a:lnTo>
                        <a:pt x="373917" y="76555"/>
                      </a:lnTo>
                      <a:lnTo>
                        <a:pt x="371737" y="74461"/>
                      </a:lnTo>
                      <a:lnTo>
                        <a:pt x="369661" y="73034"/>
                      </a:lnTo>
                      <a:lnTo>
                        <a:pt x="365324" y="71471"/>
                      </a:lnTo>
                      <a:lnTo>
                        <a:pt x="362823" y="69015"/>
                      </a:lnTo>
                      <a:lnTo>
                        <a:pt x="362866" y="64600"/>
                      </a:lnTo>
                      <a:lnTo>
                        <a:pt x="365405" y="59673"/>
                      </a:lnTo>
                      <a:lnTo>
                        <a:pt x="368023" y="57522"/>
                      </a:lnTo>
                      <a:lnTo>
                        <a:pt x="370561" y="58275"/>
                      </a:lnTo>
                      <a:lnTo>
                        <a:pt x="372150" y="60391"/>
                      </a:lnTo>
                      <a:lnTo>
                        <a:pt x="372017" y="62555"/>
                      </a:lnTo>
                      <a:lnTo>
                        <a:pt x="372463" y="63651"/>
                      </a:lnTo>
                      <a:lnTo>
                        <a:pt x="374282" y="63875"/>
                      </a:lnTo>
                      <a:lnTo>
                        <a:pt x="375615" y="63461"/>
                      </a:lnTo>
                      <a:lnTo>
                        <a:pt x="376121" y="61764"/>
                      </a:lnTo>
                      <a:lnTo>
                        <a:pt x="374838" y="58300"/>
                      </a:lnTo>
                      <a:lnTo>
                        <a:pt x="371870" y="53749"/>
                      </a:lnTo>
                      <a:lnTo>
                        <a:pt x="371833" y="50331"/>
                      </a:lnTo>
                      <a:close/>
                      <a:moveTo>
                        <a:pt x="475571" y="18056"/>
                      </a:moveTo>
                      <a:lnTo>
                        <a:pt x="476852" y="19524"/>
                      </a:lnTo>
                      <a:lnTo>
                        <a:pt x="478338" y="24861"/>
                      </a:lnTo>
                      <a:lnTo>
                        <a:pt x="491585" y="19795"/>
                      </a:lnTo>
                      <a:lnTo>
                        <a:pt x="491539" y="24280"/>
                      </a:lnTo>
                      <a:lnTo>
                        <a:pt x="490876" y="34592"/>
                      </a:lnTo>
                      <a:lnTo>
                        <a:pt x="491264" y="37773"/>
                      </a:lnTo>
                      <a:lnTo>
                        <a:pt x="494025" y="39886"/>
                      </a:lnTo>
                      <a:lnTo>
                        <a:pt x="499182" y="33133"/>
                      </a:lnTo>
                      <a:lnTo>
                        <a:pt x="501836" y="32749"/>
                      </a:lnTo>
                      <a:lnTo>
                        <a:pt x="502210" y="38496"/>
                      </a:lnTo>
                      <a:lnTo>
                        <a:pt x="504085" y="37645"/>
                      </a:lnTo>
                      <a:lnTo>
                        <a:pt x="506382" y="34500"/>
                      </a:lnTo>
                      <a:lnTo>
                        <a:pt x="508004" y="33269"/>
                      </a:lnTo>
                      <a:lnTo>
                        <a:pt x="510709" y="33683"/>
                      </a:lnTo>
                      <a:lnTo>
                        <a:pt x="514995" y="26957"/>
                      </a:lnTo>
                      <a:lnTo>
                        <a:pt x="517998" y="29582"/>
                      </a:lnTo>
                      <a:lnTo>
                        <a:pt x="519784" y="39554"/>
                      </a:lnTo>
                      <a:lnTo>
                        <a:pt x="515958" y="47086"/>
                      </a:lnTo>
                      <a:lnTo>
                        <a:pt x="510017" y="51915"/>
                      </a:lnTo>
                      <a:lnTo>
                        <a:pt x="505375" y="53707"/>
                      </a:lnTo>
                      <a:lnTo>
                        <a:pt x="507574" y="56029"/>
                      </a:lnTo>
                      <a:lnTo>
                        <a:pt x="509871" y="57403"/>
                      </a:lnTo>
                      <a:lnTo>
                        <a:pt x="512166" y="57857"/>
                      </a:lnTo>
                      <a:lnTo>
                        <a:pt x="514335" y="57503"/>
                      </a:lnTo>
                      <a:lnTo>
                        <a:pt x="515271" y="64512"/>
                      </a:lnTo>
                      <a:lnTo>
                        <a:pt x="512804" y="67086"/>
                      </a:lnTo>
                      <a:lnTo>
                        <a:pt x="511739" y="67139"/>
                      </a:lnTo>
                      <a:lnTo>
                        <a:pt x="515078" y="69852"/>
                      </a:lnTo>
                      <a:lnTo>
                        <a:pt x="519112" y="70403"/>
                      </a:lnTo>
                      <a:lnTo>
                        <a:pt x="522965" y="69472"/>
                      </a:lnTo>
                      <a:lnTo>
                        <a:pt x="525851" y="67676"/>
                      </a:lnTo>
                      <a:lnTo>
                        <a:pt x="527804" y="64611"/>
                      </a:lnTo>
                      <a:lnTo>
                        <a:pt x="531415" y="56761"/>
                      </a:lnTo>
                      <a:lnTo>
                        <a:pt x="533473" y="54983"/>
                      </a:lnTo>
                      <a:lnTo>
                        <a:pt x="538392" y="50102"/>
                      </a:lnTo>
                      <a:lnTo>
                        <a:pt x="540997" y="49838"/>
                      </a:lnTo>
                      <a:lnTo>
                        <a:pt x="542919" y="55876"/>
                      </a:lnTo>
                      <a:lnTo>
                        <a:pt x="542493" y="62315"/>
                      </a:lnTo>
                      <a:lnTo>
                        <a:pt x="540020" y="66335"/>
                      </a:lnTo>
                      <a:lnTo>
                        <a:pt x="532945" y="69830"/>
                      </a:lnTo>
                      <a:lnTo>
                        <a:pt x="532244" y="71212"/>
                      </a:lnTo>
                      <a:lnTo>
                        <a:pt x="530835" y="75567"/>
                      </a:lnTo>
                      <a:lnTo>
                        <a:pt x="529306" y="77343"/>
                      </a:lnTo>
                      <a:lnTo>
                        <a:pt x="517554" y="77992"/>
                      </a:lnTo>
                      <a:lnTo>
                        <a:pt x="515406" y="79249"/>
                      </a:lnTo>
                      <a:lnTo>
                        <a:pt x="513073" y="82741"/>
                      </a:lnTo>
                      <a:lnTo>
                        <a:pt x="510650" y="84599"/>
                      </a:lnTo>
                      <a:lnTo>
                        <a:pt x="499430" y="85601"/>
                      </a:lnTo>
                      <a:lnTo>
                        <a:pt x="493478" y="81513"/>
                      </a:lnTo>
                      <a:lnTo>
                        <a:pt x="491085" y="82198"/>
                      </a:lnTo>
                      <a:lnTo>
                        <a:pt x="490543" y="89096"/>
                      </a:lnTo>
                      <a:lnTo>
                        <a:pt x="493666" y="90656"/>
                      </a:lnTo>
                      <a:lnTo>
                        <a:pt x="494712" y="90720"/>
                      </a:lnTo>
                      <a:lnTo>
                        <a:pt x="495046" y="93287"/>
                      </a:lnTo>
                      <a:lnTo>
                        <a:pt x="485358" y="93374"/>
                      </a:lnTo>
                      <a:lnTo>
                        <a:pt x="478329" y="98884"/>
                      </a:lnTo>
                      <a:lnTo>
                        <a:pt x="473250" y="100971"/>
                      </a:lnTo>
                      <a:lnTo>
                        <a:pt x="470850" y="99895"/>
                      </a:lnTo>
                      <a:lnTo>
                        <a:pt x="468806" y="97215"/>
                      </a:lnTo>
                      <a:lnTo>
                        <a:pt x="465005" y="91097"/>
                      </a:lnTo>
                      <a:lnTo>
                        <a:pt x="460474" y="86936"/>
                      </a:lnTo>
                      <a:lnTo>
                        <a:pt x="455501" y="83931"/>
                      </a:lnTo>
                      <a:lnTo>
                        <a:pt x="468261" y="75318"/>
                      </a:lnTo>
                      <a:lnTo>
                        <a:pt x="470195" y="70236"/>
                      </a:lnTo>
                      <a:lnTo>
                        <a:pt x="462145" y="69600"/>
                      </a:lnTo>
                      <a:lnTo>
                        <a:pt x="459767" y="67865"/>
                      </a:lnTo>
                      <a:lnTo>
                        <a:pt x="457755" y="67346"/>
                      </a:lnTo>
                      <a:lnTo>
                        <a:pt x="444316" y="76829"/>
                      </a:lnTo>
                      <a:lnTo>
                        <a:pt x="442086" y="75822"/>
                      </a:lnTo>
                      <a:lnTo>
                        <a:pt x="440268" y="72812"/>
                      </a:lnTo>
                      <a:lnTo>
                        <a:pt x="439749" y="70156"/>
                      </a:lnTo>
                      <a:lnTo>
                        <a:pt x="439636" y="67423"/>
                      </a:lnTo>
                      <a:lnTo>
                        <a:pt x="439126" y="64315"/>
                      </a:lnTo>
                      <a:lnTo>
                        <a:pt x="444364" y="56554"/>
                      </a:lnTo>
                      <a:lnTo>
                        <a:pt x="440265" y="54681"/>
                      </a:lnTo>
                      <a:lnTo>
                        <a:pt x="442008" y="52081"/>
                      </a:lnTo>
                      <a:lnTo>
                        <a:pt x="444408" y="50348"/>
                      </a:lnTo>
                      <a:lnTo>
                        <a:pt x="449200" y="48849"/>
                      </a:lnTo>
                      <a:lnTo>
                        <a:pt x="451601" y="49874"/>
                      </a:lnTo>
                      <a:lnTo>
                        <a:pt x="454115" y="51947"/>
                      </a:lnTo>
                      <a:lnTo>
                        <a:pt x="456451" y="52881"/>
                      </a:lnTo>
                      <a:lnTo>
                        <a:pt x="458340" y="50327"/>
                      </a:lnTo>
                      <a:lnTo>
                        <a:pt x="457586" y="49230"/>
                      </a:lnTo>
                      <a:lnTo>
                        <a:pt x="456296" y="46796"/>
                      </a:lnTo>
                      <a:lnTo>
                        <a:pt x="455379" y="45719"/>
                      </a:lnTo>
                      <a:lnTo>
                        <a:pt x="456568" y="42218"/>
                      </a:lnTo>
                      <a:lnTo>
                        <a:pt x="458534" y="42275"/>
                      </a:lnTo>
                      <a:lnTo>
                        <a:pt x="463044" y="44779"/>
                      </a:lnTo>
                      <a:lnTo>
                        <a:pt x="466149" y="44524"/>
                      </a:lnTo>
                      <a:lnTo>
                        <a:pt x="466977" y="45313"/>
                      </a:lnTo>
                      <a:lnTo>
                        <a:pt x="468828" y="47718"/>
                      </a:lnTo>
                      <a:lnTo>
                        <a:pt x="471031" y="48961"/>
                      </a:lnTo>
                      <a:lnTo>
                        <a:pt x="475690" y="47587"/>
                      </a:lnTo>
                      <a:lnTo>
                        <a:pt x="484730" y="52826"/>
                      </a:lnTo>
                      <a:lnTo>
                        <a:pt x="486276" y="56145"/>
                      </a:lnTo>
                      <a:lnTo>
                        <a:pt x="484855" y="49806"/>
                      </a:lnTo>
                      <a:lnTo>
                        <a:pt x="482901" y="45449"/>
                      </a:lnTo>
                      <a:lnTo>
                        <a:pt x="480543" y="42517"/>
                      </a:lnTo>
                      <a:lnTo>
                        <a:pt x="464001" y="28022"/>
                      </a:lnTo>
                      <a:lnTo>
                        <a:pt x="464824" y="23956"/>
                      </a:lnTo>
                      <a:lnTo>
                        <a:pt x="469780" y="25834"/>
                      </a:lnTo>
                      <a:lnTo>
                        <a:pt x="471584" y="23511"/>
                      </a:lnTo>
                      <a:lnTo>
                        <a:pt x="472611" y="20353"/>
                      </a:lnTo>
                      <a:lnTo>
                        <a:pt x="474060" y="18429"/>
                      </a:lnTo>
                      <a:close/>
                      <a:moveTo>
                        <a:pt x="697041" y="0"/>
                      </a:moveTo>
                      <a:lnTo>
                        <a:pt x="705537" y="6655"/>
                      </a:lnTo>
                      <a:lnTo>
                        <a:pt x="707316" y="11211"/>
                      </a:lnTo>
                      <a:lnTo>
                        <a:pt x="705741" y="20117"/>
                      </a:lnTo>
                      <a:lnTo>
                        <a:pt x="708698" y="21725"/>
                      </a:lnTo>
                      <a:lnTo>
                        <a:pt x="716049" y="20637"/>
                      </a:lnTo>
                      <a:lnTo>
                        <a:pt x="718872" y="21409"/>
                      </a:lnTo>
                      <a:lnTo>
                        <a:pt x="724617" y="25727"/>
                      </a:lnTo>
                      <a:lnTo>
                        <a:pt x="727132" y="26458"/>
                      </a:lnTo>
                      <a:lnTo>
                        <a:pt x="736273" y="21871"/>
                      </a:lnTo>
                      <a:lnTo>
                        <a:pt x="737919" y="18411"/>
                      </a:lnTo>
                      <a:lnTo>
                        <a:pt x="739101" y="14684"/>
                      </a:lnTo>
                      <a:lnTo>
                        <a:pt x="741213" y="12530"/>
                      </a:lnTo>
                      <a:lnTo>
                        <a:pt x="743701" y="12121"/>
                      </a:lnTo>
                      <a:lnTo>
                        <a:pt x="746053" y="13602"/>
                      </a:lnTo>
                      <a:lnTo>
                        <a:pt x="746540" y="14946"/>
                      </a:lnTo>
                      <a:lnTo>
                        <a:pt x="746798" y="16912"/>
                      </a:lnTo>
                      <a:lnTo>
                        <a:pt x="747209" y="18910"/>
                      </a:lnTo>
                      <a:lnTo>
                        <a:pt x="748054" y="20454"/>
                      </a:lnTo>
                      <a:lnTo>
                        <a:pt x="749623" y="21662"/>
                      </a:lnTo>
                      <a:lnTo>
                        <a:pt x="750264" y="21342"/>
                      </a:lnTo>
                      <a:lnTo>
                        <a:pt x="754816" y="9217"/>
                      </a:lnTo>
                      <a:lnTo>
                        <a:pt x="756764" y="5857"/>
                      </a:lnTo>
                      <a:lnTo>
                        <a:pt x="759230" y="4249"/>
                      </a:lnTo>
                      <a:lnTo>
                        <a:pt x="761382" y="4646"/>
                      </a:lnTo>
                      <a:lnTo>
                        <a:pt x="764277" y="6241"/>
                      </a:lnTo>
                      <a:lnTo>
                        <a:pt x="767019" y="9147"/>
                      </a:lnTo>
                      <a:lnTo>
                        <a:pt x="768709" y="13312"/>
                      </a:lnTo>
                      <a:lnTo>
                        <a:pt x="768703" y="19044"/>
                      </a:lnTo>
                      <a:lnTo>
                        <a:pt x="766950" y="21703"/>
                      </a:lnTo>
                      <a:lnTo>
                        <a:pt x="764904" y="23743"/>
                      </a:lnTo>
                      <a:lnTo>
                        <a:pt x="764071" y="27560"/>
                      </a:lnTo>
                      <a:lnTo>
                        <a:pt x="766329" y="27183"/>
                      </a:lnTo>
                      <a:lnTo>
                        <a:pt x="765305" y="28038"/>
                      </a:lnTo>
                      <a:lnTo>
                        <a:pt x="764544" y="29619"/>
                      </a:lnTo>
                      <a:lnTo>
                        <a:pt x="764012" y="31889"/>
                      </a:lnTo>
                      <a:lnTo>
                        <a:pt x="763746" y="34798"/>
                      </a:lnTo>
                      <a:lnTo>
                        <a:pt x="765228" y="33782"/>
                      </a:lnTo>
                      <a:lnTo>
                        <a:pt x="768970" y="28922"/>
                      </a:lnTo>
                      <a:lnTo>
                        <a:pt x="768978" y="32543"/>
                      </a:lnTo>
                      <a:lnTo>
                        <a:pt x="768544" y="35379"/>
                      </a:lnTo>
                      <a:lnTo>
                        <a:pt x="767771" y="37548"/>
                      </a:lnTo>
                      <a:lnTo>
                        <a:pt x="766750" y="39087"/>
                      </a:lnTo>
                      <a:lnTo>
                        <a:pt x="770217" y="40632"/>
                      </a:lnTo>
                      <a:lnTo>
                        <a:pt x="780884" y="29311"/>
                      </a:lnTo>
                      <a:lnTo>
                        <a:pt x="797581" y="28005"/>
                      </a:lnTo>
                      <a:lnTo>
                        <a:pt x="802946" y="32762"/>
                      </a:lnTo>
                      <a:lnTo>
                        <a:pt x="803927" y="32992"/>
                      </a:lnTo>
                      <a:lnTo>
                        <a:pt x="804841" y="33733"/>
                      </a:lnTo>
                      <a:lnTo>
                        <a:pt x="805589" y="36172"/>
                      </a:lnTo>
                      <a:lnTo>
                        <a:pt x="805685" y="38138"/>
                      </a:lnTo>
                      <a:lnTo>
                        <a:pt x="805111" y="41220"/>
                      </a:lnTo>
                      <a:lnTo>
                        <a:pt x="805426" y="47916"/>
                      </a:lnTo>
                      <a:lnTo>
                        <a:pt x="803957" y="54946"/>
                      </a:lnTo>
                      <a:lnTo>
                        <a:pt x="803901" y="58024"/>
                      </a:lnTo>
                      <a:lnTo>
                        <a:pt x="803263" y="65723"/>
                      </a:lnTo>
                      <a:lnTo>
                        <a:pt x="799131" y="68370"/>
                      </a:lnTo>
                      <a:lnTo>
                        <a:pt x="790720" y="68761"/>
                      </a:lnTo>
                      <a:lnTo>
                        <a:pt x="792999" y="72554"/>
                      </a:lnTo>
                      <a:lnTo>
                        <a:pt x="795338" y="73026"/>
                      </a:lnTo>
                      <a:lnTo>
                        <a:pt x="797806" y="72733"/>
                      </a:lnTo>
                      <a:lnTo>
                        <a:pt x="800395" y="74303"/>
                      </a:lnTo>
                      <a:lnTo>
                        <a:pt x="798634" y="79239"/>
                      </a:lnTo>
                      <a:lnTo>
                        <a:pt x="796208" y="81778"/>
                      </a:lnTo>
                      <a:lnTo>
                        <a:pt x="790231" y="83207"/>
                      </a:lnTo>
                      <a:lnTo>
                        <a:pt x="790595" y="85311"/>
                      </a:lnTo>
                      <a:lnTo>
                        <a:pt x="791788" y="86024"/>
                      </a:lnTo>
                      <a:lnTo>
                        <a:pt x="792354" y="86797"/>
                      </a:lnTo>
                      <a:lnTo>
                        <a:pt x="792809" y="87961"/>
                      </a:lnTo>
                      <a:lnTo>
                        <a:pt x="793666" y="89813"/>
                      </a:lnTo>
                      <a:lnTo>
                        <a:pt x="777819" y="90086"/>
                      </a:lnTo>
                      <a:lnTo>
                        <a:pt x="780255" y="92258"/>
                      </a:lnTo>
                      <a:lnTo>
                        <a:pt x="782665" y="93778"/>
                      </a:lnTo>
                      <a:lnTo>
                        <a:pt x="787480" y="95407"/>
                      </a:lnTo>
                      <a:lnTo>
                        <a:pt x="784534" y="102020"/>
                      </a:lnTo>
                      <a:lnTo>
                        <a:pt x="780354" y="105928"/>
                      </a:lnTo>
                      <a:lnTo>
                        <a:pt x="775564" y="107767"/>
                      </a:lnTo>
                      <a:lnTo>
                        <a:pt x="770716" y="108003"/>
                      </a:lnTo>
                      <a:lnTo>
                        <a:pt x="763627" y="104758"/>
                      </a:lnTo>
                      <a:lnTo>
                        <a:pt x="761393" y="104541"/>
                      </a:lnTo>
                      <a:lnTo>
                        <a:pt x="757397" y="107249"/>
                      </a:lnTo>
                      <a:lnTo>
                        <a:pt x="755687" y="106404"/>
                      </a:lnTo>
                      <a:lnTo>
                        <a:pt x="755238" y="100763"/>
                      </a:lnTo>
                      <a:lnTo>
                        <a:pt x="753361" y="99916"/>
                      </a:lnTo>
                      <a:lnTo>
                        <a:pt x="752057" y="101040"/>
                      </a:lnTo>
                      <a:lnTo>
                        <a:pt x="750929" y="102934"/>
                      </a:lnTo>
                      <a:lnTo>
                        <a:pt x="749534" y="104302"/>
                      </a:lnTo>
                      <a:lnTo>
                        <a:pt x="748986" y="106926"/>
                      </a:lnTo>
                      <a:lnTo>
                        <a:pt x="734927" y="111493"/>
                      </a:lnTo>
                      <a:lnTo>
                        <a:pt x="733155" y="110423"/>
                      </a:lnTo>
                      <a:lnTo>
                        <a:pt x="731955" y="110090"/>
                      </a:lnTo>
                      <a:lnTo>
                        <a:pt x="729322" y="112233"/>
                      </a:lnTo>
                      <a:lnTo>
                        <a:pt x="727922" y="112571"/>
                      </a:lnTo>
                      <a:lnTo>
                        <a:pt x="730311" y="115637"/>
                      </a:lnTo>
                      <a:lnTo>
                        <a:pt x="734561" y="116635"/>
                      </a:lnTo>
                      <a:lnTo>
                        <a:pt x="736748" y="118335"/>
                      </a:lnTo>
                      <a:lnTo>
                        <a:pt x="735389" y="120647"/>
                      </a:lnTo>
                      <a:lnTo>
                        <a:pt x="733748" y="122277"/>
                      </a:lnTo>
                      <a:lnTo>
                        <a:pt x="732466" y="124490"/>
                      </a:lnTo>
                      <a:lnTo>
                        <a:pt x="732125" y="128616"/>
                      </a:lnTo>
                      <a:lnTo>
                        <a:pt x="740484" y="120468"/>
                      </a:lnTo>
                      <a:lnTo>
                        <a:pt x="744924" y="117927"/>
                      </a:lnTo>
                      <a:lnTo>
                        <a:pt x="755366" y="120148"/>
                      </a:lnTo>
                      <a:lnTo>
                        <a:pt x="756275" y="121025"/>
                      </a:lnTo>
                      <a:lnTo>
                        <a:pt x="757188" y="123783"/>
                      </a:lnTo>
                      <a:lnTo>
                        <a:pt x="758409" y="124609"/>
                      </a:lnTo>
                      <a:lnTo>
                        <a:pt x="766595" y="122282"/>
                      </a:lnTo>
                      <a:lnTo>
                        <a:pt x="769697" y="122411"/>
                      </a:lnTo>
                      <a:lnTo>
                        <a:pt x="772749" y="124643"/>
                      </a:lnTo>
                      <a:lnTo>
                        <a:pt x="768088" y="136885"/>
                      </a:lnTo>
                      <a:lnTo>
                        <a:pt x="753323" y="144971"/>
                      </a:lnTo>
                      <a:lnTo>
                        <a:pt x="747231" y="152709"/>
                      </a:lnTo>
                      <a:lnTo>
                        <a:pt x="747851" y="153549"/>
                      </a:lnTo>
                      <a:lnTo>
                        <a:pt x="748389" y="154915"/>
                      </a:lnTo>
                      <a:lnTo>
                        <a:pt x="740286" y="164678"/>
                      </a:lnTo>
                      <a:lnTo>
                        <a:pt x="736024" y="167196"/>
                      </a:lnTo>
                      <a:lnTo>
                        <a:pt x="733023" y="170963"/>
                      </a:lnTo>
                      <a:lnTo>
                        <a:pt x="728241" y="173984"/>
                      </a:lnTo>
                      <a:lnTo>
                        <a:pt x="725763" y="177635"/>
                      </a:lnTo>
                      <a:lnTo>
                        <a:pt x="741752" y="172531"/>
                      </a:lnTo>
                      <a:lnTo>
                        <a:pt x="778736" y="144005"/>
                      </a:lnTo>
                      <a:lnTo>
                        <a:pt x="787734" y="129031"/>
                      </a:lnTo>
                      <a:lnTo>
                        <a:pt x="790984" y="127745"/>
                      </a:lnTo>
                      <a:lnTo>
                        <a:pt x="793936" y="132823"/>
                      </a:lnTo>
                      <a:lnTo>
                        <a:pt x="795286" y="149708"/>
                      </a:lnTo>
                      <a:lnTo>
                        <a:pt x="791355" y="163886"/>
                      </a:lnTo>
                      <a:lnTo>
                        <a:pt x="785413" y="174586"/>
                      </a:lnTo>
                      <a:lnTo>
                        <a:pt x="774936" y="187550"/>
                      </a:lnTo>
                      <a:lnTo>
                        <a:pt x="772973" y="192845"/>
                      </a:lnTo>
                      <a:lnTo>
                        <a:pt x="769359" y="198580"/>
                      </a:lnTo>
                      <a:lnTo>
                        <a:pt x="760807" y="205186"/>
                      </a:lnTo>
                      <a:lnTo>
                        <a:pt x="757201" y="210328"/>
                      </a:lnTo>
                      <a:lnTo>
                        <a:pt x="755301" y="216147"/>
                      </a:lnTo>
                      <a:lnTo>
                        <a:pt x="757519" y="220405"/>
                      </a:lnTo>
                      <a:lnTo>
                        <a:pt x="759017" y="224052"/>
                      </a:lnTo>
                      <a:lnTo>
                        <a:pt x="762280" y="234153"/>
                      </a:lnTo>
                      <a:lnTo>
                        <a:pt x="762843" y="230216"/>
                      </a:lnTo>
                      <a:lnTo>
                        <a:pt x="763284" y="218234"/>
                      </a:lnTo>
                      <a:lnTo>
                        <a:pt x="764269" y="214741"/>
                      </a:lnTo>
                      <a:lnTo>
                        <a:pt x="765853" y="212231"/>
                      </a:lnTo>
                      <a:lnTo>
                        <a:pt x="769367" y="208897"/>
                      </a:lnTo>
                      <a:lnTo>
                        <a:pt x="767606" y="213600"/>
                      </a:lnTo>
                      <a:lnTo>
                        <a:pt x="766171" y="218963"/>
                      </a:lnTo>
                      <a:lnTo>
                        <a:pt x="778588" y="208811"/>
                      </a:lnTo>
                      <a:lnTo>
                        <a:pt x="792420" y="202902"/>
                      </a:lnTo>
                      <a:lnTo>
                        <a:pt x="781948" y="213817"/>
                      </a:lnTo>
                      <a:lnTo>
                        <a:pt x="779725" y="220340"/>
                      </a:lnTo>
                      <a:lnTo>
                        <a:pt x="779325" y="225579"/>
                      </a:lnTo>
                      <a:lnTo>
                        <a:pt x="780504" y="226168"/>
                      </a:lnTo>
                      <a:lnTo>
                        <a:pt x="784285" y="222412"/>
                      </a:lnTo>
                      <a:lnTo>
                        <a:pt x="786445" y="217723"/>
                      </a:lnTo>
                      <a:lnTo>
                        <a:pt x="788126" y="215363"/>
                      </a:lnTo>
                      <a:lnTo>
                        <a:pt x="788031" y="215536"/>
                      </a:lnTo>
                      <a:lnTo>
                        <a:pt x="786327" y="218667"/>
                      </a:lnTo>
                      <a:lnTo>
                        <a:pt x="785989" y="221133"/>
                      </a:lnTo>
                      <a:lnTo>
                        <a:pt x="786895" y="224004"/>
                      </a:lnTo>
                      <a:lnTo>
                        <a:pt x="789349" y="224953"/>
                      </a:lnTo>
                      <a:lnTo>
                        <a:pt x="790222" y="223111"/>
                      </a:lnTo>
                      <a:lnTo>
                        <a:pt x="793115" y="212140"/>
                      </a:lnTo>
                      <a:lnTo>
                        <a:pt x="796146" y="204962"/>
                      </a:lnTo>
                      <a:lnTo>
                        <a:pt x="799735" y="199314"/>
                      </a:lnTo>
                      <a:lnTo>
                        <a:pt x="803904" y="195846"/>
                      </a:lnTo>
                      <a:lnTo>
                        <a:pt x="808663" y="195159"/>
                      </a:lnTo>
                      <a:lnTo>
                        <a:pt x="808379" y="202452"/>
                      </a:lnTo>
                      <a:lnTo>
                        <a:pt x="806835" y="206336"/>
                      </a:lnTo>
                      <a:lnTo>
                        <a:pt x="804919" y="209340"/>
                      </a:lnTo>
                      <a:lnTo>
                        <a:pt x="803550" y="213990"/>
                      </a:lnTo>
                      <a:lnTo>
                        <a:pt x="802651" y="220501"/>
                      </a:lnTo>
                      <a:lnTo>
                        <a:pt x="800384" y="230348"/>
                      </a:lnTo>
                      <a:lnTo>
                        <a:pt x="797205" y="239902"/>
                      </a:lnTo>
                      <a:lnTo>
                        <a:pt x="796596" y="244438"/>
                      </a:lnTo>
                      <a:lnTo>
                        <a:pt x="797194" y="249485"/>
                      </a:lnTo>
                      <a:lnTo>
                        <a:pt x="799385" y="255665"/>
                      </a:lnTo>
                      <a:lnTo>
                        <a:pt x="800937" y="261181"/>
                      </a:lnTo>
                      <a:lnTo>
                        <a:pt x="801524" y="267243"/>
                      </a:lnTo>
                      <a:lnTo>
                        <a:pt x="801902" y="278087"/>
                      </a:lnTo>
                      <a:lnTo>
                        <a:pt x="804113" y="290667"/>
                      </a:lnTo>
                      <a:lnTo>
                        <a:pt x="810186" y="312440"/>
                      </a:lnTo>
                      <a:lnTo>
                        <a:pt x="811811" y="322124"/>
                      </a:lnTo>
                      <a:lnTo>
                        <a:pt x="811658" y="328595"/>
                      </a:lnTo>
                      <a:lnTo>
                        <a:pt x="810572" y="332894"/>
                      </a:lnTo>
                      <a:lnTo>
                        <a:pt x="809179" y="336475"/>
                      </a:lnTo>
                      <a:lnTo>
                        <a:pt x="806556" y="346034"/>
                      </a:lnTo>
                      <a:lnTo>
                        <a:pt x="803803" y="350251"/>
                      </a:lnTo>
                      <a:lnTo>
                        <a:pt x="800555" y="352922"/>
                      </a:lnTo>
                      <a:lnTo>
                        <a:pt x="797521" y="353390"/>
                      </a:lnTo>
                      <a:lnTo>
                        <a:pt x="804086" y="355178"/>
                      </a:lnTo>
                      <a:lnTo>
                        <a:pt x="810222" y="347709"/>
                      </a:lnTo>
                      <a:lnTo>
                        <a:pt x="814746" y="335067"/>
                      </a:lnTo>
                      <a:lnTo>
                        <a:pt x="816618" y="321323"/>
                      </a:lnTo>
                      <a:lnTo>
                        <a:pt x="816163" y="314340"/>
                      </a:lnTo>
                      <a:lnTo>
                        <a:pt x="814807" y="310360"/>
                      </a:lnTo>
                      <a:lnTo>
                        <a:pt x="812842" y="306667"/>
                      </a:lnTo>
                      <a:lnTo>
                        <a:pt x="810665" y="300584"/>
                      </a:lnTo>
                      <a:lnTo>
                        <a:pt x="810065" y="297061"/>
                      </a:lnTo>
                      <a:lnTo>
                        <a:pt x="809558" y="290288"/>
                      </a:lnTo>
                      <a:lnTo>
                        <a:pt x="808831" y="287714"/>
                      </a:lnTo>
                      <a:lnTo>
                        <a:pt x="808090" y="285570"/>
                      </a:lnTo>
                      <a:lnTo>
                        <a:pt x="805837" y="277433"/>
                      </a:lnTo>
                      <a:lnTo>
                        <a:pt x="805309" y="271447"/>
                      </a:lnTo>
                      <a:lnTo>
                        <a:pt x="806076" y="261339"/>
                      </a:lnTo>
                      <a:lnTo>
                        <a:pt x="806179" y="255859"/>
                      </a:lnTo>
                      <a:lnTo>
                        <a:pt x="805428" y="248883"/>
                      </a:lnTo>
                      <a:lnTo>
                        <a:pt x="804417" y="242965"/>
                      </a:lnTo>
                      <a:lnTo>
                        <a:pt x="803896" y="237504"/>
                      </a:lnTo>
                      <a:lnTo>
                        <a:pt x="804589" y="231984"/>
                      </a:lnTo>
                      <a:lnTo>
                        <a:pt x="805534" y="229572"/>
                      </a:lnTo>
                      <a:lnTo>
                        <a:pt x="808610" y="224862"/>
                      </a:lnTo>
                      <a:lnTo>
                        <a:pt x="811643" y="222255"/>
                      </a:lnTo>
                      <a:lnTo>
                        <a:pt x="811574" y="218972"/>
                      </a:lnTo>
                      <a:lnTo>
                        <a:pt x="810955" y="215054"/>
                      </a:lnTo>
                      <a:lnTo>
                        <a:pt x="810775" y="211576"/>
                      </a:lnTo>
                      <a:lnTo>
                        <a:pt x="812714" y="206341"/>
                      </a:lnTo>
                      <a:lnTo>
                        <a:pt x="816368" y="202370"/>
                      </a:lnTo>
                      <a:lnTo>
                        <a:pt x="820601" y="200708"/>
                      </a:lnTo>
                      <a:lnTo>
                        <a:pt x="824381" y="202302"/>
                      </a:lnTo>
                      <a:lnTo>
                        <a:pt x="825136" y="208366"/>
                      </a:lnTo>
                      <a:lnTo>
                        <a:pt x="827624" y="213848"/>
                      </a:lnTo>
                      <a:lnTo>
                        <a:pt x="830497" y="216823"/>
                      </a:lnTo>
                      <a:lnTo>
                        <a:pt x="832352" y="215293"/>
                      </a:lnTo>
                      <a:lnTo>
                        <a:pt x="832299" y="212048"/>
                      </a:lnTo>
                      <a:lnTo>
                        <a:pt x="831248" y="209331"/>
                      </a:lnTo>
                      <a:lnTo>
                        <a:pt x="830031" y="206757"/>
                      </a:lnTo>
                      <a:lnTo>
                        <a:pt x="829532" y="203803"/>
                      </a:lnTo>
                      <a:lnTo>
                        <a:pt x="830161" y="200540"/>
                      </a:lnTo>
                      <a:lnTo>
                        <a:pt x="831505" y="198198"/>
                      </a:lnTo>
                      <a:lnTo>
                        <a:pt x="834512" y="195767"/>
                      </a:lnTo>
                      <a:lnTo>
                        <a:pt x="834067" y="193248"/>
                      </a:lnTo>
                      <a:lnTo>
                        <a:pt x="825644" y="194209"/>
                      </a:lnTo>
                      <a:lnTo>
                        <a:pt x="822714" y="192771"/>
                      </a:lnTo>
                      <a:lnTo>
                        <a:pt x="815096" y="184483"/>
                      </a:lnTo>
                      <a:lnTo>
                        <a:pt x="813921" y="183527"/>
                      </a:lnTo>
                      <a:lnTo>
                        <a:pt x="813767" y="179800"/>
                      </a:lnTo>
                      <a:lnTo>
                        <a:pt x="818557" y="155415"/>
                      </a:lnTo>
                      <a:lnTo>
                        <a:pt x="818637" y="152033"/>
                      </a:lnTo>
                      <a:lnTo>
                        <a:pt x="818256" y="144308"/>
                      </a:lnTo>
                      <a:lnTo>
                        <a:pt x="818471" y="140846"/>
                      </a:lnTo>
                      <a:lnTo>
                        <a:pt x="819695" y="136997"/>
                      </a:lnTo>
                      <a:lnTo>
                        <a:pt x="821496" y="136002"/>
                      </a:lnTo>
                      <a:lnTo>
                        <a:pt x="826527" y="137061"/>
                      </a:lnTo>
                      <a:lnTo>
                        <a:pt x="830863" y="136595"/>
                      </a:lnTo>
                      <a:lnTo>
                        <a:pt x="831354" y="134939"/>
                      </a:lnTo>
                      <a:lnTo>
                        <a:pt x="829592" y="131520"/>
                      </a:lnTo>
                      <a:lnTo>
                        <a:pt x="824954" y="127913"/>
                      </a:lnTo>
                      <a:lnTo>
                        <a:pt x="820537" y="126064"/>
                      </a:lnTo>
                      <a:lnTo>
                        <a:pt x="818136" y="121982"/>
                      </a:lnTo>
                      <a:lnTo>
                        <a:pt x="819655" y="111673"/>
                      </a:lnTo>
                      <a:lnTo>
                        <a:pt x="827193" y="96737"/>
                      </a:lnTo>
                      <a:lnTo>
                        <a:pt x="830341" y="81955"/>
                      </a:lnTo>
                      <a:lnTo>
                        <a:pt x="832796" y="74814"/>
                      </a:lnTo>
                      <a:lnTo>
                        <a:pt x="835833" y="68969"/>
                      </a:lnTo>
                      <a:lnTo>
                        <a:pt x="839023" y="65193"/>
                      </a:lnTo>
                      <a:lnTo>
                        <a:pt x="867664" y="56286"/>
                      </a:lnTo>
                      <a:lnTo>
                        <a:pt x="870687" y="56910"/>
                      </a:lnTo>
                      <a:lnTo>
                        <a:pt x="873603" y="59068"/>
                      </a:lnTo>
                      <a:lnTo>
                        <a:pt x="873621" y="60579"/>
                      </a:lnTo>
                      <a:lnTo>
                        <a:pt x="869310" y="62176"/>
                      </a:lnTo>
                      <a:lnTo>
                        <a:pt x="869738" y="64486"/>
                      </a:lnTo>
                      <a:lnTo>
                        <a:pt x="887759" y="62671"/>
                      </a:lnTo>
                      <a:lnTo>
                        <a:pt x="893230" y="67168"/>
                      </a:lnTo>
                      <a:lnTo>
                        <a:pt x="893715" y="68739"/>
                      </a:lnTo>
                      <a:lnTo>
                        <a:pt x="894505" y="73570"/>
                      </a:lnTo>
                      <a:lnTo>
                        <a:pt x="895189" y="75447"/>
                      </a:lnTo>
                      <a:lnTo>
                        <a:pt x="896448" y="77130"/>
                      </a:lnTo>
                      <a:lnTo>
                        <a:pt x="897800" y="78497"/>
                      </a:lnTo>
                      <a:lnTo>
                        <a:pt x="900374" y="80253"/>
                      </a:lnTo>
                      <a:lnTo>
                        <a:pt x="909637" y="80592"/>
                      </a:lnTo>
                      <a:lnTo>
                        <a:pt x="912824" y="82960"/>
                      </a:lnTo>
                      <a:lnTo>
                        <a:pt x="911085" y="88577"/>
                      </a:lnTo>
                      <a:lnTo>
                        <a:pt x="903159" y="99146"/>
                      </a:lnTo>
                      <a:lnTo>
                        <a:pt x="906764" y="101512"/>
                      </a:lnTo>
                      <a:lnTo>
                        <a:pt x="917430" y="99141"/>
                      </a:lnTo>
                      <a:lnTo>
                        <a:pt x="915837" y="102185"/>
                      </a:lnTo>
                      <a:lnTo>
                        <a:pt x="913142" y="104220"/>
                      </a:lnTo>
                      <a:lnTo>
                        <a:pt x="907548" y="105543"/>
                      </a:lnTo>
                      <a:lnTo>
                        <a:pt x="908845" y="108937"/>
                      </a:lnTo>
                      <a:lnTo>
                        <a:pt x="910226" y="110183"/>
                      </a:lnTo>
                      <a:lnTo>
                        <a:pt x="911658" y="110046"/>
                      </a:lnTo>
                      <a:lnTo>
                        <a:pt x="913092" y="109320"/>
                      </a:lnTo>
                      <a:lnTo>
                        <a:pt x="912666" y="114351"/>
                      </a:lnTo>
                      <a:lnTo>
                        <a:pt x="910409" y="116629"/>
                      </a:lnTo>
                      <a:lnTo>
                        <a:pt x="907620" y="118060"/>
                      </a:lnTo>
                      <a:lnTo>
                        <a:pt x="905630" y="120517"/>
                      </a:lnTo>
                      <a:lnTo>
                        <a:pt x="906216" y="121409"/>
                      </a:lnTo>
                      <a:lnTo>
                        <a:pt x="906642" y="121905"/>
                      </a:lnTo>
                      <a:lnTo>
                        <a:pt x="907590" y="122558"/>
                      </a:lnTo>
                      <a:lnTo>
                        <a:pt x="906947" y="127483"/>
                      </a:lnTo>
                      <a:lnTo>
                        <a:pt x="910279" y="129699"/>
                      </a:lnTo>
                      <a:lnTo>
                        <a:pt x="912354" y="126826"/>
                      </a:lnTo>
                      <a:lnTo>
                        <a:pt x="915111" y="116142"/>
                      </a:lnTo>
                      <a:lnTo>
                        <a:pt x="917054" y="112818"/>
                      </a:lnTo>
                      <a:lnTo>
                        <a:pt x="930614" y="107270"/>
                      </a:lnTo>
                      <a:lnTo>
                        <a:pt x="948507" y="90553"/>
                      </a:lnTo>
                      <a:lnTo>
                        <a:pt x="953750" y="89891"/>
                      </a:lnTo>
                      <a:lnTo>
                        <a:pt x="958554" y="94667"/>
                      </a:lnTo>
                      <a:lnTo>
                        <a:pt x="961358" y="107377"/>
                      </a:lnTo>
                      <a:lnTo>
                        <a:pt x="960796" y="116081"/>
                      </a:lnTo>
                      <a:lnTo>
                        <a:pt x="955782" y="125810"/>
                      </a:lnTo>
                      <a:lnTo>
                        <a:pt x="954441" y="132955"/>
                      </a:lnTo>
                      <a:lnTo>
                        <a:pt x="969737" y="125199"/>
                      </a:lnTo>
                      <a:lnTo>
                        <a:pt x="971206" y="122910"/>
                      </a:lnTo>
                      <a:lnTo>
                        <a:pt x="971788" y="120046"/>
                      </a:lnTo>
                      <a:lnTo>
                        <a:pt x="972178" y="116888"/>
                      </a:lnTo>
                      <a:lnTo>
                        <a:pt x="972991" y="113764"/>
                      </a:lnTo>
                      <a:lnTo>
                        <a:pt x="980232" y="98161"/>
                      </a:lnTo>
                      <a:lnTo>
                        <a:pt x="983546" y="94544"/>
                      </a:lnTo>
                      <a:lnTo>
                        <a:pt x="991867" y="92030"/>
                      </a:lnTo>
                      <a:lnTo>
                        <a:pt x="996136" y="92876"/>
                      </a:lnTo>
                      <a:lnTo>
                        <a:pt x="1009601" y="100521"/>
                      </a:lnTo>
                      <a:lnTo>
                        <a:pt x="1008433" y="106665"/>
                      </a:lnTo>
                      <a:lnTo>
                        <a:pt x="1005717" y="110278"/>
                      </a:lnTo>
                      <a:lnTo>
                        <a:pt x="999578" y="114338"/>
                      </a:lnTo>
                      <a:lnTo>
                        <a:pt x="1004002" y="116670"/>
                      </a:lnTo>
                      <a:lnTo>
                        <a:pt x="1016746" y="115933"/>
                      </a:lnTo>
                      <a:lnTo>
                        <a:pt x="1029471" y="123088"/>
                      </a:lnTo>
                      <a:lnTo>
                        <a:pt x="1031345" y="126239"/>
                      </a:lnTo>
                      <a:lnTo>
                        <a:pt x="1029830" y="130507"/>
                      </a:lnTo>
                      <a:lnTo>
                        <a:pt x="1023869" y="137047"/>
                      </a:lnTo>
                      <a:lnTo>
                        <a:pt x="1012032" y="143474"/>
                      </a:lnTo>
                      <a:lnTo>
                        <a:pt x="1009332" y="146321"/>
                      </a:lnTo>
                      <a:lnTo>
                        <a:pt x="1009802" y="148637"/>
                      </a:lnTo>
                      <a:lnTo>
                        <a:pt x="1011197" y="147830"/>
                      </a:lnTo>
                      <a:lnTo>
                        <a:pt x="1012612" y="147734"/>
                      </a:lnTo>
                      <a:lnTo>
                        <a:pt x="1014000" y="149007"/>
                      </a:lnTo>
                      <a:lnTo>
                        <a:pt x="1015312" y="152347"/>
                      </a:lnTo>
                      <a:lnTo>
                        <a:pt x="1010654" y="153115"/>
                      </a:lnTo>
                      <a:lnTo>
                        <a:pt x="1000411" y="150668"/>
                      </a:lnTo>
                      <a:lnTo>
                        <a:pt x="995788" y="151406"/>
                      </a:lnTo>
                      <a:lnTo>
                        <a:pt x="996251" y="153710"/>
                      </a:lnTo>
                      <a:lnTo>
                        <a:pt x="1015531" y="154641"/>
                      </a:lnTo>
                      <a:lnTo>
                        <a:pt x="1046080" y="135563"/>
                      </a:lnTo>
                      <a:lnTo>
                        <a:pt x="1051380" y="135427"/>
                      </a:lnTo>
                      <a:lnTo>
                        <a:pt x="1061585" y="139103"/>
                      </a:lnTo>
                      <a:lnTo>
                        <a:pt x="1064427" y="142899"/>
                      </a:lnTo>
                      <a:lnTo>
                        <a:pt x="1061138" y="147857"/>
                      </a:lnTo>
                      <a:lnTo>
                        <a:pt x="1083860" y="160620"/>
                      </a:lnTo>
                      <a:lnTo>
                        <a:pt x="1086810" y="169305"/>
                      </a:lnTo>
                      <a:lnTo>
                        <a:pt x="1093491" y="175397"/>
                      </a:lnTo>
                      <a:lnTo>
                        <a:pt x="1096837" y="176792"/>
                      </a:lnTo>
                      <a:lnTo>
                        <a:pt x="1097397" y="173111"/>
                      </a:lnTo>
                      <a:lnTo>
                        <a:pt x="1098444" y="170445"/>
                      </a:lnTo>
                      <a:lnTo>
                        <a:pt x="1106697" y="160073"/>
                      </a:lnTo>
                      <a:lnTo>
                        <a:pt x="1109511" y="161634"/>
                      </a:lnTo>
                      <a:lnTo>
                        <a:pt x="1114620" y="170733"/>
                      </a:lnTo>
                      <a:lnTo>
                        <a:pt x="1116762" y="172637"/>
                      </a:lnTo>
                      <a:lnTo>
                        <a:pt x="1119171" y="174080"/>
                      </a:lnTo>
                      <a:lnTo>
                        <a:pt x="1128835" y="186951"/>
                      </a:lnTo>
                      <a:lnTo>
                        <a:pt x="1127836" y="190878"/>
                      </a:lnTo>
                      <a:lnTo>
                        <a:pt x="1126437" y="193824"/>
                      </a:lnTo>
                      <a:lnTo>
                        <a:pt x="1125823" y="197093"/>
                      </a:lnTo>
                      <a:lnTo>
                        <a:pt x="1127180" y="202026"/>
                      </a:lnTo>
                      <a:lnTo>
                        <a:pt x="1129317" y="205153"/>
                      </a:lnTo>
                      <a:lnTo>
                        <a:pt x="1131658" y="206854"/>
                      </a:lnTo>
                      <a:lnTo>
                        <a:pt x="1134089" y="209270"/>
                      </a:lnTo>
                      <a:lnTo>
                        <a:pt x="1136495" y="214496"/>
                      </a:lnTo>
                      <a:lnTo>
                        <a:pt x="1132367" y="215164"/>
                      </a:lnTo>
                      <a:lnTo>
                        <a:pt x="1121641" y="224915"/>
                      </a:lnTo>
                      <a:lnTo>
                        <a:pt x="1078739" y="239191"/>
                      </a:lnTo>
                      <a:lnTo>
                        <a:pt x="1075563" y="243233"/>
                      </a:lnTo>
                      <a:lnTo>
                        <a:pt x="1077151" y="251095"/>
                      </a:lnTo>
                      <a:lnTo>
                        <a:pt x="1075109" y="256038"/>
                      </a:lnTo>
                      <a:lnTo>
                        <a:pt x="1065278" y="260726"/>
                      </a:lnTo>
                      <a:lnTo>
                        <a:pt x="1063223" y="264532"/>
                      </a:lnTo>
                      <a:lnTo>
                        <a:pt x="1062143" y="269200"/>
                      </a:lnTo>
                      <a:lnTo>
                        <a:pt x="1062943" y="273259"/>
                      </a:lnTo>
                      <a:lnTo>
                        <a:pt x="1066550" y="275142"/>
                      </a:lnTo>
                      <a:lnTo>
                        <a:pt x="1064899" y="284005"/>
                      </a:lnTo>
                      <a:lnTo>
                        <a:pt x="1061362" y="289069"/>
                      </a:lnTo>
                      <a:lnTo>
                        <a:pt x="1043204" y="301500"/>
                      </a:lnTo>
                      <a:lnTo>
                        <a:pt x="1040807" y="304631"/>
                      </a:lnTo>
                      <a:lnTo>
                        <a:pt x="1041098" y="306983"/>
                      </a:lnTo>
                      <a:lnTo>
                        <a:pt x="1043192" y="308289"/>
                      </a:lnTo>
                      <a:lnTo>
                        <a:pt x="1046299" y="308317"/>
                      </a:lnTo>
                      <a:lnTo>
                        <a:pt x="990400" y="310590"/>
                      </a:lnTo>
                      <a:lnTo>
                        <a:pt x="934545" y="312437"/>
                      </a:lnTo>
                      <a:lnTo>
                        <a:pt x="935270" y="312304"/>
                      </a:lnTo>
                      <a:lnTo>
                        <a:pt x="900189" y="307770"/>
                      </a:lnTo>
                      <a:lnTo>
                        <a:pt x="865179" y="303070"/>
                      </a:lnTo>
                      <a:lnTo>
                        <a:pt x="861218" y="305656"/>
                      </a:lnTo>
                      <a:lnTo>
                        <a:pt x="859862" y="311360"/>
                      </a:lnTo>
                      <a:lnTo>
                        <a:pt x="877633" y="306076"/>
                      </a:lnTo>
                      <a:lnTo>
                        <a:pt x="876308" y="312706"/>
                      </a:lnTo>
                      <a:lnTo>
                        <a:pt x="872318" y="318746"/>
                      </a:lnTo>
                      <a:lnTo>
                        <a:pt x="867543" y="323147"/>
                      </a:lnTo>
                      <a:lnTo>
                        <a:pt x="863913" y="325035"/>
                      </a:lnTo>
                      <a:lnTo>
                        <a:pt x="866918" y="329153"/>
                      </a:lnTo>
                      <a:lnTo>
                        <a:pt x="871453" y="330862"/>
                      </a:lnTo>
                      <a:lnTo>
                        <a:pt x="879410" y="329972"/>
                      </a:lnTo>
                      <a:lnTo>
                        <a:pt x="883429" y="324767"/>
                      </a:lnTo>
                      <a:lnTo>
                        <a:pt x="884877" y="324597"/>
                      </a:lnTo>
                      <a:lnTo>
                        <a:pt x="891099" y="327583"/>
                      </a:lnTo>
                      <a:lnTo>
                        <a:pt x="893006" y="327575"/>
                      </a:lnTo>
                      <a:lnTo>
                        <a:pt x="893384" y="329664"/>
                      </a:lnTo>
                      <a:lnTo>
                        <a:pt x="882773" y="331138"/>
                      </a:lnTo>
                      <a:lnTo>
                        <a:pt x="880201" y="334388"/>
                      </a:lnTo>
                      <a:lnTo>
                        <a:pt x="903129" y="334446"/>
                      </a:lnTo>
                      <a:lnTo>
                        <a:pt x="912288" y="339138"/>
                      </a:lnTo>
                      <a:lnTo>
                        <a:pt x="928964" y="335509"/>
                      </a:lnTo>
                      <a:lnTo>
                        <a:pt x="928578" y="339110"/>
                      </a:lnTo>
                      <a:lnTo>
                        <a:pt x="928235" y="340417"/>
                      </a:lnTo>
                      <a:lnTo>
                        <a:pt x="932528" y="339235"/>
                      </a:lnTo>
                      <a:lnTo>
                        <a:pt x="935105" y="339379"/>
                      </a:lnTo>
                      <a:lnTo>
                        <a:pt x="936596" y="341295"/>
                      </a:lnTo>
                      <a:lnTo>
                        <a:pt x="935853" y="342919"/>
                      </a:lnTo>
                      <a:lnTo>
                        <a:pt x="930664" y="349555"/>
                      </a:lnTo>
                      <a:lnTo>
                        <a:pt x="934395" y="351522"/>
                      </a:lnTo>
                      <a:lnTo>
                        <a:pt x="955427" y="345007"/>
                      </a:lnTo>
                      <a:lnTo>
                        <a:pt x="961537" y="348053"/>
                      </a:lnTo>
                      <a:lnTo>
                        <a:pt x="998319" y="353542"/>
                      </a:lnTo>
                      <a:lnTo>
                        <a:pt x="995962" y="355251"/>
                      </a:lnTo>
                      <a:lnTo>
                        <a:pt x="987694" y="367451"/>
                      </a:lnTo>
                      <a:lnTo>
                        <a:pt x="983006" y="372001"/>
                      </a:lnTo>
                      <a:lnTo>
                        <a:pt x="978928" y="377922"/>
                      </a:lnTo>
                      <a:lnTo>
                        <a:pt x="974173" y="382292"/>
                      </a:lnTo>
                      <a:lnTo>
                        <a:pt x="972692" y="386247"/>
                      </a:lnTo>
                      <a:lnTo>
                        <a:pt x="972358" y="388685"/>
                      </a:lnTo>
                      <a:lnTo>
                        <a:pt x="972292" y="390101"/>
                      </a:lnTo>
                      <a:lnTo>
                        <a:pt x="972077" y="391456"/>
                      </a:lnTo>
                      <a:lnTo>
                        <a:pt x="971304" y="393819"/>
                      </a:lnTo>
                      <a:lnTo>
                        <a:pt x="970592" y="395154"/>
                      </a:lnTo>
                      <a:lnTo>
                        <a:pt x="967904" y="397929"/>
                      </a:lnTo>
                      <a:lnTo>
                        <a:pt x="973874" y="397792"/>
                      </a:lnTo>
                      <a:lnTo>
                        <a:pt x="976160" y="395447"/>
                      </a:lnTo>
                      <a:lnTo>
                        <a:pt x="978675" y="386014"/>
                      </a:lnTo>
                      <a:lnTo>
                        <a:pt x="982409" y="377753"/>
                      </a:lnTo>
                      <a:lnTo>
                        <a:pt x="984396" y="375648"/>
                      </a:lnTo>
                      <a:lnTo>
                        <a:pt x="986038" y="375180"/>
                      </a:lnTo>
                      <a:lnTo>
                        <a:pt x="987799" y="375435"/>
                      </a:lnTo>
                      <a:lnTo>
                        <a:pt x="989644" y="376375"/>
                      </a:lnTo>
                      <a:lnTo>
                        <a:pt x="991504" y="377899"/>
                      </a:lnTo>
                      <a:lnTo>
                        <a:pt x="993319" y="378527"/>
                      </a:lnTo>
                      <a:lnTo>
                        <a:pt x="995922" y="376000"/>
                      </a:lnTo>
                      <a:lnTo>
                        <a:pt x="1000657" y="377105"/>
                      </a:lnTo>
                      <a:lnTo>
                        <a:pt x="1005341" y="371882"/>
                      </a:lnTo>
                      <a:lnTo>
                        <a:pt x="1008884" y="373382"/>
                      </a:lnTo>
                      <a:lnTo>
                        <a:pt x="1008628" y="378014"/>
                      </a:lnTo>
                      <a:lnTo>
                        <a:pt x="1009966" y="380825"/>
                      </a:lnTo>
                      <a:lnTo>
                        <a:pt x="1011469" y="383459"/>
                      </a:lnTo>
                      <a:lnTo>
                        <a:pt x="1011647" y="387493"/>
                      </a:lnTo>
                      <a:lnTo>
                        <a:pt x="1017461" y="395990"/>
                      </a:lnTo>
                      <a:lnTo>
                        <a:pt x="1015765" y="399742"/>
                      </a:lnTo>
                      <a:lnTo>
                        <a:pt x="1015333" y="408952"/>
                      </a:lnTo>
                      <a:lnTo>
                        <a:pt x="1011564" y="413069"/>
                      </a:lnTo>
                      <a:lnTo>
                        <a:pt x="1007091" y="421443"/>
                      </a:lnTo>
                      <a:lnTo>
                        <a:pt x="1007155" y="424426"/>
                      </a:lnTo>
                      <a:lnTo>
                        <a:pt x="1007642" y="426938"/>
                      </a:lnTo>
                      <a:lnTo>
                        <a:pt x="1005396" y="428039"/>
                      </a:lnTo>
                      <a:lnTo>
                        <a:pt x="1004553" y="431422"/>
                      </a:lnTo>
                      <a:lnTo>
                        <a:pt x="1004190" y="435702"/>
                      </a:lnTo>
                      <a:lnTo>
                        <a:pt x="1003336" y="439558"/>
                      </a:lnTo>
                      <a:lnTo>
                        <a:pt x="1001476" y="442015"/>
                      </a:lnTo>
                      <a:lnTo>
                        <a:pt x="996704" y="444162"/>
                      </a:lnTo>
                      <a:lnTo>
                        <a:pt x="994606" y="446017"/>
                      </a:lnTo>
                      <a:lnTo>
                        <a:pt x="998819" y="445396"/>
                      </a:lnTo>
                      <a:lnTo>
                        <a:pt x="998520" y="450048"/>
                      </a:lnTo>
                      <a:lnTo>
                        <a:pt x="996442" y="456840"/>
                      </a:lnTo>
                      <a:lnTo>
                        <a:pt x="995272" y="462687"/>
                      </a:lnTo>
                      <a:lnTo>
                        <a:pt x="998829" y="459427"/>
                      </a:lnTo>
                      <a:lnTo>
                        <a:pt x="1000322" y="456840"/>
                      </a:lnTo>
                      <a:lnTo>
                        <a:pt x="1002497" y="449427"/>
                      </a:lnTo>
                      <a:lnTo>
                        <a:pt x="1013114" y="433144"/>
                      </a:lnTo>
                      <a:lnTo>
                        <a:pt x="1016920" y="430410"/>
                      </a:lnTo>
                      <a:lnTo>
                        <a:pt x="1029118" y="427062"/>
                      </a:lnTo>
                      <a:lnTo>
                        <a:pt x="1039110" y="427820"/>
                      </a:lnTo>
                      <a:lnTo>
                        <a:pt x="1039836" y="427276"/>
                      </a:lnTo>
                      <a:lnTo>
                        <a:pt x="1047700" y="414972"/>
                      </a:lnTo>
                      <a:lnTo>
                        <a:pt x="1051552" y="411419"/>
                      </a:lnTo>
                      <a:lnTo>
                        <a:pt x="1055729" y="412605"/>
                      </a:lnTo>
                      <a:lnTo>
                        <a:pt x="1054068" y="416044"/>
                      </a:lnTo>
                      <a:lnTo>
                        <a:pt x="1052826" y="424708"/>
                      </a:lnTo>
                      <a:lnTo>
                        <a:pt x="1051515" y="429182"/>
                      </a:lnTo>
                      <a:lnTo>
                        <a:pt x="1046793" y="433720"/>
                      </a:lnTo>
                      <a:lnTo>
                        <a:pt x="1045294" y="437382"/>
                      </a:lnTo>
                      <a:lnTo>
                        <a:pt x="1046816" y="443437"/>
                      </a:lnTo>
                      <a:lnTo>
                        <a:pt x="1047168" y="437201"/>
                      </a:lnTo>
                      <a:lnTo>
                        <a:pt x="1049560" y="433579"/>
                      </a:lnTo>
                      <a:lnTo>
                        <a:pt x="1054968" y="429593"/>
                      </a:lnTo>
                      <a:lnTo>
                        <a:pt x="1058780" y="422688"/>
                      </a:lnTo>
                      <a:lnTo>
                        <a:pt x="1060004" y="422891"/>
                      </a:lnTo>
                      <a:lnTo>
                        <a:pt x="1063996" y="430020"/>
                      </a:lnTo>
                      <a:lnTo>
                        <a:pt x="1066183" y="433116"/>
                      </a:lnTo>
                      <a:lnTo>
                        <a:pt x="1074679" y="438431"/>
                      </a:lnTo>
                      <a:lnTo>
                        <a:pt x="1075896" y="437702"/>
                      </a:lnTo>
                      <a:lnTo>
                        <a:pt x="1075548" y="434957"/>
                      </a:lnTo>
                      <a:lnTo>
                        <a:pt x="1074255" y="433006"/>
                      </a:lnTo>
                      <a:lnTo>
                        <a:pt x="1071372" y="430079"/>
                      </a:lnTo>
                      <a:lnTo>
                        <a:pt x="1064515" y="420177"/>
                      </a:lnTo>
                      <a:lnTo>
                        <a:pt x="1062315" y="416322"/>
                      </a:lnTo>
                      <a:lnTo>
                        <a:pt x="1064535" y="414478"/>
                      </a:lnTo>
                      <a:lnTo>
                        <a:pt x="1071062" y="412290"/>
                      </a:lnTo>
                      <a:lnTo>
                        <a:pt x="1072619" y="409253"/>
                      </a:lnTo>
                      <a:lnTo>
                        <a:pt x="1071899" y="404403"/>
                      </a:lnTo>
                      <a:lnTo>
                        <a:pt x="1069584" y="401606"/>
                      </a:lnTo>
                      <a:lnTo>
                        <a:pt x="1066696" y="399441"/>
                      </a:lnTo>
                      <a:lnTo>
                        <a:pt x="1064193" y="396482"/>
                      </a:lnTo>
                      <a:lnTo>
                        <a:pt x="1064129" y="392018"/>
                      </a:lnTo>
                      <a:lnTo>
                        <a:pt x="1062814" y="384273"/>
                      </a:lnTo>
                      <a:lnTo>
                        <a:pt x="1061199" y="376803"/>
                      </a:lnTo>
                      <a:lnTo>
                        <a:pt x="1060226" y="373179"/>
                      </a:lnTo>
                      <a:lnTo>
                        <a:pt x="1069053" y="371417"/>
                      </a:lnTo>
                      <a:lnTo>
                        <a:pt x="1074203" y="367916"/>
                      </a:lnTo>
                      <a:lnTo>
                        <a:pt x="1076007" y="368716"/>
                      </a:lnTo>
                      <a:lnTo>
                        <a:pt x="1079605" y="373675"/>
                      </a:lnTo>
                      <a:lnTo>
                        <a:pt x="1079478" y="376471"/>
                      </a:lnTo>
                      <a:lnTo>
                        <a:pt x="1074676" y="382333"/>
                      </a:lnTo>
                      <a:lnTo>
                        <a:pt x="1078759" y="384053"/>
                      </a:lnTo>
                      <a:lnTo>
                        <a:pt x="1086552" y="379163"/>
                      </a:lnTo>
                      <a:lnTo>
                        <a:pt x="1090310" y="381590"/>
                      </a:lnTo>
                      <a:lnTo>
                        <a:pt x="1091289" y="383976"/>
                      </a:lnTo>
                      <a:lnTo>
                        <a:pt x="1092031" y="386940"/>
                      </a:lnTo>
                      <a:lnTo>
                        <a:pt x="1092701" y="390079"/>
                      </a:lnTo>
                      <a:lnTo>
                        <a:pt x="1093428" y="393019"/>
                      </a:lnTo>
                      <a:lnTo>
                        <a:pt x="1095724" y="400467"/>
                      </a:lnTo>
                      <a:lnTo>
                        <a:pt x="1095979" y="400932"/>
                      </a:lnTo>
                      <a:lnTo>
                        <a:pt x="1099207" y="415757"/>
                      </a:lnTo>
                      <a:lnTo>
                        <a:pt x="1101174" y="427477"/>
                      </a:lnTo>
                      <a:lnTo>
                        <a:pt x="1100165" y="435423"/>
                      </a:lnTo>
                      <a:lnTo>
                        <a:pt x="1094591" y="438776"/>
                      </a:lnTo>
                      <a:lnTo>
                        <a:pt x="1097771" y="440460"/>
                      </a:lnTo>
                      <a:lnTo>
                        <a:pt x="1105452" y="436576"/>
                      </a:lnTo>
                      <a:lnTo>
                        <a:pt x="1106812" y="434762"/>
                      </a:lnTo>
                      <a:lnTo>
                        <a:pt x="1106665" y="431073"/>
                      </a:lnTo>
                      <a:lnTo>
                        <a:pt x="1105290" y="422145"/>
                      </a:lnTo>
                      <a:lnTo>
                        <a:pt x="1103871" y="418284"/>
                      </a:lnTo>
                      <a:lnTo>
                        <a:pt x="1103410" y="416065"/>
                      </a:lnTo>
                      <a:lnTo>
                        <a:pt x="1104820" y="414227"/>
                      </a:lnTo>
                      <a:lnTo>
                        <a:pt x="1104907" y="412830"/>
                      </a:lnTo>
                      <a:lnTo>
                        <a:pt x="1104692" y="410978"/>
                      </a:lnTo>
                      <a:lnTo>
                        <a:pt x="1104308" y="408988"/>
                      </a:lnTo>
                      <a:lnTo>
                        <a:pt x="1103022" y="405242"/>
                      </a:lnTo>
                      <a:lnTo>
                        <a:pt x="1101513" y="402332"/>
                      </a:lnTo>
                      <a:lnTo>
                        <a:pt x="1100526" y="399590"/>
                      </a:lnTo>
                      <a:lnTo>
                        <a:pt x="1100840" y="396323"/>
                      </a:lnTo>
                      <a:lnTo>
                        <a:pt x="1098381" y="389931"/>
                      </a:lnTo>
                      <a:lnTo>
                        <a:pt x="1101591" y="386488"/>
                      </a:lnTo>
                      <a:lnTo>
                        <a:pt x="1127492" y="384557"/>
                      </a:lnTo>
                      <a:lnTo>
                        <a:pt x="1130826" y="387731"/>
                      </a:lnTo>
                      <a:lnTo>
                        <a:pt x="1129553" y="389691"/>
                      </a:lnTo>
                      <a:lnTo>
                        <a:pt x="1129482" y="393013"/>
                      </a:lnTo>
                      <a:lnTo>
                        <a:pt x="1130454" y="396002"/>
                      </a:lnTo>
                      <a:lnTo>
                        <a:pt x="1132371" y="397070"/>
                      </a:lnTo>
                      <a:lnTo>
                        <a:pt x="1134058" y="396028"/>
                      </a:lnTo>
                      <a:lnTo>
                        <a:pt x="1135701" y="393931"/>
                      </a:lnTo>
                      <a:lnTo>
                        <a:pt x="1138508" y="388543"/>
                      </a:lnTo>
                      <a:lnTo>
                        <a:pt x="1139383" y="388360"/>
                      </a:lnTo>
                      <a:lnTo>
                        <a:pt x="1144296" y="381998"/>
                      </a:lnTo>
                      <a:lnTo>
                        <a:pt x="1147521" y="395318"/>
                      </a:lnTo>
                      <a:lnTo>
                        <a:pt x="1151568" y="400569"/>
                      </a:lnTo>
                      <a:lnTo>
                        <a:pt x="1153471" y="404187"/>
                      </a:lnTo>
                      <a:lnTo>
                        <a:pt x="1155362" y="409981"/>
                      </a:lnTo>
                      <a:lnTo>
                        <a:pt x="1155935" y="413239"/>
                      </a:lnTo>
                      <a:lnTo>
                        <a:pt x="1156880" y="415926"/>
                      </a:lnTo>
                      <a:lnTo>
                        <a:pt x="1159843" y="420032"/>
                      </a:lnTo>
                      <a:lnTo>
                        <a:pt x="1164177" y="425071"/>
                      </a:lnTo>
                      <a:lnTo>
                        <a:pt x="1170175" y="451121"/>
                      </a:lnTo>
                      <a:lnTo>
                        <a:pt x="1170931" y="456788"/>
                      </a:lnTo>
                      <a:lnTo>
                        <a:pt x="1170019" y="469058"/>
                      </a:lnTo>
                      <a:lnTo>
                        <a:pt x="1165885" y="475868"/>
                      </a:lnTo>
                      <a:lnTo>
                        <a:pt x="1154757" y="480300"/>
                      </a:lnTo>
                      <a:lnTo>
                        <a:pt x="1124856" y="481240"/>
                      </a:lnTo>
                      <a:lnTo>
                        <a:pt x="1120642" y="479346"/>
                      </a:lnTo>
                      <a:lnTo>
                        <a:pt x="1093297" y="458022"/>
                      </a:lnTo>
                      <a:lnTo>
                        <a:pt x="1084605" y="453750"/>
                      </a:lnTo>
                      <a:lnTo>
                        <a:pt x="1079073" y="453431"/>
                      </a:lnTo>
                      <a:lnTo>
                        <a:pt x="1073875" y="454976"/>
                      </a:lnTo>
                      <a:lnTo>
                        <a:pt x="1071624" y="457300"/>
                      </a:lnTo>
                      <a:lnTo>
                        <a:pt x="1073082" y="459870"/>
                      </a:lnTo>
                      <a:lnTo>
                        <a:pt x="1076215" y="462055"/>
                      </a:lnTo>
                      <a:lnTo>
                        <a:pt x="1083994" y="463968"/>
                      </a:lnTo>
                      <a:lnTo>
                        <a:pt x="1085918" y="466555"/>
                      </a:lnTo>
                      <a:lnTo>
                        <a:pt x="1088181" y="472518"/>
                      </a:lnTo>
                      <a:lnTo>
                        <a:pt x="1090167" y="480488"/>
                      </a:lnTo>
                      <a:lnTo>
                        <a:pt x="1090556" y="486591"/>
                      </a:lnTo>
                      <a:lnTo>
                        <a:pt x="1089760" y="491196"/>
                      </a:lnTo>
                      <a:lnTo>
                        <a:pt x="1088207" y="494697"/>
                      </a:lnTo>
                      <a:lnTo>
                        <a:pt x="1085357" y="497850"/>
                      </a:lnTo>
                      <a:lnTo>
                        <a:pt x="1084659" y="500012"/>
                      </a:lnTo>
                      <a:lnTo>
                        <a:pt x="1084524" y="505342"/>
                      </a:lnTo>
                      <a:lnTo>
                        <a:pt x="1085035" y="510271"/>
                      </a:lnTo>
                      <a:lnTo>
                        <a:pt x="1085848" y="514482"/>
                      </a:lnTo>
                      <a:lnTo>
                        <a:pt x="1086224" y="518435"/>
                      </a:lnTo>
                      <a:lnTo>
                        <a:pt x="1085320" y="522515"/>
                      </a:lnTo>
                      <a:lnTo>
                        <a:pt x="1074038" y="541425"/>
                      </a:lnTo>
                      <a:lnTo>
                        <a:pt x="1071328" y="549388"/>
                      </a:lnTo>
                      <a:lnTo>
                        <a:pt x="1069582" y="552515"/>
                      </a:lnTo>
                      <a:lnTo>
                        <a:pt x="1064409" y="556109"/>
                      </a:lnTo>
                      <a:lnTo>
                        <a:pt x="1046618" y="559927"/>
                      </a:lnTo>
                      <a:lnTo>
                        <a:pt x="1044239" y="562366"/>
                      </a:lnTo>
                      <a:lnTo>
                        <a:pt x="1038014" y="572890"/>
                      </a:lnTo>
                      <a:lnTo>
                        <a:pt x="1031755" y="577536"/>
                      </a:lnTo>
                      <a:lnTo>
                        <a:pt x="1011606" y="582506"/>
                      </a:lnTo>
                      <a:lnTo>
                        <a:pt x="1005326" y="587274"/>
                      </a:lnTo>
                      <a:lnTo>
                        <a:pt x="1001799" y="596454"/>
                      </a:lnTo>
                      <a:lnTo>
                        <a:pt x="1001783" y="601636"/>
                      </a:lnTo>
                      <a:lnTo>
                        <a:pt x="1002265" y="611290"/>
                      </a:lnTo>
                      <a:lnTo>
                        <a:pt x="1001800" y="614410"/>
                      </a:lnTo>
                      <a:lnTo>
                        <a:pt x="1002088" y="617247"/>
                      </a:lnTo>
                      <a:lnTo>
                        <a:pt x="1002609" y="620094"/>
                      </a:lnTo>
                      <a:lnTo>
                        <a:pt x="1002802" y="623185"/>
                      </a:lnTo>
                      <a:lnTo>
                        <a:pt x="1002437" y="626469"/>
                      </a:lnTo>
                      <a:lnTo>
                        <a:pt x="1001268" y="632228"/>
                      </a:lnTo>
                      <a:lnTo>
                        <a:pt x="1000932" y="635541"/>
                      </a:lnTo>
                      <a:lnTo>
                        <a:pt x="1001062" y="648149"/>
                      </a:lnTo>
                      <a:lnTo>
                        <a:pt x="1000781" y="653724"/>
                      </a:lnTo>
                      <a:lnTo>
                        <a:pt x="999479" y="659813"/>
                      </a:lnTo>
                      <a:lnTo>
                        <a:pt x="995479" y="670756"/>
                      </a:lnTo>
                      <a:lnTo>
                        <a:pt x="990488" y="679583"/>
                      </a:lnTo>
                      <a:lnTo>
                        <a:pt x="984495" y="684936"/>
                      </a:lnTo>
                      <a:lnTo>
                        <a:pt x="977462" y="685419"/>
                      </a:lnTo>
                      <a:lnTo>
                        <a:pt x="973432" y="687085"/>
                      </a:lnTo>
                      <a:lnTo>
                        <a:pt x="971478" y="689887"/>
                      </a:lnTo>
                      <a:lnTo>
                        <a:pt x="954290" y="674315"/>
                      </a:lnTo>
                      <a:lnTo>
                        <a:pt x="952185" y="671002"/>
                      </a:lnTo>
                      <a:lnTo>
                        <a:pt x="951128" y="665546"/>
                      </a:lnTo>
                      <a:lnTo>
                        <a:pt x="948655" y="639848"/>
                      </a:lnTo>
                      <a:lnTo>
                        <a:pt x="948265" y="632096"/>
                      </a:lnTo>
                      <a:lnTo>
                        <a:pt x="948986" y="627375"/>
                      </a:lnTo>
                      <a:lnTo>
                        <a:pt x="982826" y="564964"/>
                      </a:lnTo>
                      <a:lnTo>
                        <a:pt x="991021" y="532670"/>
                      </a:lnTo>
                      <a:lnTo>
                        <a:pt x="966455" y="494437"/>
                      </a:lnTo>
                      <a:lnTo>
                        <a:pt x="954894" y="469152"/>
                      </a:lnTo>
                      <a:lnTo>
                        <a:pt x="952365" y="466000"/>
                      </a:lnTo>
                      <a:lnTo>
                        <a:pt x="910511" y="453907"/>
                      </a:lnTo>
                      <a:lnTo>
                        <a:pt x="868820" y="441584"/>
                      </a:lnTo>
                      <a:lnTo>
                        <a:pt x="863976" y="440398"/>
                      </a:lnTo>
                      <a:lnTo>
                        <a:pt x="858848" y="437483"/>
                      </a:lnTo>
                      <a:lnTo>
                        <a:pt x="854744" y="431129"/>
                      </a:lnTo>
                      <a:lnTo>
                        <a:pt x="852921" y="419570"/>
                      </a:lnTo>
                      <a:lnTo>
                        <a:pt x="828651" y="413182"/>
                      </a:lnTo>
                      <a:lnTo>
                        <a:pt x="825602" y="410782"/>
                      </a:lnTo>
                      <a:lnTo>
                        <a:pt x="797205" y="375070"/>
                      </a:lnTo>
                      <a:lnTo>
                        <a:pt x="788455" y="361201"/>
                      </a:lnTo>
                      <a:lnTo>
                        <a:pt x="783996" y="355823"/>
                      </a:lnTo>
                      <a:lnTo>
                        <a:pt x="780200" y="354817"/>
                      </a:lnTo>
                      <a:lnTo>
                        <a:pt x="772416" y="361801"/>
                      </a:lnTo>
                      <a:lnTo>
                        <a:pt x="757090" y="360960"/>
                      </a:lnTo>
                      <a:lnTo>
                        <a:pt x="751315" y="364048"/>
                      </a:lnTo>
                      <a:lnTo>
                        <a:pt x="747614" y="372032"/>
                      </a:lnTo>
                      <a:lnTo>
                        <a:pt x="747670" y="378079"/>
                      </a:lnTo>
                      <a:lnTo>
                        <a:pt x="734976" y="387171"/>
                      </a:lnTo>
                      <a:lnTo>
                        <a:pt x="729006" y="398216"/>
                      </a:lnTo>
                      <a:lnTo>
                        <a:pt x="727270" y="399359"/>
                      </a:lnTo>
                      <a:lnTo>
                        <a:pt x="725437" y="399802"/>
                      </a:lnTo>
                      <a:lnTo>
                        <a:pt x="723871" y="400969"/>
                      </a:lnTo>
                      <a:lnTo>
                        <a:pt x="723014" y="404226"/>
                      </a:lnTo>
                      <a:lnTo>
                        <a:pt x="723992" y="404856"/>
                      </a:lnTo>
                      <a:lnTo>
                        <a:pt x="726057" y="406889"/>
                      </a:lnTo>
                      <a:lnTo>
                        <a:pt x="727026" y="407456"/>
                      </a:lnTo>
                      <a:lnTo>
                        <a:pt x="723283" y="414746"/>
                      </a:lnTo>
                      <a:lnTo>
                        <a:pt x="699896" y="427949"/>
                      </a:lnTo>
                      <a:lnTo>
                        <a:pt x="697587" y="427876"/>
                      </a:lnTo>
                      <a:lnTo>
                        <a:pt x="687921" y="422486"/>
                      </a:lnTo>
                      <a:lnTo>
                        <a:pt x="684770" y="422661"/>
                      </a:lnTo>
                      <a:lnTo>
                        <a:pt x="681408" y="424245"/>
                      </a:lnTo>
                      <a:lnTo>
                        <a:pt x="674179" y="420344"/>
                      </a:lnTo>
                      <a:lnTo>
                        <a:pt x="670336" y="419593"/>
                      </a:lnTo>
                      <a:lnTo>
                        <a:pt x="659931" y="424473"/>
                      </a:lnTo>
                      <a:lnTo>
                        <a:pt x="651972" y="423280"/>
                      </a:lnTo>
                      <a:lnTo>
                        <a:pt x="632104" y="429502"/>
                      </a:lnTo>
                      <a:lnTo>
                        <a:pt x="628537" y="432412"/>
                      </a:lnTo>
                      <a:lnTo>
                        <a:pt x="627141" y="439205"/>
                      </a:lnTo>
                      <a:lnTo>
                        <a:pt x="623853" y="445816"/>
                      </a:lnTo>
                      <a:lnTo>
                        <a:pt x="623033" y="448553"/>
                      </a:lnTo>
                      <a:lnTo>
                        <a:pt x="625322" y="454584"/>
                      </a:lnTo>
                      <a:lnTo>
                        <a:pt x="622862" y="462045"/>
                      </a:lnTo>
                      <a:lnTo>
                        <a:pt x="612752" y="477629"/>
                      </a:lnTo>
                      <a:lnTo>
                        <a:pt x="608728" y="490951"/>
                      </a:lnTo>
                      <a:lnTo>
                        <a:pt x="604594" y="500699"/>
                      </a:lnTo>
                      <a:lnTo>
                        <a:pt x="603593" y="503986"/>
                      </a:lnTo>
                      <a:lnTo>
                        <a:pt x="602430" y="506736"/>
                      </a:lnTo>
                      <a:lnTo>
                        <a:pt x="600623" y="508438"/>
                      </a:lnTo>
                      <a:lnTo>
                        <a:pt x="583518" y="515780"/>
                      </a:lnTo>
                      <a:lnTo>
                        <a:pt x="580655" y="518713"/>
                      </a:lnTo>
                      <a:lnTo>
                        <a:pt x="578483" y="524038"/>
                      </a:lnTo>
                      <a:lnTo>
                        <a:pt x="577523" y="528234"/>
                      </a:lnTo>
                      <a:lnTo>
                        <a:pt x="577157" y="531994"/>
                      </a:lnTo>
                      <a:lnTo>
                        <a:pt x="577925" y="535332"/>
                      </a:lnTo>
                      <a:lnTo>
                        <a:pt x="580342" y="538225"/>
                      </a:lnTo>
                      <a:lnTo>
                        <a:pt x="584237" y="545607"/>
                      </a:lnTo>
                      <a:lnTo>
                        <a:pt x="585180" y="553733"/>
                      </a:lnTo>
                      <a:lnTo>
                        <a:pt x="584044" y="561463"/>
                      </a:lnTo>
                      <a:lnTo>
                        <a:pt x="581696" y="567605"/>
                      </a:lnTo>
                      <a:lnTo>
                        <a:pt x="575248" y="574239"/>
                      </a:lnTo>
                      <a:lnTo>
                        <a:pt x="574125" y="578273"/>
                      </a:lnTo>
                      <a:lnTo>
                        <a:pt x="574868" y="580283"/>
                      </a:lnTo>
                      <a:lnTo>
                        <a:pt x="576427" y="582066"/>
                      </a:lnTo>
                      <a:lnTo>
                        <a:pt x="577351" y="584486"/>
                      </a:lnTo>
                      <a:lnTo>
                        <a:pt x="576130" y="588461"/>
                      </a:lnTo>
                      <a:lnTo>
                        <a:pt x="575889" y="592597"/>
                      </a:lnTo>
                      <a:lnTo>
                        <a:pt x="577076" y="600783"/>
                      </a:lnTo>
                      <a:lnTo>
                        <a:pt x="576335" y="603723"/>
                      </a:lnTo>
                      <a:lnTo>
                        <a:pt x="575199" y="605977"/>
                      </a:lnTo>
                      <a:lnTo>
                        <a:pt x="573296" y="614305"/>
                      </a:lnTo>
                      <a:lnTo>
                        <a:pt x="578796" y="627088"/>
                      </a:lnTo>
                      <a:lnTo>
                        <a:pt x="579741" y="629849"/>
                      </a:lnTo>
                      <a:lnTo>
                        <a:pt x="571345" y="651142"/>
                      </a:lnTo>
                      <a:lnTo>
                        <a:pt x="570497" y="656112"/>
                      </a:lnTo>
                      <a:lnTo>
                        <a:pt x="569521" y="684322"/>
                      </a:lnTo>
                      <a:lnTo>
                        <a:pt x="570327" y="693585"/>
                      </a:lnTo>
                      <a:lnTo>
                        <a:pt x="573407" y="702306"/>
                      </a:lnTo>
                      <a:lnTo>
                        <a:pt x="574311" y="704153"/>
                      </a:lnTo>
                      <a:lnTo>
                        <a:pt x="576670" y="709924"/>
                      </a:lnTo>
                      <a:lnTo>
                        <a:pt x="577335" y="712288"/>
                      </a:lnTo>
                      <a:lnTo>
                        <a:pt x="577523" y="714947"/>
                      </a:lnTo>
                      <a:lnTo>
                        <a:pt x="577289" y="716616"/>
                      </a:lnTo>
                      <a:lnTo>
                        <a:pt x="576964" y="717880"/>
                      </a:lnTo>
                      <a:lnTo>
                        <a:pt x="576901" y="719292"/>
                      </a:lnTo>
                      <a:lnTo>
                        <a:pt x="578186" y="730672"/>
                      </a:lnTo>
                      <a:lnTo>
                        <a:pt x="578263" y="733076"/>
                      </a:lnTo>
                      <a:lnTo>
                        <a:pt x="577735" y="736474"/>
                      </a:lnTo>
                      <a:lnTo>
                        <a:pt x="578114" y="738622"/>
                      </a:lnTo>
                      <a:lnTo>
                        <a:pt x="580639" y="743832"/>
                      </a:lnTo>
                      <a:lnTo>
                        <a:pt x="580900" y="745256"/>
                      </a:lnTo>
                      <a:lnTo>
                        <a:pt x="580939" y="746657"/>
                      </a:lnTo>
                      <a:lnTo>
                        <a:pt x="581289" y="748179"/>
                      </a:lnTo>
                      <a:lnTo>
                        <a:pt x="582499" y="749862"/>
                      </a:lnTo>
                      <a:lnTo>
                        <a:pt x="585168" y="752044"/>
                      </a:lnTo>
                      <a:lnTo>
                        <a:pt x="586394" y="753635"/>
                      </a:lnTo>
                      <a:lnTo>
                        <a:pt x="587150" y="755988"/>
                      </a:lnTo>
                      <a:lnTo>
                        <a:pt x="586625" y="760521"/>
                      </a:lnTo>
                      <a:lnTo>
                        <a:pt x="582122" y="766294"/>
                      </a:lnTo>
                      <a:lnTo>
                        <a:pt x="581298" y="770758"/>
                      </a:lnTo>
                      <a:lnTo>
                        <a:pt x="581235" y="775410"/>
                      </a:lnTo>
                      <a:lnTo>
                        <a:pt x="580315" y="779038"/>
                      </a:lnTo>
                      <a:lnTo>
                        <a:pt x="577165" y="785303"/>
                      </a:lnTo>
                      <a:lnTo>
                        <a:pt x="575707" y="790041"/>
                      </a:lnTo>
                      <a:lnTo>
                        <a:pt x="574861" y="795420"/>
                      </a:lnTo>
                      <a:lnTo>
                        <a:pt x="573665" y="800412"/>
                      </a:lnTo>
                      <a:lnTo>
                        <a:pt x="571118" y="803988"/>
                      </a:lnTo>
                      <a:lnTo>
                        <a:pt x="568072" y="805067"/>
                      </a:lnTo>
                      <a:lnTo>
                        <a:pt x="552390" y="801560"/>
                      </a:lnTo>
                      <a:lnTo>
                        <a:pt x="546725" y="803598"/>
                      </a:lnTo>
                      <a:lnTo>
                        <a:pt x="541337" y="807487"/>
                      </a:lnTo>
                      <a:lnTo>
                        <a:pt x="520857" y="831474"/>
                      </a:lnTo>
                      <a:lnTo>
                        <a:pt x="517214" y="841664"/>
                      </a:lnTo>
                      <a:lnTo>
                        <a:pt x="516393" y="848703"/>
                      </a:lnTo>
                      <a:lnTo>
                        <a:pt x="516696" y="856329"/>
                      </a:lnTo>
                      <a:lnTo>
                        <a:pt x="518372" y="872376"/>
                      </a:lnTo>
                      <a:lnTo>
                        <a:pt x="518141" y="875063"/>
                      </a:lnTo>
                      <a:lnTo>
                        <a:pt x="517621" y="877083"/>
                      </a:lnTo>
                      <a:lnTo>
                        <a:pt x="517791" y="879188"/>
                      </a:lnTo>
                      <a:lnTo>
                        <a:pt x="519649" y="881956"/>
                      </a:lnTo>
                      <a:lnTo>
                        <a:pt x="519003" y="889119"/>
                      </a:lnTo>
                      <a:lnTo>
                        <a:pt x="517544" y="892758"/>
                      </a:lnTo>
                      <a:lnTo>
                        <a:pt x="515232" y="894393"/>
                      </a:lnTo>
                      <a:lnTo>
                        <a:pt x="511962" y="895581"/>
                      </a:lnTo>
                      <a:lnTo>
                        <a:pt x="504611" y="902285"/>
                      </a:lnTo>
                      <a:lnTo>
                        <a:pt x="501379" y="902473"/>
                      </a:lnTo>
                      <a:lnTo>
                        <a:pt x="498084" y="906335"/>
                      </a:lnTo>
                      <a:lnTo>
                        <a:pt x="497036" y="912296"/>
                      </a:lnTo>
                      <a:lnTo>
                        <a:pt x="496353" y="918595"/>
                      </a:lnTo>
                      <a:lnTo>
                        <a:pt x="494128" y="923519"/>
                      </a:lnTo>
                      <a:lnTo>
                        <a:pt x="490952" y="924614"/>
                      </a:lnTo>
                      <a:lnTo>
                        <a:pt x="488319" y="921923"/>
                      </a:lnTo>
                      <a:lnTo>
                        <a:pt x="483193" y="911818"/>
                      </a:lnTo>
                      <a:lnTo>
                        <a:pt x="472045" y="897828"/>
                      </a:lnTo>
                      <a:lnTo>
                        <a:pt x="459611" y="889377"/>
                      </a:lnTo>
                      <a:lnTo>
                        <a:pt x="435973" y="883879"/>
                      </a:lnTo>
                      <a:lnTo>
                        <a:pt x="416665" y="879143"/>
                      </a:lnTo>
                      <a:lnTo>
                        <a:pt x="397203" y="868653"/>
                      </a:lnTo>
                      <a:lnTo>
                        <a:pt x="393953" y="865407"/>
                      </a:lnTo>
                      <a:lnTo>
                        <a:pt x="389146" y="858477"/>
                      </a:lnTo>
                      <a:lnTo>
                        <a:pt x="362596" y="847179"/>
                      </a:lnTo>
                      <a:lnTo>
                        <a:pt x="353077" y="847934"/>
                      </a:lnTo>
                      <a:lnTo>
                        <a:pt x="345496" y="854522"/>
                      </a:lnTo>
                      <a:lnTo>
                        <a:pt x="344547" y="869826"/>
                      </a:lnTo>
                      <a:lnTo>
                        <a:pt x="341735" y="884155"/>
                      </a:lnTo>
                      <a:lnTo>
                        <a:pt x="330740" y="892280"/>
                      </a:lnTo>
                      <a:lnTo>
                        <a:pt x="311008" y="897320"/>
                      </a:lnTo>
                      <a:lnTo>
                        <a:pt x="277446" y="923705"/>
                      </a:lnTo>
                      <a:lnTo>
                        <a:pt x="274546" y="922697"/>
                      </a:lnTo>
                      <a:lnTo>
                        <a:pt x="263403" y="906819"/>
                      </a:lnTo>
                      <a:lnTo>
                        <a:pt x="259773" y="903396"/>
                      </a:lnTo>
                      <a:lnTo>
                        <a:pt x="253063" y="901924"/>
                      </a:lnTo>
                      <a:lnTo>
                        <a:pt x="232361" y="907416"/>
                      </a:lnTo>
                      <a:lnTo>
                        <a:pt x="199062" y="893033"/>
                      </a:lnTo>
                      <a:lnTo>
                        <a:pt x="195706" y="892532"/>
                      </a:lnTo>
                      <a:lnTo>
                        <a:pt x="192324" y="893054"/>
                      </a:lnTo>
                      <a:lnTo>
                        <a:pt x="178436" y="899612"/>
                      </a:lnTo>
                      <a:lnTo>
                        <a:pt x="175916" y="898808"/>
                      </a:lnTo>
                      <a:lnTo>
                        <a:pt x="173870" y="892403"/>
                      </a:lnTo>
                      <a:lnTo>
                        <a:pt x="168414" y="861335"/>
                      </a:lnTo>
                      <a:lnTo>
                        <a:pt x="166343" y="857975"/>
                      </a:lnTo>
                      <a:lnTo>
                        <a:pt x="155817" y="850164"/>
                      </a:lnTo>
                      <a:lnTo>
                        <a:pt x="144995" y="833250"/>
                      </a:lnTo>
                      <a:lnTo>
                        <a:pt x="143310" y="829838"/>
                      </a:lnTo>
                      <a:lnTo>
                        <a:pt x="140935" y="821320"/>
                      </a:lnTo>
                      <a:lnTo>
                        <a:pt x="138945" y="817162"/>
                      </a:lnTo>
                      <a:lnTo>
                        <a:pt x="120580" y="799034"/>
                      </a:lnTo>
                      <a:lnTo>
                        <a:pt x="109834" y="781148"/>
                      </a:lnTo>
                      <a:lnTo>
                        <a:pt x="109869" y="781135"/>
                      </a:lnTo>
                      <a:lnTo>
                        <a:pt x="112720" y="780101"/>
                      </a:lnTo>
                      <a:lnTo>
                        <a:pt x="170220" y="768671"/>
                      </a:lnTo>
                      <a:lnTo>
                        <a:pt x="179957" y="760943"/>
                      </a:lnTo>
                      <a:lnTo>
                        <a:pt x="182511" y="757699"/>
                      </a:lnTo>
                      <a:lnTo>
                        <a:pt x="184170" y="753815"/>
                      </a:lnTo>
                      <a:lnTo>
                        <a:pt x="185884" y="746101"/>
                      </a:lnTo>
                      <a:lnTo>
                        <a:pt x="186266" y="742590"/>
                      </a:lnTo>
                      <a:lnTo>
                        <a:pt x="186280" y="737288"/>
                      </a:lnTo>
                      <a:lnTo>
                        <a:pt x="186420" y="733391"/>
                      </a:lnTo>
                      <a:lnTo>
                        <a:pt x="186428" y="728528"/>
                      </a:lnTo>
                      <a:lnTo>
                        <a:pt x="186111" y="723907"/>
                      </a:lnTo>
                      <a:lnTo>
                        <a:pt x="185009" y="718760"/>
                      </a:lnTo>
                      <a:lnTo>
                        <a:pt x="183011" y="713108"/>
                      </a:lnTo>
                      <a:lnTo>
                        <a:pt x="180338" y="707148"/>
                      </a:lnTo>
                      <a:lnTo>
                        <a:pt x="168116" y="685961"/>
                      </a:lnTo>
                      <a:lnTo>
                        <a:pt x="161749" y="676758"/>
                      </a:lnTo>
                      <a:lnTo>
                        <a:pt x="157323" y="671862"/>
                      </a:lnTo>
                      <a:lnTo>
                        <a:pt x="152451" y="664577"/>
                      </a:lnTo>
                      <a:lnTo>
                        <a:pt x="151075" y="661023"/>
                      </a:lnTo>
                      <a:lnTo>
                        <a:pt x="149906" y="656149"/>
                      </a:lnTo>
                      <a:lnTo>
                        <a:pt x="148724" y="649359"/>
                      </a:lnTo>
                      <a:lnTo>
                        <a:pt x="148122" y="644463"/>
                      </a:lnTo>
                      <a:lnTo>
                        <a:pt x="147772" y="639133"/>
                      </a:lnTo>
                      <a:lnTo>
                        <a:pt x="148231" y="637311"/>
                      </a:lnTo>
                      <a:lnTo>
                        <a:pt x="149487" y="635932"/>
                      </a:lnTo>
                      <a:lnTo>
                        <a:pt x="178754" y="622534"/>
                      </a:lnTo>
                      <a:lnTo>
                        <a:pt x="198181" y="620001"/>
                      </a:lnTo>
                      <a:lnTo>
                        <a:pt x="199643" y="618971"/>
                      </a:lnTo>
                      <a:lnTo>
                        <a:pt x="200160" y="617426"/>
                      </a:lnTo>
                      <a:lnTo>
                        <a:pt x="199782" y="615774"/>
                      </a:lnTo>
                      <a:lnTo>
                        <a:pt x="199090" y="613948"/>
                      </a:lnTo>
                      <a:lnTo>
                        <a:pt x="198669" y="611966"/>
                      </a:lnTo>
                      <a:lnTo>
                        <a:pt x="199069" y="609920"/>
                      </a:lnTo>
                      <a:lnTo>
                        <a:pt x="201348" y="606605"/>
                      </a:lnTo>
                      <a:lnTo>
                        <a:pt x="202663" y="603788"/>
                      </a:lnTo>
                      <a:lnTo>
                        <a:pt x="203492" y="600544"/>
                      </a:lnTo>
                      <a:lnTo>
                        <a:pt x="203604" y="597991"/>
                      </a:lnTo>
                      <a:lnTo>
                        <a:pt x="204466" y="594250"/>
                      </a:lnTo>
                      <a:lnTo>
                        <a:pt x="206408" y="590121"/>
                      </a:lnTo>
                      <a:lnTo>
                        <a:pt x="213920" y="578951"/>
                      </a:lnTo>
                      <a:lnTo>
                        <a:pt x="215313" y="576077"/>
                      </a:lnTo>
                      <a:lnTo>
                        <a:pt x="215239" y="574507"/>
                      </a:lnTo>
                      <a:lnTo>
                        <a:pt x="214419" y="573195"/>
                      </a:lnTo>
                      <a:lnTo>
                        <a:pt x="212848" y="571852"/>
                      </a:lnTo>
                      <a:lnTo>
                        <a:pt x="209085" y="569647"/>
                      </a:lnTo>
                      <a:lnTo>
                        <a:pt x="206355" y="568980"/>
                      </a:lnTo>
                      <a:lnTo>
                        <a:pt x="197659" y="570582"/>
                      </a:lnTo>
                      <a:lnTo>
                        <a:pt x="188928" y="566725"/>
                      </a:lnTo>
                      <a:lnTo>
                        <a:pt x="181689" y="561266"/>
                      </a:lnTo>
                      <a:lnTo>
                        <a:pt x="176898" y="554669"/>
                      </a:lnTo>
                      <a:lnTo>
                        <a:pt x="175267" y="551282"/>
                      </a:lnTo>
                      <a:lnTo>
                        <a:pt x="172033" y="542502"/>
                      </a:lnTo>
                      <a:lnTo>
                        <a:pt x="169378" y="536795"/>
                      </a:lnTo>
                      <a:lnTo>
                        <a:pt x="164796" y="530023"/>
                      </a:lnTo>
                      <a:lnTo>
                        <a:pt x="162927" y="526232"/>
                      </a:lnTo>
                      <a:lnTo>
                        <a:pt x="162191" y="523155"/>
                      </a:lnTo>
                      <a:lnTo>
                        <a:pt x="162527" y="520981"/>
                      </a:lnTo>
                      <a:lnTo>
                        <a:pt x="163260" y="518653"/>
                      </a:lnTo>
                      <a:lnTo>
                        <a:pt x="167171" y="511001"/>
                      </a:lnTo>
                      <a:lnTo>
                        <a:pt x="168008" y="508628"/>
                      </a:lnTo>
                      <a:lnTo>
                        <a:pt x="167947" y="506626"/>
                      </a:lnTo>
                      <a:lnTo>
                        <a:pt x="166382" y="504363"/>
                      </a:lnTo>
                      <a:lnTo>
                        <a:pt x="164058" y="502407"/>
                      </a:lnTo>
                      <a:lnTo>
                        <a:pt x="161884" y="499903"/>
                      </a:lnTo>
                      <a:lnTo>
                        <a:pt x="161553" y="497010"/>
                      </a:lnTo>
                      <a:lnTo>
                        <a:pt x="162251" y="493304"/>
                      </a:lnTo>
                      <a:lnTo>
                        <a:pt x="163477" y="488783"/>
                      </a:lnTo>
                      <a:lnTo>
                        <a:pt x="163865" y="484932"/>
                      </a:lnTo>
                      <a:lnTo>
                        <a:pt x="162771" y="482471"/>
                      </a:lnTo>
                      <a:lnTo>
                        <a:pt x="160553" y="481009"/>
                      </a:lnTo>
                      <a:lnTo>
                        <a:pt x="153735" y="480826"/>
                      </a:lnTo>
                      <a:lnTo>
                        <a:pt x="135978" y="474357"/>
                      </a:lnTo>
                      <a:lnTo>
                        <a:pt x="133958" y="472710"/>
                      </a:lnTo>
                      <a:lnTo>
                        <a:pt x="132553" y="470376"/>
                      </a:lnTo>
                      <a:lnTo>
                        <a:pt x="130598" y="466042"/>
                      </a:lnTo>
                      <a:lnTo>
                        <a:pt x="123284" y="452741"/>
                      </a:lnTo>
                      <a:lnTo>
                        <a:pt x="122440" y="450705"/>
                      </a:lnTo>
                      <a:lnTo>
                        <a:pt x="122150" y="448956"/>
                      </a:lnTo>
                      <a:lnTo>
                        <a:pt x="122145" y="447085"/>
                      </a:lnTo>
                      <a:lnTo>
                        <a:pt x="121349" y="441334"/>
                      </a:lnTo>
                      <a:lnTo>
                        <a:pt x="114984" y="425923"/>
                      </a:lnTo>
                      <a:lnTo>
                        <a:pt x="112145" y="420286"/>
                      </a:lnTo>
                      <a:lnTo>
                        <a:pt x="110143" y="414966"/>
                      </a:lnTo>
                      <a:lnTo>
                        <a:pt x="108403" y="409448"/>
                      </a:lnTo>
                      <a:lnTo>
                        <a:pt x="106489" y="405841"/>
                      </a:lnTo>
                      <a:lnTo>
                        <a:pt x="104252" y="403175"/>
                      </a:lnTo>
                      <a:lnTo>
                        <a:pt x="102495" y="403373"/>
                      </a:lnTo>
                      <a:lnTo>
                        <a:pt x="100521" y="404938"/>
                      </a:lnTo>
                      <a:lnTo>
                        <a:pt x="96942" y="409563"/>
                      </a:lnTo>
                      <a:lnTo>
                        <a:pt x="95497" y="410338"/>
                      </a:lnTo>
                      <a:lnTo>
                        <a:pt x="89579" y="409647"/>
                      </a:lnTo>
                      <a:lnTo>
                        <a:pt x="88599" y="410026"/>
                      </a:lnTo>
                      <a:lnTo>
                        <a:pt x="87224" y="411046"/>
                      </a:lnTo>
                      <a:lnTo>
                        <a:pt x="84881" y="413526"/>
                      </a:lnTo>
                      <a:lnTo>
                        <a:pt x="83801" y="415152"/>
                      </a:lnTo>
                      <a:lnTo>
                        <a:pt x="83587" y="416615"/>
                      </a:lnTo>
                      <a:lnTo>
                        <a:pt x="84143" y="417831"/>
                      </a:lnTo>
                      <a:lnTo>
                        <a:pt x="84028" y="419125"/>
                      </a:lnTo>
                      <a:lnTo>
                        <a:pt x="81407" y="421801"/>
                      </a:lnTo>
                      <a:lnTo>
                        <a:pt x="77648" y="424295"/>
                      </a:lnTo>
                      <a:lnTo>
                        <a:pt x="75911" y="423744"/>
                      </a:lnTo>
                      <a:lnTo>
                        <a:pt x="61828" y="412809"/>
                      </a:lnTo>
                      <a:lnTo>
                        <a:pt x="49342" y="398947"/>
                      </a:lnTo>
                      <a:lnTo>
                        <a:pt x="45591" y="396937"/>
                      </a:lnTo>
                      <a:lnTo>
                        <a:pt x="42119" y="396582"/>
                      </a:lnTo>
                      <a:lnTo>
                        <a:pt x="35185" y="398332"/>
                      </a:lnTo>
                      <a:lnTo>
                        <a:pt x="0" y="386718"/>
                      </a:lnTo>
                      <a:lnTo>
                        <a:pt x="184" y="386288"/>
                      </a:lnTo>
                      <a:lnTo>
                        <a:pt x="3987" y="381551"/>
                      </a:lnTo>
                      <a:lnTo>
                        <a:pt x="8103" y="378412"/>
                      </a:lnTo>
                      <a:lnTo>
                        <a:pt x="11856" y="377149"/>
                      </a:lnTo>
                      <a:lnTo>
                        <a:pt x="19390" y="370759"/>
                      </a:lnTo>
                      <a:lnTo>
                        <a:pt x="23107" y="369801"/>
                      </a:lnTo>
                      <a:lnTo>
                        <a:pt x="23023" y="376520"/>
                      </a:lnTo>
                      <a:lnTo>
                        <a:pt x="24420" y="380663"/>
                      </a:lnTo>
                      <a:lnTo>
                        <a:pt x="30240" y="390493"/>
                      </a:lnTo>
                      <a:lnTo>
                        <a:pt x="30434" y="387467"/>
                      </a:lnTo>
                      <a:lnTo>
                        <a:pt x="30306" y="386123"/>
                      </a:lnTo>
                      <a:lnTo>
                        <a:pt x="30050" y="384858"/>
                      </a:lnTo>
                      <a:lnTo>
                        <a:pt x="29740" y="382046"/>
                      </a:lnTo>
                      <a:lnTo>
                        <a:pt x="29935" y="379543"/>
                      </a:lnTo>
                      <a:lnTo>
                        <a:pt x="31288" y="375832"/>
                      </a:lnTo>
                      <a:lnTo>
                        <a:pt x="31645" y="373658"/>
                      </a:lnTo>
                      <a:lnTo>
                        <a:pt x="31518" y="369133"/>
                      </a:lnTo>
                      <a:lnTo>
                        <a:pt x="31203" y="364983"/>
                      </a:lnTo>
                      <a:lnTo>
                        <a:pt x="31065" y="361064"/>
                      </a:lnTo>
                      <a:lnTo>
                        <a:pt x="31534" y="357138"/>
                      </a:lnTo>
                      <a:lnTo>
                        <a:pt x="33169" y="352832"/>
                      </a:lnTo>
                      <a:lnTo>
                        <a:pt x="35298" y="351258"/>
                      </a:lnTo>
                      <a:lnTo>
                        <a:pt x="37492" y="351859"/>
                      </a:lnTo>
                      <a:lnTo>
                        <a:pt x="39319" y="354087"/>
                      </a:lnTo>
                      <a:lnTo>
                        <a:pt x="39582" y="355591"/>
                      </a:lnTo>
                      <a:lnTo>
                        <a:pt x="39836" y="360703"/>
                      </a:lnTo>
                      <a:lnTo>
                        <a:pt x="40211" y="362637"/>
                      </a:lnTo>
                      <a:lnTo>
                        <a:pt x="43396" y="368457"/>
                      </a:lnTo>
                      <a:lnTo>
                        <a:pt x="46234" y="371217"/>
                      </a:lnTo>
                      <a:lnTo>
                        <a:pt x="52113" y="372858"/>
                      </a:lnTo>
                      <a:lnTo>
                        <a:pt x="55047" y="374622"/>
                      </a:lnTo>
                      <a:lnTo>
                        <a:pt x="66221" y="389079"/>
                      </a:lnTo>
                      <a:lnTo>
                        <a:pt x="67282" y="391886"/>
                      </a:lnTo>
                      <a:lnTo>
                        <a:pt x="68027" y="395147"/>
                      </a:lnTo>
                      <a:lnTo>
                        <a:pt x="69547" y="399712"/>
                      </a:lnTo>
                      <a:lnTo>
                        <a:pt x="70900" y="401979"/>
                      </a:lnTo>
                      <a:lnTo>
                        <a:pt x="76585" y="408926"/>
                      </a:lnTo>
                      <a:lnTo>
                        <a:pt x="76937" y="404213"/>
                      </a:lnTo>
                      <a:lnTo>
                        <a:pt x="76387" y="401080"/>
                      </a:lnTo>
                      <a:lnTo>
                        <a:pt x="75525" y="398304"/>
                      </a:lnTo>
                      <a:lnTo>
                        <a:pt x="74920" y="394625"/>
                      </a:lnTo>
                      <a:lnTo>
                        <a:pt x="74628" y="393967"/>
                      </a:lnTo>
                      <a:lnTo>
                        <a:pt x="74127" y="393759"/>
                      </a:lnTo>
                      <a:lnTo>
                        <a:pt x="73751" y="392840"/>
                      </a:lnTo>
                      <a:lnTo>
                        <a:pt x="73737" y="389982"/>
                      </a:lnTo>
                      <a:lnTo>
                        <a:pt x="74307" y="388171"/>
                      </a:lnTo>
                      <a:lnTo>
                        <a:pt x="75382" y="387370"/>
                      </a:lnTo>
                      <a:lnTo>
                        <a:pt x="76629" y="387290"/>
                      </a:lnTo>
                      <a:lnTo>
                        <a:pt x="77595" y="387595"/>
                      </a:lnTo>
                      <a:lnTo>
                        <a:pt x="74911" y="385148"/>
                      </a:lnTo>
                      <a:lnTo>
                        <a:pt x="69327" y="381841"/>
                      </a:lnTo>
                      <a:lnTo>
                        <a:pt x="66867" y="377308"/>
                      </a:lnTo>
                      <a:lnTo>
                        <a:pt x="66117" y="371453"/>
                      </a:lnTo>
                      <a:lnTo>
                        <a:pt x="67744" y="367409"/>
                      </a:lnTo>
                      <a:lnTo>
                        <a:pt x="85717" y="347277"/>
                      </a:lnTo>
                      <a:lnTo>
                        <a:pt x="88396" y="346691"/>
                      </a:lnTo>
                      <a:lnTo>
                        <a:pt x="91041" y="348685"/>
                      </a:lnTo>
                      <a:lnTo>
                        <a:pt x="89764" y="351995"/>
                      </a:lnTo>
                      <a:lnTo>
                        <a:pt x="86901" y="356791"/>
                      </a:lnTo>
                      <a:lnTo>
                        <a:pt x="86286" y="360803"/>
                      </a:lnTo>
                      <a:lnTo>
                        <a:pt x="89173" y="359823"/>
                      </a:lnTo>
                      <a:lnTo>
                        <a:pt x="96071" y="353081"/>
                      </a:lnTo>
                      <a:lnTo>
                        <a:pt x="98696" y="351819"/>
                      </a:lnTo>
                      <a:lnTo>
                        <a:pt x="99901" y="353005"/>
                      </a:lnTo>
                      <a:lnTo>
                        <a:pt x="100373" y="356510"/>
                      </a:lnTo>
                      <a:lnTo>
                        <a:pt x="101631" y="373257"/>
                      </a:lnTo>
                      <a:lnTo>
                        <a:pt x="103036" y="377261"/>
                      </a:lnTo>
                      <a:lnTo>
                        <a:pt x="105729" y="376034"/>
                      </a:lnTo>
                      <a:lnTo>
                        <a:pt x="106883" y="372476"/>
                      </a:lnTo>
                      <a:lnTo>
                        <a:pt x="106611" y="368057"/>
                      </a:lnTo>
                      <a:lnTo>
                        <a:pt x="104577" y="359575"/>
                      </a:lnTo>
                      <a:lnTo>
                        <a:pt x="119049" y="354809"/>
                      </a:lnTo>
                      <a:lnTo>
                        <a:pt x="123717" y="357184"/>
                      </a:lnTo>
                      <a:lnTo>
                        <a:pt x="125164" y="362140"/>
                      </a:lnTo>
                      <a:lnTo>
                        <a:pt x="123877" y="368319"/>
                      </a:lnTo>
                      <a:lnTo>
                        <a:pt x="121454" y="373999"/>
                      </a:lnTo>
                      <a:lnTo>
                        <a:pt x="119526" y="377473"/>
                      </a:lnTo>
                      <a:lnTo>
                        <a:pt x="121536" y="381361"/>
                      </a:lnTo>
                      <a:lnTo>
                        <a:pt x="122548" y="386644"/>
                      </a:lnTo>
                      <a:lnTo>
                        <a:pt x="123425" y="392556"/>
                      </a:lnTo>
                      <a:lnTo>
                        <a:pt x="125065" y="398556"/>
                      </a:lnTo>
                      <a:lnTo>
                        <a:pt x="123697" y="401894"/>
                      </a:lnTo>
                      <a:lnTo>
                        <a:pt x="120480" y="404755"/>
                      </a:lnTo>
                      <a:lnTo>
                        <a:pt x="119333" y="408428"/>
                      </a:lnTo>
                      <a:lnTo>
                        <a:pt x="123860" y="409745"/>
                      </a:lnTo>
                      <a:lnTo>
                        <a:pt x="138849" y="404670"/>
                      </a:lnTo>
                      <a:lnTo>
                        <a:pt x="153510" y="411738"/>
                      </a:lnTo>
                      <a:lnTo>
                        <a:pt x="157487" y="410368"/>
                      </a:lnTo>
                      <a:lnTo>
                        <a:pt x="154456" y="406142"/>
                      </a:lnTo>
                      <a:lnTo>
                        <a:pt x="150859" y="403901"/>
                      </a:lnTo>
                      <a:lnTo>
                        <a:pt x="129069" y="398272"/>
                      </a:lnTo>
                      <a:lnTo>
                        <a:pt x="129505" y="393886"/>
                      </a:lnTo>
                      <a:lnTo>
                        <a:pt x="131905" y="381328"/>
                      </a:lnTo>
                      <a:lnTo>
                        <a:pt x="132786" y="370725"/>
                      </a:lnTo>
                      <a:lnTo>
                        <a:pt x="132568" y="369443"/>
                      </a:lnTo>
                      <a:lnTo>
                        <a:pt x="135500" y="366386"/>
                      </a:lnTo>
                      <a:lnTo>
                        <a:pt x="139313" y="365191"/>
                      </a:lnTo>
                      <a:lnTo>
                        <a:pt x="143324" y="365248"/>
                      </a:lnTo>
                      <a:lnTo>
                        <a:pt x="148715" y="366992"/>
                      </a:lnTo>
                      <a:lnTo>
                        <a:pt x="153904" y="371932"/>
                      </a:lnTo>
                      <a:lnTo>
                        <a:pt x="155244" y="372086"/>
                      </a:lnTo>
                      <a:lnTo>
                        <a:pt x="156397" y="370942"/>
                      </a:lnTo>
                      <a:lnTo>
                        <a:pt x="157670" y="370351"/>
                      </a:lnTo>
                      <a:lnTo>
                        <a:pt x="159358" y="372169"/>
                      </a:lnTo>
                      <a:lnTo>
                        <a:pt x="159011" y="377185"/>
                      </a:lnTo>
                      <a:lnTo>
                        <a:pt x="160237" y="378334"/>
                      </a:lnTo>
                      <a:lnTo>
                        <a:pt x="168476" y="376098"/>
                      </a:lnTo>
                      <a:lnTo>
                        <a:pt x="202987" y="378789"/>
                      </a:lnTo>
                      <a:lnTo>
                        <a:pt x="204385" y="381649"/>
                      </a:lnTo>
                      <a:lnTo>
                        <a:pt x="203917" y="384987"/>
                      </a:lnTo>
                      <a:lnTo>
                        <a:pt x="192791" y="407774"/>
                      </a:lnTo>
                      <a:lnTo>
                        <a:pt x="190197" y="410012"/>
                      </a:lnTo>
                      <a:lnTo>
                        <a:pt x="186454" y="411493"/>
                      </a:lnTo>
                      <a:lnTo>
                        <a:pt x="178898" y="417259"/>
                      </a:lnTo>
                      <a:lnTo>
                        <a:pt x="157767" y="424555"/>
                      </a:lnTo>
                      <a:lnTo>
                        <a:pt x="148665" y="423400"/>
                      </a:lnTo>
                      <a:lnTo>
                        <a:pt x="143818" y="424433"/>
                      </a:lnTo>
                      <a:lnTo>
                        <a:pt x="139391" y="432069"/>
                      </a:lnTo>
                      <a:lnTo>
                        <a:pt x="127340" y="441175"/>
                      </a:lnTo>
                      <a:lnTo>
                        <a:pt x="129735" y="442696"/>
                      </a:lnTo>
                      <a:lnTo>
                        <a:pt x="132954" y="442015"/>
                      </a:lnTo>
                      <a:lnTo>
                        <a:pt x="136024" y="439837"/>
                      </a:lnTo>
                      <a:lnTo>
                        <a:pt x="139878" y="434359"/>
                      </a:lnTo>
                      <a:lnTo>
                        <a:pt x="169218" y="427129"/>
                      </a:lnTo>
                      <a:lnTo>
                        <a:pt x="176453" y="419776"/>
                      </a:lnTo>
                      <a:lnTo>
                        <a:pt x="194181" y="414657"/>
                      </a:lnTo>
                      <a:lnTo>
                        <a:pt x="206115" y="400039"/>
                      </a:lnTo>
                      <a:lnTo>
                        <a:pt x="210759" y="399094"/>
                      </a:lnTo>
                      <a:lnTo>
                        <a:pt x="209844" y="410480"/>
                      </a:lnTo>
                      <a:lnTo>
                        <a:pt x="209821" y="415136"/>
                      </a:lnTo>
                      <a:lnTo>
                        <a:pt x="210231" y="421619"/>
                      </a:lnTo>
                      <a:lnTo>
                        <a:pt x="211066" y="427207"/>
                      </a:lnTo>
                      <a:lnTo>
                        <a:pt x="212440" y="432425"/>
                      </a:lnTo>
                      <a:lnTo>
                        <a:pt x="214093" y="436591"/>
                      </a:lnTo>
                      <a:lnTo>
                        <a:pt x="215756" y="439133"/>
                      </a:lnTo>
                      <a:lnTo>
                        <a:pt x="218073" y="438235"/>
                      </a:lnTo>
                      <a:lnTo>
                        <a:pt x="221694" y="435424"/>
                      </a:lnTo>
                      <a:lnTo>
                        <a:pt x="225138" y="433951"/>
                      </a:lnTo>
                      <a:lnTo>
                        <a:pt x="226984" y="437011"/>
                      </a:lnTo>
                      <a:lnTo>
                        <a:pt x="227142" y="444235"/>
                      </a:lnTo>
                      <a:lnTo>
                        <a:pt x="226997" y="449072"/>
                      </a:lnTo>
                      <a:lnTo>
                        <a:pt x="227861" y="452821"/>
                      </a:lnTo>
                      <a:lnTo>
                        <a:pt x="231124" y="456778"/>
                      </a:lnTo>
                      <a:lnTo>
                        <a:pt x="229854" y="460004"/>
                      </a:lnTo>
                      <a:lnTo>
                        <a:pt x="228537" y="462146"/>
                      </a:lnTo>
                      <a:lnTo>
                        <a:pt x="227057" y="463527"/>
                      </a:lnTo>
                      <a:lnTo>
                        <a:pt x="225288" y="464366"/>
                      </a:lnTo>
                      <a:lnTo>
                        <a:pt x="229284" y="467797"/>
                      </a:lnTo>
                      <a:lnTo>
                        <a:pt x="233070" y="465163"/>
                      </a:lnTo>
                      <a:lnTo>
                        <a:pt x="246470" y="449343"/>
                      </a:lnTo>
                      <a:lnTo>
                        <a:pt x="248225" y="448201"/>
                      </a:lnTo>
                      <a:lnTo>
                        <a:pt x="249992" y="447949"/>
                      </a:lnTo>
                      <a:lnTo>
                        <a:pt x="250321" y="448923"/>
                      </a:lnTo>
                      <a:lnTo>
                        <a:pt x="251353" y="451387"/>
                      </a:lnTo>
                      <a:lnTo>
                        <a:pt x="252902" y="453016"/>
                      </a:lnTo>
                      <a:lnTo>
                        <a:pt x="253508" y="454162"/>
                      </a:lnTo>
                      <a:lnTo>
                        <a:pt x="253387" y="455950"/>
                      </a:lnTo>
                      <a:lnTo>
                        <a:pt x="250755" y="462602"/>
                      </a:lnTo>
                      <a:lnTo>
                        <a:pt x="250887" y="464085"/>
                      </a:lnTo>
                      <a:lnTo>
                        <a:pt x="253325" y="464351"/>
                      </a:lnTo>
                      <a:lnTo>
                        <a:pt x="263121" y="453186"/>
                      </a:lnTo>
                      <a:lnTo>
                        <a:pt x="268392" y="450048"/>
                      </a:lnTo>
                      <a:lnTo>
                        <a:pt x="269350" y="447520"/>
                      </a:lnTo>
                      <a:lnTo>
                        <a:pt x="269787" y="442796"/>
                      </a:lnTo>
                      <a:lnTo>
                        <a:pt x="271697" y="440859"/>
                      </a:lnTo>
                      <a:lnTo>
                        <a:pt x="274001" y="439423"/>
                      </a:lnTo>
                      <a:lnTo>
                        <a:pt x="275664" y="436096"/>
                      </a:lnTo>
                      <a:lnTo>
                        <a:pt x="269367" y="433180"/>
                      </a:lnTo>
                      <a:lnTo>
                        <a:pt x="246635" y="433243"/>
                      </a:lnTo>
                      <a:lnTo>
                        <a:pt x="243584" y="431151"/>
                      </a:lnTo>
                      <a:lnTo>
                        <a:pt x="230779" y="416347"/>
                      </a:lnTo>
                      <a:lnTo>
                        <a:pt x="232565" y="414418"/>
                      </a:lnTo>
                      <a:lnTo>
                        <a:pt x="236757" y="414033"/>
                      </a:lnTo>
                      <a:lnTo>
                        <a:pt x="238572" y="412239"/>
                      </a:lnTo>
                      <a:lnTo>
                        <a:pt x="240153" y="409987"/>
                      </a:lnTo>
                      <a:lnTo>
                        <a:pt x="241947" y="408731"/>
                      </a:lnTo>
                      <a:lnTo>
                        <a:pt x="251465" y="406631"/>
                      </a:lnTo>
                      <a:lnTo>
                        <a:pt x="253737" y="403679"/>
                      </a:lnTo>
                      <a:lnTo>
                        <a:pt x="255889" y="397604"/>
                      </a:lnTo>
                      <a:lnTo>
                        <a:pt x="252908" y="394595"/>
                      </a:lnTo>
                      <a:lnTo>
                        <a:pt x="246106" y="391861"/>
                      </a:lnTo>
                      <a:lnTo>
                        <a:pt x="242985" y="389254"/>
                      </a:lnTo>
                      <a:lnTo>
                        <a:pt x="246086" y="386275"/>
                      </a:lnTo>
                      <a:lnTo>
                        <a:pt x="254737" y="383621"/>
                      </a:lnTo>
                      <a:lnTo>
                        <a:pt x="256495" y="378385"/>
                      </a:lnTo>
                      <a:lnTo>
                        <a:pt x="245656" y="380175"/>
                      </a:lnTo>
                      <a:lnTo>
                        <a:pt x="239900" y="378800"/>
                      </a:lnTo>
                      <a:lnTo>
                        <a:pt x="235066" y="373178"/>
                      </a:lnTo>
                      <a:lnTo>
                        <a:pt x="238501" y="369707"/>
                      </a:lnTo>
                      <a:lnTo>
                        <a:pt x="251442" y="367009"/>
                      </a:lnTo>
                      <a:lnTo>
                        <a:pt x="254784" y="365048"/>
                      </a:lnTo>
                      <a:lnTo>
                        <a:pt x="262886" y="363913"/>
                      </a:lnTo>
                      <a:lnTo>
                        <a:pt x="264663" y="363062"/>
                      </a:lnTo>
                      <a:lnTo>
                        <a:pt x="264662" y="360874"/>
                      </a:lnTo>
                      <a:lnTo>
                        <a:pt x="267782" y="360592"/>
                      </a:lnTo>
                      <a:lnTo>
                        <a:pt x="264104" y="357622"/>
                      </a:lnTo>
                      <a:lnTo>
                        <a:pt x="260238" y="357052"/>
                      </a:lnTo>
                      <a:lnTo>
                        <a:pt x="239853" y="363072"/>
                      </a:lnTo>
                      <a:lnTo>
                        <a:pt x="241849" y="358340"/>
                      </a:lnTo>
                      <a:lnTo>
                        <a:pt x="251259" y="350007"/>
                      </a:lnTo>
                      <a:lnTo>
                        <a:pt x="270808" y="344069"/>
                      </a:lnTo>
                      <a:lnTo>
                        <a:pt x="275425" y="338792"/>
                      </a:lnTo>
                      <a:lnTo>
                        <a:pt x="263741" y="342230"/>
                      </a:lnTo>
                      <a:lnTo>
                        <a:pt x="264270" y="339401"/>
                      </a:lnTo>
                      <a:lnTo>
                        <a:pt x="266838" y="332477"/>
                      </a:lnTo>
                      <a:lnTo>
                        <a:pt x="264354" y="333113"/>
                      </a:lnTo>
                      <a:lnTo>
                        <a:pt x="259786" y="336460"/>
                      </a:lnTo>
                      <a:lnTo>
                        <a:pt x="257476" y="335681"/>
                      </a:lnTo>
                      <a:lnTo>
                        <a:pt x="259262" y="331385"/>
                      </a:lnTo>
                      <a:lnTo>
                        <a:pt x="261727" y="318927"/>
                      </a:lnTo>
                      <a:lnTo>
                        <a:pt x="264072" y="316131"/>
                      </a:lnTo>
                      <a:lnTo>
                        <a:pt x="267017" y="314495"/>
                      </a:lnTo>
                      <a:lnTo>
                        <a:pt x="270008" y="310834"/>
                      </a:lnTo>
                      <a:lnTo>
                        <a:pt x="275201" y="301887"/>
                      </a:lnTo>
                      <a:lnTo>
                        <a:pt x="286506" y="287787"/>
                      </a:lnTo>
                      <a:lnTo>
                        <a:pt x="292681" y="273915"/>
                      </a:lnTo>
                      <a:lnTo>
                        <a:pt x="295181" y="270190"/>
                      </a:lnTo>
                      <a:lnTo>
                        <a:pt x="303688" y="265075"/>
                      </a:lnTo>
                      <a:lnTo>
                        <a:pt x="335074" y="267331"/>
                      </a:lnTo>
                      <a:lnTo>
                        <a:pt x="348614" y="272588"/>
                      </a:lnTo>
                      <a:lnTo>
                        <a:pt x="350274" y="273956"/>
                      </a:lnTo>
                      <a:lnTo>
                        <a:pt x="353292" y="277417"/>
                      </a:lnTo>
                      <a:lnTo>
                        <a:pt x="355306" y="278352"/>
                      </a:lnTo>
                      <a:lnTo>
                        <a:pt x="355891" y="276015"/>
                      </a:lnTo>
                      <a:lnTo>
                        <a:pt x="355311" y="272883"/>
                      </a:lnTo>
                      <a:lnTo>
                        <a:pt x="353886" y="271420"/>
                      </a:lnTo>
                      <a:lnTo>
                        <a:pt x="350290" y="269546"/>
                      </a:lnTo>
                      <a:lnTo>
                        <a:pt x="342698" y="259687"/>
                      </a:lnTo>
                      <a:lnTo>
                        <a:pt x="339195" y="256541"/>
                      </a:lnTo>
                      <a:lnTo>
                        <a:pt x="325294" y="253004"/>
                      </a:lnTo>
                      <a:lnTo>
                        <a:pt x="323794" y="251994"/>
                      </a:lnTo>
                      <a:lnTo>
                        <a:pt x="324633" y="249312"/>
                      </a:lnTo>
                      <a:lnTo>
                        <a:pt x="334622" y="235674"/>
                      </a:lnTo>
                      <a:lnTo>
                        <a:pt x="337259" y="230459"/>
                      </a:lnTo>
                      <a:lnTo>
                        <a:pt x="338198" y="229460"/>
                      </a:lnTo>
                      <a:lnTo>
                        <a:pt x="339147" y="228910"/>
                      </a:lnTo>
                      <a:lnTo>
                        <a:pt x="339994" y="227835"/>
                      </a:lnTo>
                      <a:lnTo>
                        <a:pt x="340655" y="225364"/>
                      </a:lnTo>
                      <a:lnTo>
                        <a:pt x="340689" y="222028"/>
                      </a:lnTo>
                      <a:lnTo>
                        <a:pt x="339893" y="213659"/>
                      </a:lnTo>
                      <a:lnTo>
                        <a:pt x="340184" y="210013"/>
                      </a:lnTo>
                      <a:lnTo>
                        <a:pt x="341199" y="206827"/>
                      </a:lnTo>
                      <a:lnTo>
                        <a:pt x="345057" y="199900"/>
                      </a:lnTo>
                      <a:lnTo>
                        <a:pt x="346959" y="197697"/>
                      </a:lnTo>
                      <a:lnTo>
                        <a:pt x="349057" y="197873"/>
                      </a:lnTo>
                      <a:lnTo>
                        <a:pt x="353740" y="200295"/>
                      </a:lnTo>
                      <a:lnTo>
                        <a:pt x="361512" y="198839"/>
                      </a:lnTo>
                      <a:lnTo>
                        <a:pt x="364053" y="200392"/>
                      </a:lnTo>
                      <a:lnTo>
                        <a:pt x="379316" y="216764"/>
                      </a:lnTo>
                      <a:lnTo>
                        <a:pt x="383281" y="219189"/>
                      </a:lnTo>
                      <a:lnTo>
                        <a:pt x="388105" y="219935"/>
                      </a:lnTo>
                      <a:lnTo>
                        <a:pt x="391897" y="217185"/>
                      </a:lnTo>
                      <a:lnTo>
                        <a:pt x="392717" y="209035"/>
                      </a:lnTo>
                      <a:lnTo>
                        <a:pt x="390345" y="201999"/>
                      </a:lnTo>
                      <a:lnTo>
                        <a:pt x="382262" y="194910"/>
                      </a:lnTo>
                      <a:lnTo>
                        <a:pt x="379507" y="190205"/>
                      </a:lnTo>
                      <a:lnTo>
                        <a:pt x="379968" y="189718"/>
                      </a:lnTo>
                      <a:lnTo>
                        <a:pt x="380801" y="187703"/>
                      </a:lnTo>
                      <a:lnTo>
                        <a:pt x="372619" y="184237"/>
                      </a:lnTo>
                      <a:lnTo>
                        <a:pt x="369876" y="181760"/>
                      </a:lnTo>
                      <a:lnTo>
                        <a:pt x="366679" y="176408"/>
                      </a:lnTo>
                      <a:lnTo>
                        <a:pt x="365213" y="175136"/>
                      </a:lnTo>
                      <a:lnTo>
                        <a:pt x="363282" y="174736"/>
                      </a:lnTo>
                      <a:lnTo>
                        <a:pt x="357465" y="175961"/>
                      </a:lnTo>
                      <a:lnTo>
                        <a:pt x="343722" y="172684"/>
                      </a:lnTo>
                      <a:lnTo>
                        <a:pt x="337468" y="173289"/>
                      </a:lnTo>
                      <a:lnTo>
                        <a:pt x="334257" y="171598"/>
                      </a:lnTo>
                      <a:lnTo>
                        <a:pt x="331379" y="166836"/>
                      </a:lnTo>
                      <a:lnTo>
                        <a:pt x="333410" y="161160"/>
                      </a:lnTo>
                      <a:lnTo>
                        <a:pt x="332615" y="154135"/>
                      </a:lnTo>
                      <a:lnTo>
                        <a:pt x="332175" y="148021"/>
                      </a:lnTo>
                      <a:lnTo>
                        <a:pt x="341930" y="138534"/>
                      </a:lnTo>
                      <a:lnTo>
                        <a:pt x="345409" y="136772"/>
                      </a:lnTo>
                      <a:lnTo>
                        <a:pt x="348246" y="141378"/>
                      </a:lnTo>
                      <a:lnTo>
                        <a:pt x="347663" y="143814"/>
                      </a:lnTo>
                      <a:lnTo>
                        <a:pt x="352621" y="144958"/>
                      </a:lnTo>
                      <a:lnTo>
                        <a:pt x="354525" y="147075"/>
                      </a:lnTo>
                      <a:lnTo>
                        <a:pt x="354944" y="152739"/>
                      </a:lnTo>
                      <a:lnTo>
                        <a:pt x="361537" y="154272"/>
                      </a:lnTo>
                      <a:lnTo>
                        <a:pt x="368099" y="158021"/>
                      </a:lnTo>
                      <a:lnTo>
                        <a:pt x="373587" y="164043"/>
                      </a:lnTo>
                      <a:lnTo>
                        <a:pt x="375779" y="163792"/>
                      </a:lnTo>
                      <a:lnTo>
                        <a:pt x="376665" y="157093"/>
                      </a:lnTo>
                      <a:lnTo>
                        <a:pt x="375267" y="153839"/>
                      </a:lnTo>
                      <a:lnTo>
                        <a:pt x="373692" y="151577"/>
                      </a:lnTo>
                      <a:lnTo>
                        <a:pt x="370115" y="148545"/>
                      </a:lnTo>
                      <a:lnTo>
                        <a:pt x="370644" y="143157"/>
                      </a:lnTo>
                      <a:lnTo>
                        <a:pt x="370291" y="139477"/>
                      </a:lnTo>
                      <a:lnTo>
                        <a:pt x="370238" y="136742"/>
                      </a:lnTo>
                      <a:lnTo>
                        <a:pt x="371705" y="134136"/>
                      </a:lnTo>
                      <a:lnTo>
                        <a:pt x="374510" y="134043"/>
                      </a:lnTo>
                      <a:lnTo>
                        <a:pt x="378150" y="135682"/>
                      </a:lnTo>
                      <a:lnTo>
                        <a:pt x="381196" y="135658"/>
                      </a:lnTo>
                      <a:lnTo>
                        <a:pt x="382290" y="130604"/>
                      </a:lnTo>
                      <a:lnTo>
                        <a:pt x="371651" y="124571"/>
                      </a:lnTo>
                      <a:lnTo>
                        <a:pt x="368327" y="124791"/>
                      </a:lnTo>
                      <a:lnTo>
                        <a:pt x="369402" y="120943"/>
                      </a:lnTo>
                      <a:lnTo>
                        <a:pt x="370114" y="119847"/>
                      </a:lnTo>
                      <a:lnTo>
                        <a:pt x="365910" y="116796"/>
                      </a:lnTo>
                      <a:lnTo>
                        <a:pt x="364267" y="114755"/>
                      </a:lnTo>
                      <a:lnTo>
                        <a:pt x="362924" y="111155"/>
                      </a:lnTo>
                      <a:lnTo>
                        <a:pt x="364564" y="108489"/>
                      </a:lnTo>
                      <a:lnTo>
                        <a:pt x="366851" y="106490"/>
                      </a:lnTo>
                      <a:lnTo>
                        <a:pt x="369332" y="105344"/>
                      </a:lnTo>
                      <a:lnTo>
                        <a:pt x="371587" y="105238"/>
                      </a:lnTo>
                      <a:lnTo>
                        <a:pt x="369523" y="103571"/>
                      </a:lnTo>
                      <a:lnTo>
                        <a:pt x="365452" y="103644"/>
                      </a:lnTo>
                      <a:lnTo>
                        <a:pt x="363424" y="101615"/>
                      </a:lnTo>
                      <a:lnTo>
                        <a:pt x="365479" y="98637"/>
                      </a:lnTo>
                      <a:lnTo>
                        <a:pt x="368451" y="96534"/>
                      </a:lnTo>
                      <a:lnTo>
                        <a:pt x="371641" y="95478"/>
                      </a:lnTo>
                      <a:lnTo>
                        <a:pt x="384141" y="97397"/>
                      </a:lnTo>
                      <a:lnTo>
                        <a:pt x="385206" y="98056"/>
                      </a:lnTo>
                      <a:lnTo>
                        <a:pt x="386073" y="99657"/>
                      </a:lnTo>
                      <a:lnTo>
                        <a:pt x="387296" y="102434"/>
                      </a:lnTo>
                      <a:lnTo>
                        <a:pt x="388663" y="104191"/>
                      </a:lnTo>
                      <a:lnTo>
                        <a:pt x="392013" y="105471"/>
                      </a:lnTo>
                      <a:lnTo>
                        <a:pt x="393523" y="106604"/>
                      </a:lnTo>
                      <a:lnTo>
                        <a:pt x="395366" y="109988"/>
                      </a:lnTo>
                      <a:lnTo>
                        <a:pt x="394902" y="112317"/>
                      </a:lnTo>
                      <a:lnTo>
                        <a:pt x="393289" y="114493"/>
                      </a:lnTo>
                      <a:lnTo>
                        <a:pt x="391702" y="117470"/>
                      </a:lnTo>
                      <a:lnTo>
                        <a:pt x="409946" y="113244"/>
                      </a:lnTo>
                      <a:lnTo>
                        <a:pt x="407435" y="108112"/>
                      </a:lnTo>
                      <a:lnTo>
                        <a:pt x="407910" y="102515"/>
                      </a:lnTo>
                      <a:lnTo>
                        <a:pt x="408527" y="98142"/>
                      </a:lnTo>
                      <a:lnTo>
                        <a:pt x="406468" y="96836"/>
                      </a:lnTo>
                      <a:lnTo>
                        <a:pt x="408587" y="93298"/>
                      </a:lnTo>
                      <a:lnTo>
                        <a:pt x="413097" y="93034"/>
                      </a:lnTo>
                      <a:lnTo>
                        <a:pt x="416950" y="97372"/>
                      </a:lnTo>
                      <a:lnTo>
                        <a:pt x="417079" y="107684"/>
                      </a:lnTo>
                      <a:lnTo>
                        <a:pt x="414795" y="114725"/>
                      </a:lnTo>
                      <a:lnTo>
                        <a:pt x="411327" y="121065"/>
                      </a:lnTo>
                      <a:lnTo>
                        <a:pt x="407409" y="125840"/>
                      </a:lnTo>
                      <a:lnTo>
                        <a:pt x="403837" y="128198"/>
                      </a:lnTo>
                      <a:lnTo>
                        <a:pt x="405969" y="129908"/>
                      </a:lnTo>
                      <a:lnTo>
                        <a:pt x="409956" y="126484"/>
                      </a:lnTo>
                      <a:lnTo>
                        <a:pt x="412118" y="128443"/>
                      </a:lnTo>
                      <a:lnTo>
                        <a:pt x="414301" y="131037"/>
                      </a:lnTo>
                      <a:lnTo>
                        <a:pt x="419367" y="131727"/>
                      </a:lnTo>
                      <a:lnTo>
                        <a:pt x="421726" y="133267"/>
                      </a:lnTo>
                      <a:lnTo>
                        <a:pt x="420874" y="126319"/>
                      </a:lnTo>
                      <a:lnTo>
                        <a:pt x="421413" y="122323"/>
                      </a:lnTo>
                      <a:lnTo>
                        <a:pt x="424385" y="113289"/>
                      </a:lnTo>
                      <a:lnTo>
                        <a:pt x="426551" y="109445"/>
                      </a:lnTo>
                      <a:lnTo>
                        <a:pt x="427373" y="108640"/>
                      </a:lnTo>
                      <a:lnTo>
                        <a:pt x="428698" y="109249"/>
                      </a:lnTo>
                      <a:lnTo>
                        <a:pt x="429575" y="110760"/>
                      </a:lnTo>
                      <a:lnTo>
                        <a:pt x="430191" y="112330"/>
                      </a:lnTo>
                      <a:lnTo>
                        <a:pt x="430625" y="113014"/>
                      </a:lnTo>
                      <a:lnTo>
                        <a:pt x="432312" y="114302"/>
                      </a:lnTo>
                      <a:lnTo>
                        <a:pt x="439430" y="124077"/>
                      </a:lnTo>
                      <a:lnTo>
                        <a:pt x="441001" y="127670"/>
                      </a:lnTo>
                      <a:lnTo>
                        <a:pt x="445278" y="140015"/>
                      </a:lnTo>
                      <a:lnTo>
                        <a:pt x="444383" y="151981"/>
                      </a:lnTo>
                      <a:lnTo>
                        <a:pt x="445747" y="151989"/>
                      </a:lnTo>
                      <a:lnTo>
                        <a:pt x="446662" y="150691"/>
                      </a:lnTo>
                      <a:lnTo>
                        <a:pt x="447331" y="148446"/>
                      </a:lnTo>
                      <a:lnTo>
                        <a:pt x="447933" y="145500"/>
                      </a:lnTo>
                      <a:lnTo>
                        <a:pt x="449015" y="143744"/>
                      </a:lnTo>
                      <a:lnTo>
                        <a:pt x="450848" y="143257"/>
                      </a:lnTo>
                      <a:lnTo>
                        <a:pt x="454341" y="143446"/>
                      </a:lnTo>
                      <a:lnTo>
                        <a:pt x="455006" y="141200"/>
                      </a:lnTo>
                      <a:lnTo>
                        <a:pt x="457008" y="118080"/>
                      </a:lnTo>
                      <a:lnTo>
                        <a:pt x="456810" y="112442"/>
                      </a:lnTo>
                      <a:lnTo>
                        <a:pt x="455246" y="110083"/>
                      </a:lnTo>
                      <a:lnTo>
                        <a:pt x="453875" y="108464"/>
                      </a:lnTo>
                      <a:lnTo>
                        <a:pt x="451702" y="104394"/>
                      </a:lnTo>
                      <a:lnTo>
                        <a:pt x="449596" y="99496"/>
                      </a:lnTo>
                      <a:lnTo>
                        <a:pt x="448446" y="95358"/>
                      </a:lnTo>
                      <a:lnTo>
                        <a:pt x="450055" y="87010"/>
                      </a:lnTo>
                      <a:lnTo>
                        <a:pt x="456511" y="90264"/>
                      </a:lnTo>
                      <a:lnTo>
                        <a:pt x="471510" y="102915"/>
                      </a:lnTo>
                      <a:lnTo>
                        <a:pt x="472161" y="106884"/>
                      </a:lnTo>
                      <a:lnTo>
                        <a:pt x="471599" y="111698"/>
                      </a:lnTo>
                      <a:lnTo>
                        <a:pt x="470425" y="115581"/>
                      </a:lnTo>
                      <a:lnTo>
                        <a:pt x="468643" y="118931"/>
                      </a:lnTo>
                      <a:lnTo>
                        <a:pt x="463747" y="124852"/>
                      </a:lnTo>
                      <a:lnTo>
                        <a:pt x="461538" y="126169"/>
                      </a:lnTo>
                      <a:lnTo>
                        <a:pt x="464403" y="132121"/>
                      </a:lnTo>
                      <a:lnTo>
                        <a:pt x="466999" y="130912"/>
                      </a:lnTo>
                      <a:lnTo>
                        <a:pt x="471163" y="121438"/>
                      </a:lnTo>
                      <a:lnTo>
                        <a:pt x="472127" y="121561"/>
                      </a:lnTo>
                      <a:lnTo>
                        <a:pt x="474799" y="126357"/>
                      </a:lnTo>
                      <a:lnTo>
                        <a:pt x="476511" y="126714"/>
                      </a:lnTo>
                      <a:lnTo>
                        <a:pt x="477107" y="125167"/>
                      </a:lnTo>
                      <a:lnTo>
                        <a:pt x="479291" y="116653"/>
                      </a:lnTo>
                      <a:lnTo>
                        <a:pt x="482077" y="113558"/>
                      </a:lnTo>
                      <a:lnTo>
                        <a:pt x="486941" y="110600"/>
                      </a:lnTo>
                      <a:lnTo>
                        <a:pt x="491778" y="109907"/>
                      </a:lnTo>
                      <a:lnTo>
                        <a:pt x="494442" y="113680"/>
                      </a:lnTo>
                      <a:lnTo>
                        <a:pt x="495110" y="115819"/>
                      </a:lnTo>
                      <a:lnTo>
                        <a:pt x="496411" y="118460"/>
                      </a:lnTo>
                      <a:lnTo>
                        <a:pt x="497870" y="120668"/>
                      </a:lnTo>
                      <a:lnTo>
                        <a:pt x="499042" y="121514"/>
                      </a:lnTo>
                      <a:lnTo>
                        <a:pt x="500280" y="120222"/>
                      </a:lnTo>
                      <a:lnTo>
                        <a:pt x="501047" y="117603"/>
                      </a:lnTo>
                      <a:lnTo>
                        <a:pt x="501545" y="115003"/>
                      </a:lnTo>
                      <a:lnTo>
                        <a:pt x="501974" y="113800"/>
                      </a:lnTo>
                      <a:lnTo>
                        <a:pt x="505410" y="111618"/>
                      </a:lnTo>
                      <a:lnTo>
                        <a:pt x="508400" y="108331"/>
                      </a:lnTo>
                      <a:lnTo>
                        <a:pt x="511534" y="107346"/>
                      </a:lnTo>
                      <a:lnTo>
                        <a:pt x="515453" y="112070"/>
                      </a:lnTo>
                      <a:lnTo>
                        <a:pt x="516741" y="114624"/>
                      </a:lnTo>
                      <a:lnTo>
                        <a:pt x="517956" y="117669"/>
                      </a:lnTo>
                      <a:lnTo>
                        <a:pt x="518236" y="120341"/>
                      </a:lnTo>
                      <a:lnTo>
                        <a:pt x="515217" y="122943"/>
                      </a:lnTo>
                      <a:lnTo>
                        <a:pt x="512803" y="128173"/>
                      </a:lnTo>
                      <a:lnTo>
                        <a:pt x="508264" y="131532"/>
                      </a:lnTo>
                      <a:lnTo>
                        <a:pt x="505996" y="136017"/>
                      </a:lnTo>
                      <a:lnTo>
                        <a:pt x="502065" y="147285"/>
                      </a:lnTo>
                      <a:lnTo>
                        <a:pt x="499394" y="150769"/>
                      </a:lnTo>
                      <a:lnTo>
                        <a:pt x="488937" y="156076"/>
                      </a:lnTo>
                      <a:lnTo>
                        <a:pt x="489928" y="159068"/>
                      </a:lnTo>
                      <a:lnTo>
                        <a:pt x="490888" y="161230"/>
                      </a:lnTo>
                      <a:lnTo>
                        <a:pt x="493260" y="165268"/>
                      </a:lnTo>
                      <a:lnTo>
                        <a:pt x="492094" y="169991"/>
                      </a:lnTo>
                      <a:lnTo>
                        <a:pt x="490176" y="173911"/>
                      </a:lnTo>
                      <a:lnTo>
                        <a:pt x="487903" y="176688"/>
                      </a:lnTo>
                      <a:lnTo>
                        <a:pt x="483919" y="179306"/>
                      </a:lnTo>
                      <a:lnTo>
                        <a:pt x="479734" y="189510"/>
                      </a:lnTo>
                      <a:lnTo>
                        <a:pt x="472663" y="193603"/>
                      </a:lnTo>
                      <a:lnTo>
                        <a:pt x="471357" y="200559"/>
                      </a:lnTo>
                      <a:lnTo>
                        <a:pt x="464393" y="213664"/>
                      </a:lnTo>
                      <a:lnTo>
                        <a:pt x="459383" y="216996"/>
                      </a:lnTo>
                      <a:lnTo>
                        <a:pt x="457392" y="219527"/>
                      </a:lnTo>
                      <a:lnTo>
                        <a:pt x="454537" y="226988"/>
                      </a:lnTo>
                      <a:lnTo>
                        <a:pt x="453090" y="229763"/>
                      </a:lnTo>
                      <a:lnTo>
                        <a:pt x="438985" y="245909"/>
                      </a:lnTo>
                      <a:lnTo>
                        <a:pt x="436635" y="253059"/>
                      </a:lnTo>
                      <a:lnTo>
                        <a:pt x="455387" y="242316"/>
                      </a:lnTo>
                      <a:lnTo>
                        <a:pt x="460822" y="247644"/>
                      </a:lnTo>
                      <a:lnTo>
                        <a:pt x="456711" y="256513"/>
                      </a:lnTo>
                      <a:lnTo>
                        <a:pt x="435620" y="257930"/>
                      </a:lnTo>
                      <a:lnTo>
                        <a:pt x="440684" y="263712"/>
                      </a:lnTo>
                      <a:lnTo>
                        <a:pt x="457145" y="259320"/>
                      </a:lnTo>
                      <a:lnTo>
                        <a:pt x="463106" y="266370"/>
                      </a:lnTo>
                      <a:lnTo>
                        <a:pt x="460847" y="266682"/>
                      </a:lnTo>
                      <a:lnTo>
                        <a:pt x="459381" y="269616"/>
                      </a:lnTo>
                      <a:lnTo>
                        <a:pt x="459265" y="274301"/>
                      </a:lnTo>
                      <a:lnTo>
                        <a:pt x="462566" y="284103"/>
                      </a:lnTo>
                      <a:lnTo>
                        <a:pt x="463155" y="288322"/>
                      </a:lnTo>
                      <a:lnTo>
                        <a:pt x="462501" y="290706"/>
                      </a:lnTo>
                      <a:lnTo>
                        <a:pt x="455136" y="286709"/>
                      </a:lnTo>
                      <a:lnTo>
                        <a:pt x="450652" y="289469"/>
                      </a:lnTo>
                      <a:lnTo>
                        <a:pt x="443349" y="302364"/>
                      </a:lnTo>
                      <a:lnTo>
                        <a:pt x="445059" y="303766"/>
                      </a:lnTo>
                      <a:lnTo>
                        <a:pt x="446691" y="304184"/>
                      </a:lnTo>
                      <a:lnTo>
                        <a:pt x="449922" y="303766"/>
                      </a:lnTo>
                      <a:lnTo>
                        <a:pt x="448112" y="306100"/>
                      </a:lnTo>
                      <a:lnTo>
                        <a:pt x="447110" y="309953"/>
                      </a:lnTo>
                      <a:lnTo>
                        <a:pt x="447470" y="313703"/>
                      </a:lnTo>
                      <a:lnTo>
                        <a:pt x="449762" y="315872"/>
                      </a:lnTo>
                      <a:lnTo>
                        <a:pt x="451698" y="314089"/>
                      </a:lnTo>
                      <a:lnTo>
                        <a:pt x="453990" y="310254"/>
                      </a:lnTo>
                      <a:lnTo>
                        <a:pt x="456386" y="307794"/>
                      </a:lnTo>
                      <a:lnTo>
                        <a:pt x="458676" y="310086"/>
                      </a:lnTo>
                      <a:lnTo>
                        <a:pt x="459862" y="315255"/>
                      </a:lnTo>
                      <a:lnTo>
                        <a:pt x="459403" y="318664"/>
                      </a:lnTo>
                      <a:lnTo>
                        <a:pt x="444924" y="338652"/>
                      </a:lnTo>
                      <a:lnTo>
                        <a:pt x="441497" y="341113"/>
                      </a:lnTo>
                      <a:lnTo>
                        <a:pt x="440256" y="342627"/>
                      </a:lnTo>
                      <a:lnTo>
                        <a:pt x="439153" y="344664"/>
                      </a:lnTo>
                      <a:lnTo>
                        <a:pt x="438452" y="346867"/>
                      </a:lnTo>
                      <a:lnTo>
                        <a:pt x="437985" y="347798"/>
                      </a:lnTo>
                      <a:lnTo>
                        <a:pt x="436852" y="348281"/>
                      </a:lnTo>
                      <a:lnTo>
                        <a:pt x="436789" y="349548"/>
                      </a:lnTo>
                      <a:lnTo>
                        <a:pt x="437082" y="352062"/>
                      </a:lnTo>
                      <a:lnTo>
                        <a:pt x="437089" y="353106"/>
                      </a:lnTo>
                      <a:lnTo>
                        <a:pt x="436642" y="356357"/>
                      </a:lnTo>
                      <a:lnTo>
                        <a:pt x="436482" y="358935"/>
                      </a:lnTo>
                      <a:lnTo>
                        <a:pt x="436614" y="361552"/>
                      </a:lnTo>
                      <a:lnTo>
                        <a:pt x="437839" y="366464"/>
                      </a:lnTo>
                      <a:lnTo>
                        <a:pt x="437429" y="368888"/>
                      </a:lnTo>
                      <a:lnTo>
                        <a:pt x="435872" y="373365"/>
                      </a:lnTo>
                      <a:lnTo>
                        <a:pt x="436032" y="376488"/>
                      </a:lnTo>
                      <a:lnTo>
                        <a:pt x="437673" y="392377"/>
                      </a:lnTo>
                      <a:lnTo>
                        <a:pt x="440893" y="399652"/>
                      </a:lnTo>
                      <a:lnTo>
                        <a:pt x="446334" y="404719"/>
                      </a:lnTo>
                      <a:lnTo>
                        <a:pt x="450175" y="404165"/>
                      </a:lnTo>
                      <a:lnTo>
                        <a:pt x="448604" y="394580"/>
                      </a:lnTo>
                      <a:lnTo>
                        <a:pt x="447082" y="391812"/>
                      </a:lnTo>
                      <a:lnTo>
                        <a:pt x="445448" y="389312"/>
                      </a:lnTo>
                      <a:lnTo>
                        <a:pt x="444353" y="385969"/>
                      </a:lnTo>
                      <a:lnTo>
                        <a:pt x="444458" y="380608"/>
                      </a:lnTo>
                      <a:lnTo>
                        <a:pt x="445890" y="377374"/>
                      </a:lnTo>
                      <a:lnTo>
                        <a:pt x="453288" y="372670"/>
                      </a:lnTo>
                      <a:lnTo>
                        <a:pt x="452717" y="374915"/>
                      </a:lnTo>
                      <a:lnTo>
                        <a:pt x="451924" y="382309"/>
                      </a:lnTo>
                      <a:lnTo>
                        <a:pt x="453939" y="381906"/>
                      </a:lnTo>
                      <a:lnTo>
                        <a:pt x="455696" y="380458"/>
                      </a:lnTo>
                      <a:lnTo>
                        <a:pt x="457380" y="379710"/>
                      </a:lnTo>
                      <a:lnTo>
                        <a:pt x="459189" y="381466"/>
                      </a:lnTo>
                      <a:lnTo>
                        <a:pt x="455698" y="383727"/>
                      </a:lnTo>
                      <a:lnTo>
                        <a:pt x="454290" y="385517"/>
                      </a:lnTo>
                      <a:lnTo>
                        <a:pt x="453635" y="389274"/>
                      </a:lnTo>
                      <a:lnTo>
                        <a:pt x="455296" y="391077"/>
                      </a:lnTo>
                      <a:lnTo>
                        <a:pt x="456673" y="394144"/>
                      </a:lnTo>
                      <a:lnTo>
                        <a:pt x="458422" y="396914"/>
                      </a:lnTo>
                      <a:lnTo>
                        <a:pt x="461182" y="397866"/>
                      </a:lnTo>
                      <a:lnTo>
                        <a:pt x="463832" y="396835"/>
                      </a:lnTo>
                      <a:lnTo>
                        <a:pt x="468809" y="392981"/>
                      </a:lnTo>
                      <a:lnTo>
                        <a:pt x="471443" y="391919"/>
                      </a:lnTo>
                      <a:lnTo>
                        <a:pt x="473903" y="388543"/>
                      </a:lnTo>
                      <a:lnTo>
                        <a:pt x="475495" y="380906"/>
                      </a:lnTo>
                      <a:lnTo>
                        <a:pt x="477723" y="363763"/>
                      </a:lnTo>
                      <a:lnTo>
                        <a:pt x="478883" y="359717"/>
                      </a:lnTo>
                      <a:lnTo>
                        <a:pt x="480580" y="356922"/>
                      </a:lnTo>
                      <a:lnTo>
                        <a:pt x="482692" y="355181"/>
                      </a:lnTo>
                      <a:lnTo>
                        <a:pt x="485100" y="354437"/>
                      </a:lnTo>
                      <a:lnTo>
                        <a:pt x="486351" y="352815"/>
                      </a:lnTo>
                      <a:lnTo>
                        <a:pt x="488049" y="349055"/>
                      </a:lnTo>
                      <a:lnTo>
                        <a:pt x="489436" y="344595"/>
                      </a:lnTo>
                      <a:lnTo>
                        <a:pt x="489820" y="340809"/>
                      </a:lnTo>
                      <a:lnTo>
                        <a:pt x="490712" y="334952"/>
                      </a:lnTo>
                      <a:lnTo>
                        <a:pt x="497216" y="324269"/>
                      </a:lnTo>
                      <a:lnTo>
                        <a:pt x="499053" y="317103"/>
                      </a:lnTo>
                      <a:lnTo>
                        <a:pt x="495795" y="312800"/>
                      </a:lnTo>
                      <a:lnTo>
                        <a:pt x="484311" y="309401"/>
                      </a:lnTo>
                      <a:lnTo>
                        <a:pt x="485663" y="303288"/>
                      </a:lnTo>
                      <a:lnTo>
                        <a:pt x="506224" y="266500"/>
                      </a:lnTo>
                      <a:lnTo>
                        <a:pt x="525101" y="221069"/>
                      </a:lnTo>
                      <a:lnTo>
                        <a:pt x="527907" y="218127"/>
                      </a:lnTo>
                      <a:lnTo>
                        <a:pt x="531201" y="216029"/>
                      </a:lnTo>
                      <a:lnTo>
                        <a:pt x="534400" y="211247"/>
                      </a:lnTo>
                      <a:lnTo>
                        <a:pt x="537029" y="204780"/>
                      </a:lnTo>
                      <a:lnTo>
                        <a:pt x="538591" y="197714"/>
                      </a:lnTo>
                      <a:lnTo>
                        <a:pt x="540218" y="174332"/>
                      </a:lnTo>
                      <a:lnTo>
                        <a:pt x="541270" y="167302"/>
                      </a:lnTo>
                      <a:lnTo>
                        <a:pt x="542417" y="165789"/>
                      </a:lnTo>
                      <a:lnTo>
                        <a:pt x="546521" y="164906"/>
                      </a:lnTo>
                      <a:lnTo>
                        <a:pt x="548209" y="162695"/>
                      </a:lnTo>
                      <a:lnTo>
                        <a:pt x="548826" y="159720"/>
                      </a:lnTo>
                      <a:lnTo>
                        <a:pt x="549272" y="153095"/>
                      </a:lnTo>
                      <a:lnTo>
                        <a:pt x="549662" y="150392"/>
                      </a:lnTo>
                      <a:lnTo>
                        <a:pt x="552086" y="144507"/>
                      </a:lnTo>
                      <a:lnTo>
                        <a:pt x="558163" y="135435"/>
                      </a:lnTo>
                      <a:lnTo>
                        <a:pt x="562420" y="122347"/>
                      </a:lnTo>
                      <a:lnTo>
                        <a:pt x="568162" y="109306"/>
                      </a:lnTo>
                      <a:lnTo>
                        <a:pt x="591069" y="77995"/>
                      </a:lnTo>
                      <a:lnTo>
                        <a:pt x="599412" y="74488"/>
                      </a:lnTo>
                      <a:lnTo>
                        <a:pt x="599129" y="75607"/>
                      </a:lnTo>
                      <a:lnTo>
                        <a:pt x="598563" y="79379"/>
                      </a:lnTo>
                      <a:lnTo>
                        <a:pt x="604628" y="83484"/>
                      </a:lnTo>
                      <a:lnTo>
                        <a:pt x="604531" y="87588"/>
                      </a:lnTo>
                      <a:lnTo>
                        <a:pt x="605174" y="89315"/>
                      </a:lnTo>
                      <a:lnTo>
                        <a:pt x="606117" y="90671"/>
                      </a:lnTo>
                      <a:lnTo>
                        <a:pt x="606964" y="93660"/>
                      </a:lnTo>
                      <a:lnTo>
                        <a:pt x="607167" y="97082"/>
                      </a:lnTo>
                      <a:lnTo>
                        <a:pt x="606763" y="99610"/>
                      </a:lnTo>
                      <a:lnTo>
                        <a:pt x="605612" y="103608"/>
                      </a:lnTo>
                      <a:lnTo>
                        <a:pt x="604520" y="105651"/>
                      </a:lnTo>
                      <a:lnTo>
                        <a:pt x="602952" y="106415"/>
                      </a:lnTo>
                      <a:lnTo>
                        <a:pt x="601724" y="107725"/>
                      </a:lnTo>
                      <a:lnTo>
                        <a:pt x="601641" y="111329"/>
                      </a:lnTo>
                      <a:lnTo>
                        <a:pt x="602429" y="115149"/>
                      </a:lnTo>
                      <a:lnTo>
                        <a:pt x="603419" y="117594"/>
                      </a:lnTo>
                      <a:lnTo>
                        <a:pt x="604579" y="118822"/>
                      </a:lnTo>
                      <a:lnTo>
                        <a:pt x="605876" y="119063"/>
                      </a:lnTo>
                      <a:lnTo>
                        <a:pt x="607236" y="117619"/>
                      </a:lnTo>
                      <a:lnTo>
                        <a:pt x="608757" y="115174"/>
                      </a:lnTo>
                      <a:lnTo>
                        <a:pt x="610290" y="113834"/>
                      </a:lnTo>
                      <a:lnTo>
                        <a:pt x="611706" y="115847"/>
                      </a:lnTo>
                      <a:lnTo>
                        <a:pt x="611981" y="118875"/>
                      </a:lnTo>
                      <a:lnTo>
                        <a:pt x="611408" y="121795"/>
                      </a:lnTo>
                      <a:lnTo>
                        <a:pt x="610064" y="125595"/>
                      </a:lnTo>
                      <a:lnTo>
                        <a:pt x="609179" y="130948"/>
                      </a:lnTo>
                      <a:lnTo>
                        <a:pt x="608562" y="136999"/>
                      </a:lnTo>
                      <a:lnTo>
                        <a:pt x="608768" y="143373"/>
                      </a:lnTo>
                      <a:lnTo>
                        <a:pt x="610352" y="149623"/>
                      </a:lnTo>
                      <a:lnTo>
                        <a:pt x="606076" y="160495"/>
                      </a:lnTo>
                      <a:lnTo>
                        <a:pt x="575037" y="185270"/>
                      </a:lnTo>
                      <a:lnTo>
                        <a:pt x="579324" y="188018"/>
                      </a:lnTo>
                      <a:lnTo>
                        <a:pt x="592320" y="178349"/>
                      </a:lnTo>
                      <a:lnTo>
                        <a:pt x="596599" y="177442"/>
                      </a:lnTo>
                      <a:lnTo>
                        <a:pt x="606804" y="179474"/>
                      </a:lnTo>
                      <a:lnTo>
                        <a:pt x="611221" y="182826"/>
                      </a:lnTo>
                      <a:lnTo>
                        <a:pt x="608989" y="211751"/>
                      </a:lnTo>
                      <a:lnTo>
                        <a:pt x="610196" y="216523"/>
                      </a:lnTo>
                      <a:lnTo>
                        <a:pt x="609109" y="219643"/>
                      </a:lnTo>
                      <a:lnTo>
                        <a:pt x="607280" y="222482"/>
                      </a:lnTo>
                      <a:lnTo>
                        <a:pt x="606313" y="226395"/>
                      </a:lnTo>
                      <a:lnTo>
                        <a:pt x="606705" y="231054"/>
                      </a:lnTo>
                      <a:lnTo>
                        <a:pt x="607696" y="233471"/>
                      </a:lnTo>
                      <a:lnTo>
                        <a:pt x="609090" y="235773"/>
                      </a:lnTo>
                      <a:lnTo>
                        <a:pt x="610670" y="240096"/>
                      </a:lnTo>
                      <a:lnTo>
                        <a:pt x="606792" y="245890"/>
                      </a:lnTo>
                      <a:lnTo>
                        <a:pt x="605177" y="250714"/>
                      </a:lnTo>
                      <a:lnTo>
                        <a:pt x="605043" y="256597"/>
                      </a:lnTo>
                      <a:lnTo>
                        <a:pt x="605691" y="259275"/>
                      </a:lnTo>
                      <a:lnTo>
                        <a:pt x="607330" y="262624"/>
                      </a:lnTo>
                      <a:lnTo>
                        <a:pt x="607767" y="264552"/>
                      </a:lnTo>
                      <a:lnTo>
                        <a:pt x="607806" y="267030"/>
                      </a:lnTo>
                      <a:lnTo>
                        <a:pt x="607471" y="271918"/>
                      </a:lnTo>
                      <a:lnTo>
                        <a:pt x="607563" y="274317"/>
                      </a:lnTo>
                      <a:lnTo>
                        <a:pt x="607363" y="275055"/>
                      </a:lnTo>
                      <a:lnTo>
                        <a:pt x="607208" y="277589"/>
                      </a:lnTo>
                      <a:lnTo>
                        <a:pt x="607563" y="280223"/>
                      </a:lnTo>
                      <a:lnTo>
                        <a:pt x="608916" y="281270"/>
                      </a:lnTo>
                      <a:lnTo>
                        <a:pt x="613570" y="282793"/>
                      </a:lnTo>
                      <a:lnTo>
                        <a:pt x="615003" y="281515"/>
                      </a:lnTo>
                      <a:lnTo>
                        <a:pt x="615591" y="279415"/>
                      </a:lnTo>
                      <a:lnTo>
                        <a:pt x="615650" y="277221"/>
                      </a:lnTo>
                      <a:lnTo>
                        <a:pt x="615912" y="275054"/>
                      </a:lnTo>
                      <a:lnTo>
                        <a:pt x="616993" y="272999"/>
                      </a:lnTo>
                      <a:lnTo>
                        <a:pt x="618544" y="272427"/>
                      </a:lnTo>
                      <a:lnTo>
                        <a:pt x="621782" y="273419"/>
                      </a:lnTo>
                      <a:lnTo>
                        <a:pt x="623275" y="272115"/>
                      </a:lnTo>
                      <a:lnTo>
                        <a:pt x="620089" y="265125"/>
                      </a:lnTo>
                      <a:lnTo>
                        <a:pt x="619549" y="262901"/>
                      </a:lnTo>
                      <a:lnTo>
                        <a:pt x="619894" y="260991"/>
                      </a:lnTo>
                      <a:lnTo>
                        <a:pt x="621782" y="256635"/>
                      </a:lnTo>
                      <a:lnTo>
                        <a:pt x="622427" y="255960"/>
                      </a:lnTo>
                      <a:lnTo>
                        <a:pt x="626228" y="257581"/>
                      </a:lnTo>
                      <a:lnTo>
                        <a:pt x="629717" y="256859"/>
                      </a:lnTo>
                      <a:lnTo>
                        <a:pt x="632805" y="254173"/>
                      </a:lnTo>
                      <a:lnTo>
                        <a:pt x="635395" y="249924"/>
                      </a:lnTo>
                      <a:lnTo>
                        <a:pt x="636734" y="244064"/>
                      </a:lnTo>
                      <a:lnTo>
                        <a:pt x="636516" y="238896"/>
                      </a:lnTo>
                      <a:lnTo>
                        <a:pt x="636944" y="235212"/>
                      </a:lnTo>
                      <a:lnTo>
                        <a:pt x="651990" y="232007"/>
                      </a:lnTo>
                      <a:lnTo>
                        <a:pt x="651272" y="237838"/>
                      </a:lnTo>
                      <a:lnTo>
                        <a:pt x="653395" y="238921"/>
                      </a:lnTo>
                      <a:lnTo>
                        <a:pt x="664487" y="232545"/>
                      </a:lnTo>
                      <a:lnTo>
                        <a:pt x="667480" y="232699"/>
                      </a:lnTo>
                      <a:lnTo>
                        <a:pt x="670621" y="233823"/>
                      </a:lnTo>
                      <a:lnTo>
                        <a:pt x="669063" y="232405"/>
                      </a:lnTo>
                      <a:lnTo>
                        <a:pt x="664489" y="230170"/>
                      </a:lnTo>
                      <a:lnTo>
                        <a:pt x="663129" y="228665"/>
                      </a:lnTo>
                      <a:lnTo>
                        <a:pt x="660307" y="223637"/>
                      </a:lnTo>
                      <a:lnTo>
                        <a:pt x="653251" y="216262"/>
                      </a:lnTo>
                      <a:lnTo>
                        <a:pt x="651563" y="212787"/>
                      </a:lnTo>
                      <a:lnTo>
                        <a:pt x="654101" y="210424"/>
                      </a:lnTo>
                      <a:lnTo>
                        <a:pt x="654905" y="208460"/>
                      </a:lnTo>
                      <a:lnTo>
                        <a:pt x="655188" y="205106"/>
                      </a:lnTo>
                      <a:lnTo>
                        <a:pt x="651991" y="203444"/>
                      </a:lnTo>
                      <a:lnTo>
                        <a:pt x="650943" y="203342"/>
                      </a:lnTo>
                      <a:lnTo>
                        <a:pt x="652187" y="197063"/>
                      </a:lnTo>
                      <a:lnTo>
                        <a:pt x="654746" y="191058"/>
                      </a:lnTo>
                      <a:lnTo>
                        <a:pt x="657847" y="186677"/>
                      </a:lnTo>
                      <a:lnTo>
                        <a:pt x="660761" y="185193"/>
                      </a:lnTo>
                      <a:lnTo>
                        <a:pt x="661748" y="185843"/>
                      </a:lnTo>
                      <a:lnTo>
                        <a:pt x="664315" y="188418"/>
                      </a:lnTo>
                      <a:lnTo>
                        <a:pt x="665504" y="189264"/>
                      </a:lnTo>
                      <a:lnTo>
                        <a:pt x="667074" y="189443"/>
                      </a:lnTo>
                      <a:lnTo>
                        <a:pt x="671720" y="188335"/>
                      </a:lnTo>
                      <a:lnTo>
                        <a:pt x="680529" y="191932"/>
                      </a:lnTo>
                      <a:lnTo>
                        <a:pt x="683332" y="191564"/>
                      </a:lnTo>
                      <a:lnTo>
                        <a:pt x="678883" y="186490"/>
                      </a:lnTo>
                      <a:lnTo>
                        <a:pt x="665647" y="179919"/>
                      </a:lnTo>
                      <a:lnTo>
                        <a:pt x="661464" y="175339"/>
                      </a:lnTo>
                      <a:lnTo>
                        <a:pt x="661320" y="170243"/>
                      </a:lnTo>
                      <a:lnTo>
                        <a:pt x="665804" y="160589"/>
                      </a:lnTo>
                      <a:lnTo>
                        <a:pt x="663392" y="158249"/>
                      </a:lnTo>
                      <a:lnTo>
                        <a:pt x="658505" y="156347"/>
                      </a:lnTo>
                      <a:lnTo>
                        <a:pt x="656120" y="154654"/>
                      </a:lnTo>
                      <a:lnTo>
                        <a:pt x="658119" y="145232"/>
                      </a:lnTo>
                      <a:lnTo>
                        <a:pt x="660796" y="140666"/>
                      </a:lnTo>
                      <a:lnTo>
                        <a:pt x="677246" y="137165"/>
                      </a:lnTo>
                      <a:lnTo>
                        <a:pt x="680842" y="138227"/>
                      </a:lnTo>
                      <a:lnTo>
                        <a:pt x="682051" y="136520"/>
                      </a:lnTo>
                      <a:lnTo>
                        <a:pt x="682729" y="131355"/>
                      </a:lnTo>
                      <a:lnTo>
                        <a:pt x="679968" y="131235"/>
                      </a:lnTo>
                      <a:lnTo>
                        <a:pt x="676927" y="130105"/>
                      </a:lnTo>
                      <a:lnTo>
                        <a:pt x="674858" y="126636"/>
                      </a:lnTo>
                      <a:lnTo>
                        <a:pt x="674941" y="119512"/>
                      </a:lnTo>
                      <a:lnTo>
                        <a:pt x="675973" y="111278"/>
                      </a:lnTo>
                      <a:lnTo>
                        <a:pt x="677155" y="109191"/>
                      </a:lnTo>
                      <a:lnTo>
                        <a:pt x="679866" y="108153"/>
                      </a:lnTo>
                      <a:lnTo>
                        <a:pt x="712512" y="110231"/>
                      </a:lnTo>
                      <a:lnTo>
                        <a:pt x="694602" y="105886"/>
                      </a:lnTo>
                      <a:lnTo>
                        <a:pt x="694231" y="103553"/>
                      </a:lnTo>
                      <a:lnTo>
                        <a:pt x="695969" y="103467"/>
                      </a:lnTo>
                      <a:lnTo>
                        <a:pt x="697162" y="101788"/>
                      </a:lnTo>
                      <a:lnTo>
                        <a:pt x="698245" y="99600"/>
                      </a:lnTo>
                      <a:lnTo>
                        <a:pt x="699534" y="97947"/>
                      </a:lnTo>
                      <a:lnTo>
                        <a:pt x="697916" y="96249"/>
                      </a:lnTo>
                      <a:lnTo>
                        <a:pt x="695933" y="92959"/>
                      </a:lnTo>
                      <a:lnTo>
                        <a:pt x="694607" y="91556"/>
                      </a:lnTo>
                      <a:lnTo>
                        <a:pt x="693493" y="91430"/>
                      </a:lnTo>
                      <a:lnTo>
                        <a:pt x="691320" y="92223"/>
                      </a:lnTo>
                      <a:lnTo>
                        <a:pt x="690189" y="91046"/>
                      </a:lnTo>
                      <a:lnTo>
                        <a:pt x="689418" y="89244"/>
                      </a:lnTo>
                      <a:lnTo>
                        <a:pt x="689086" y="88327"/>
                      </a:lnTo>
                      <a:lnTo>
                        <a:pt x="688690" y="87949"/>
                      </a:lnTo>
                      <a:lnTo>
                        <a:pt x="687633" y="87642"/>
                      </a:lnTo>
                      <a:lnTo>
                        <a:pt x="683941" y="89692"/>
                      </a:lnTo>
                      <a:lnTo>
                        <a:pt x="681884" y="90035"/>
                      </a:lnTo>
                      <a:lnTo>
                        <a:pt x="680593" y="87646"/>
                      </a:lnTo>
                      <a:lnTo>
                        <a:pt x="680571" y="84889"/>
                      </a:lnTo>
                      <a:lnTo>
                        <a:pt x="681739" y="79631"/>
                      </a:lnTo>
                      <a:lnTo>
                        <a:pt x="681997" y="76775"/>
                      </a:lnTo>
                      <a:lnTo>
                        <a:pt x="680402" y="78599"/>
                      </a:lnTo>
                      <a:lnTo>
                        <a:pt x="678556" y="84657"/>
                      </a:lnTo>
                      <a:lnTo>
                        <a:pt x="677344" y="87048"/>
                      </a:lnTo>
                      <a:lnTo>
                        <a:pt x="675184" y="88388"/>
                      </a:lnTo>
                      <a:lnTo>
                        <a:pt x="658451" y="87097"/>
                      </a:lnTo>
                      <a:lnTo>
                        <a:pt x="653750" y="84048"/>
                      </a:lnTo>
                      <a:lnTo>
                        <a:pt x="649398" y="79112"/>
                      </a:lnTo>
                      <a:lnTo>
                        <a:pt x="649173" y="69253"/>
                      </a:lnTo>
                      <a:lnTo>
                        <a:pt x="650112" y="64280"/>
                      </a:lnTo>
                      <a:lnTo>
                        <a:pt x="652461" y="62876"/>
                      </a:lnTo>
                      <a:lnTo>
                        <a:pt x="673626" y="68317"/>
                      </a:lnTo>
                      <a:lnTo>
                        <a:pt x="672278" y="64824"/>
                      </a:lnTo>
                      <a:lnTo>
                        <a:pt x="670658" y="62256"/>
                      </a:lnTo>
                      <a:lnTo>
                        <a:pt x="667412" y="58612"/>
                      </a:lnTo>
                      <a:lnTo>
                        <a:pt x="665019" y="56672"/>
                      </a:lnTo>
                      <a:lnTo>
                        <a:pt x="659895" y="53994"/>
                      </a:lnTo>
                      <a:lnTo>
                        <a:pt x="657719" y="51635"/>
                      </a:lnTo>
                      <a:lnTo>
                        <a:pt x="655352" y="44243"/>
                      </a:lnTo>
                      <a:lnTo>
                        <a:pt x="658466" y="41200"/>
                      </a:lnTo>
                      <a:lnTo>
                        <a:pt x="684359" y="44104"/>
                      </a:lnTo>
                      <a:lnTo>
                        <a:pt x="687693" y="48140"/>
                      </a:lnTo>
                      <a:lnTo>
                        <a:pt x="690008" y="56544"/>
                      </a:lnTo>
                      <a:lnTo>
                        <a:pt x="693036" y="60653"/>
                      </a:lnTo>
                      <a:lnTo>
                        <a:pt x="695825" y="60290"/>
                      </a:lnTo>
                      <a:lnTo>
                        <a:pt x="697462" y="55295"/>
                      </a:lnTo>
                      <a:lnTo>
                        <a:pt x="695762" y="51079"/>
                      </a:lnTo>
                      <a:lnTo>
                        <a:pt x="694807" y="46746"/>
                      </a:lnTo>
                      <a:lnTo>
                        <a:pt x="694726" y="42532"/>
                      </a:lnTo>
                      <a:lnTo>
                        <a:pt x="695586" y="38641"/>
                      </a:lnTo>
                      <a:lnTo>
                        <a:pt x="691299" y="37420"/>
                      </a:lnTo>
                      <a:lnTo>
                        <a:pt x="689457" y="35586"/>
                      </a:lnTo>
                      <a:lnTo>
                        <a:pt x="688186" y="31345"/>
                      </a:lnTo>
                      <a:lnTo>
                        <a:pt x="687135" y="26045"/>
                      </a:lnTo>
                      <a:lnTo>
                        <a:pt x="686316" y="22886"/>
                      </a:lnTo>
                      <a:lnTo>
                        <a:pt x="686028" y="20156"/>
                      </a:lnTo>
                      <a:lnTo>
                        <a:pt x="686435" y="15995"/>
                      </a:lnTo>
                      <a:lnTo>
                        <a:pt x="689668" y="11605"/>
                      </a:lnTo>
                      <a:lnTo>
                        <a:pt x="694494" y="12356"/>
                      </a:lnTo>
                      <a:lnTo>
                        <a:pt x="697924" y="10935"/>
                      </a:lnTo>
                      <a:close/>
                    </a:path>
                  </a:pathLst>
                </a:custGeom>
                <a:solidFill>
                  <a:srgbClr val="1E4B50"/>
                </a:solidFill>
                <a:ln w="3175" cap="rnd">
                  <a:solidFill>
                    <a:srgbClr val="1E4B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" name="Freeform 12">
                  <a:extLst>
                    <a:ext uri="{FF2B5EF4-FFF2-40B4-BE49-F238E27FC236}">
                      <a16:creationId xmlns:a16="http://schemas.microsoft.com/office/drawing/2014/main" id="{0AF423A2-5BA0-41FD-9D3F-59A53EDD20D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5"/>
                  </p:custDataLst>
                </p:nvPr>
              </p:nvSpPr>
              <p:spPr>
                <a:xfrm>
                  <a:off x="3038590" y="1030733"/>
                  <a:ext cx="844887" cy="13734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11669" h="1481969">
                      <a:moveTo>
                        <a:pt x="24398" y="1433238"/>
                      </a:moveTo>
                      <a:lnTo>
                        <a:pt x="25085" y="1435224"/>
                      </a:lnTo>
                      <a:lnTo>
                        <a:pt x="25190" y="1438483"/>
                      </a:lnTo>
                      <a:lnTo>
                        <a:pt x="25112" y="1440243"/>
                      </a:lnTo>
                      <a:lnTo>
                        <a:pt x="26691" y="1442521"/>
                      </a:lnTo>
                      <a:lnTo>
                        <a:pt x="28799" y="1442022"/>
                      </a:lnTo>
                      <a:lnTo>
                        <a:pt x="30945" y="1440451"/>
                      </a:lnTo>
                      <a:lnTo>
                        <a:pt x="32757" y="1439656"/>
                      </a:lnTo>
                      <a:lnTo>
                        <a:pt x="35796" y="1440836"/>
                      </a:lnTo>
                      <a:lnTo>
                        <a:pt x="37911" y="1443541"/>
                      </a:lnTo>
                      <a:lnTo>
                        <a:pt x="39414" y="1447492"/>
                      </a:lnTo>
                      <a:lnTo>
                        <a:pt x="40604" y="1452418"/>
                      </a:lnTo>
                      <a:lnTo>
                        <a:pt x="40405" y="1453574"/>
                      </a:lnTo>
                      <a:lnTo>
                        <a:pt x="40398" y="1453611"/>
                      </a:lnTo>
                      <a:lnTo>
                        <a:pt x="39335" y="1450360"/>
                      </a:lnTo>
                      <a:lnTo>
                        <a:pt x="37739" y="1449670"/>
                      </a:lnTo>
                      <a:lnTo>
                        <a:pt x="33387" y="1450208"/>
                      </a:lnTo>
                      <a:lnTo>
                        <a:pt x="30824" y="1449904"/>
                      </a:lnTo>
                      <a:lnTo>
                        <a:pt x="28715" y="1448366"/>
                      </a:lnTo>
                      <a:lnTo>
                        <a:pt x="26878" y="1445344"/>
                      </a:lnTo>
                      <a:lnTo>
                        <a:pt x="24285" y="1441588"/>
                      </a:lnTo>
                      <a:lnTo>
                        <a:pt x="23676" y="1435628"/>
                      </a:lnTo>
                      <a:lnTo>
                        <a:pt x="22917" y="1435002"/>
                      </a:lnTo>
                      <a:lnTo>
                        <a:pt x="22908" y="1434993"/>
                      </a:lnTo>
                      <a:close/>
                      <a:moveTo>
                        <a:pt x="48797" y="1383976"/>
                      </a:moveTo>
                      <a:lnTo>
                        <a:pt x="51062" y="1386455"/>
                      </a:lnTo>
                      <a:lnTo>
                        <a:pt x="54944" y="1396720"/>
                      </a:lnTo>
                      <a:lnTo>
                        <a:pt x="58949" y="1401963"/>
                      </a:lnTo>
                      <a:lnTo>
                        <a:pt x="56542" y="1407556"/>
                      </a:lnTo>
                      <a:lnTo>
                        <a:pt x="50923" y="1415435"/>
                      </a:lnTo>
                      <a:lnTo>
                        <a:pt x="54308" y="1417318"/>
                      </a:lnTo>
                      <a:lnTo>
                        <a:pt x="59343" y="1418696"/>
                      </a:lnTo>
                      <a:lnTo>
                        <a:pt x="62724" y="1421057"/>
                      </a:lnTo>
                      <a:lnTo>
                        <a:pt x="61047" y="1425797"/>
                      </a:lnTo>
                      <a:lnTo>
                        <a:pt x="56187" y="1430848"/>
                      </a:lnTo>
                      <a:lnTo>
                        <a:pt x="50144" y="1434550"/>
                      </a:lnTo>
                      <a:lnTo>
                        <a:pt x="38895" y="1438064"/>
                      </a:lnTo>
                      <a:lnTo>
                        <a:pt x="35487" y="1437416"/>
                      </a:lnTo>
                      <a:lnTo>
                        <a:pt x="29804" y="1433380"/>
                      </a:lnTo>
                      <a:lnTo>
                        <a:pt x="26885" y="1432223"/>
                      </a:lnTo>
                      <a:lnTo>
                        <a:pt x="23542" y="1431802"/>
                      </a:lnTo>
                      <a:lnTo>
                        <a:pt x="16778" y="1429227"/>
                      </a:lnTo>
                      <a:lnTo>
                        <a:pt x="14004" y="1426285"/>
                      </a:lnTo>
                      <a:lnTo>
                        <a:pt x="16254" y="1425137"/>
                      </a:lnTo>
                      <a:lnTo>
                        <a:pt x="21888" y="1427015"/>
                      </a:lnTo>
                      <a:lnTo>
                        <a:pt x="24141" y="1426332"/>
                      </a:lnTo>
                      <a:lnTo>
                        <a:pt x="24307" y="1424143"/>
                      </a:lnTo>
                      <a:lnTo>
                        <a:pt x="23839" y="1421344"/>
                      </a:lnTo>
                      <a:lnTo>
                        <a:pt x="24119" y="1418826"/>
                      </a:lnTo>
                      <a:lnTo>
                        <a:pt x="26932" y="1415396"/>
                      </a:lnTo>
                      <a:lnTo>
                        <a:pt x="32797" y="1413911"/>
                      </a:lnTo>
                      <a:lnTo>
                        <a:pt x="36307" y="1411505"/>
                      </a:lnTo>
                      <a:lnTo>
                        <a:pt x="34102" y="1412109"/>
                      </a:lnTo>
                      <a:lnTo>
                        <a:pt x="32813" y="1411526"/>
                      </a:lnTo>
                      <a:lnTo>
                        <a:pt x="32165" y="1409643"/>
                      </a:lnTo>
                      <a:lnTo>
                        <a:pt x="31789" y="1406358"/>
                      </a:lnTo>
                      <a:lnTo>
                        <a:pt x="32326" y="1405164"/>
                      </a:lnTo>
                      <a:lnTo>
                        <a:pt x="33247" y="1400670"/>
                      </a:lnTo>
                      <a:lnTo>
                        <a:pt x="33971" y="1396128"/>
                      </a:lnTo>
                      <a:lnTo>
                        <a:pt x="33844" y="1394916"/>
                      </a:lnTo>
                      <a:lnTo>
                        <a:pt x="37018" y="1390288"/>
                      </a:lnTo>
                      <a:lnTo>
                        <a:pt x="41107" y="1386759"/>
                      </a:lnTo>
                      <a:lnTo>
                        <a:pt x="45295" y="1384594"/>
                      </a:lnTo>
                      <a:close/>
                      <a:moveTo>
                        <a:pt x="72073" y="1258303"/>
                      </a:moveTo>
                      <a:lnTo>
                        <a:pt x="74886" y="1263990"/>
                      </a:lnTo>
                      <a:lnTo>
                        <a:pt x="76771" y="1272830"/>
                      </a:lnTo>
                      <a:lnTo>
                        <a:pt x="77746" y="1276094"/>
                      </a:lnTo>
                      <a:lnTo>
                        <a:pt x="79115" y="1277824"/>
                      </a:lnTo>
                      <a:lnTo>
                        <a:pt x="86027" y="1282961"/>
                      </a:lnTo>
                      <a:lnTo>
                        <a:pt x="87372" y="1285394"/>
                      </a:lnTo>
                      <a:lnTo>
                        <a:pt x="92922" y="1299940"/>
                      </a:lnTo>
                      <a:lnTo>
                        <a:pt x="92936" y="1302908"/>
                      </a:lnTo>
                      <a:lnTo>
                        <a:pt x="92354" y="1309820"/>
                      </a:lnTo>
                      <a:lnTo>
                        <a:pt x="92688" y="1314128"/>
                      </a:lnTo>
                      <a:lnTo>
                        <a:pt x="93764" y="1318825"/>
                      </a:lnTo>
                      <a:lnTo>
                        <a:pt x="95373" y="1322408"/>
                      </a:lnTo>
                      <a:lnTo>
                        <a:pt x="97446" y="1324420"/>
                      </a:lnTo>
                      <a:lnTo>
                        <a:pt x="99773" y="1324434"/>
                      </a:lnTo>
                      <a:lnTo>
                        <a:pt x="97348" y="1327915"/>
                      </a:lnTo>
                      <a:lnTo>
                        <a:pt x="92441" y="1329319"/>
                      </a:lnTo>
                      <a:lnTo>
                        <a:pt x="90071" y="1333085"/>
                      </a:lnTo>
                      <a:lnTo>
                        <a:pt x="82264" y="1336112"/>
                      </a:lnTo>
                      <a:lnTo>
                        <a:pt x="80246" y="1338056"/>
                      </a:lnTo>
                      <a:lnTo>
                        <a:pt x="78084" y="1341385"/>
                      </a:lnTo>
                      <a:lnTo>
                        <a:pt x="75820" y="1343829"/>
                      </a:lnTo>
                      <a:lnTo>
                        <a:pt x="73359" y="1345282"/>
                      </a:lnTo>
                      <a:lnTo>
                        <a:pt x="59079" y="1347172"/>
                      </a:lnTo>
                      <a:lnTo>
                        <a:pt x="55134" y="1346057"/>
                      </a:lnTo>
                      <a:lnTo>
                        <a:pt x="53987" y="1347806"/>
                      </a:lnTo>
                      <a:lnTo>
                        <a:pt x="54463" y="1353669"/>
                      </a:lnTo>
                      <a:lnTo>
                        <a:pt x="55481" y="1354298"/>
                      </a:lnTo>
                      <a:lnTo>
                        <a:pt x="57736" y="1357861"/>
                      </a:lnTo>
                      <a:lnTo>
                        <a:pt x="59042" y="1361749"/>
                      </a:lnTo>
                      <a:lnTo>
                        <a:pt x="57135" y="1363402"/>
                      </a:lnTo>
                      <a:lnTo>
                        <a:pt x="54904" y="1364699"/>
                      </a:lnTo>
                      <a:lnTo>
                        <a:pt x="50392" y="1370980"/>
                      </a:lnTo>
                      <a:lnTo>
                        <a:pt x="48814" y="1372350"/>
                      </a:lnTo>
                      <a:lnTo>
                        <a:pt x="32908" y="1382113"/>
                      </a:lnTo>
                      <a:lnTo>
                        <a:pt x="29153" y="1380059"/>
                      </a:lnTo>
                      <a:lnTo>
                        <a:pt x="33026" y="1375666"/>
                      </a:lnTo>
                      <a:lnTo>
                        <a:pt x="36237" y="1368257"/>
                      </a:lnTo>
                      <a:lnTo>
                        <a:pt x="41679" y="1352516"/>
                      </a:lnTo>
                      <a:lnTo>
                        <a:pt x="40048" y="1352664"/>
                      </a:lnTo>
                      <a:lnTo>
                        <a:pt x="38505" y="1352368"/>
                      </a:lnTo>
                      <a:lnTo>
                        <a:pt x="37100" y="1351476"/>
                      </a:lnTo>
                      <a:lnTo>
                        <a:pt x="35894" y="1349827"/>
                      </a:lnTo>
                      <a:lnTo>
                        <a:pt x="38803" y="1344340"/>
                      </a:lnTo>
                      <a:lnTo>
                        <a:pt x="41041" y="1338426"/>
                      </a:lnTo>
                      <a:lnTo>
                        <a:pt x="43386" y="1333650"/>
                      </a:lnTo>
                      <a:lnTo>
                        <a:pt x="46550" y="1331622"/>
                      </a:lnTo>
                      <a:lnTo>
                        <a:pt x="48266" y="1332312"/>
                      </a:lnTo>
                      <a:lnTo>
                        <a:pt x="50290" y="1335717"/>
                      </a:lnTo>
                      <a:lnTo>
                        <a:pt x="51578" y="1336582"/>
                      </a:lnTo>
                      <a:lnTo>
                        <a:pt x="52705" y="1335454"/>
                      </a:lnTo>
                      <a:lnTo>
                        <a:pt x="55352" y="1329715"/>
                      </a:lnTo>
                      <a:lnTo>
                        <a:pt x="56783" y="1327809"/>
                      </a:lnTo>
                      <a:lnTo>
                        <a:pt x="57013" y="1325244"/>
                      </a:lnTo>
                      <a:lnTo>
                        <a:pt x="53031" y="1325437"/>
                      </a:lnTo>
                      <a:lnTo>
                        <a:pt x="52111" y="1324804"/>
                      </a:lnTo>
                      <a:lnTo>
                        <a:pt x="51717" y="1324344"/>
                      </a:lnTo>
                      <a:lnTo>
                        <a:pt x="50691" y="1322684"/>
                      </a:lnTo>
                      <a:lnTo>
                        <a:pt x="50124" y="1320894"/>
                      </a:lnTo>
                      <a:lnTo>
                        <a:pt x="52323" y="1318944"/>
                      </a:lnTo>
                      <a:lnTo>
                        <a:pt x="58281" y="1311115"/>
                      </a:lnTo>
                      <a:lnTo>
                        <a:pt x="67094" y="1303805"/>
                      </a:lnTo>
                      <a:lnTo>
                        <a:pt x="76314" y="1298501"/>
                      </a:lnTo>
                      <a:lnTo>
                        <a:pt x="75546" y="1295904"/>
                      </a:lnTo>
                      <a:lnTo>
                        <a:pt x="75114" y="1293620"/>
                      </a:lnTo>
                      <a:lnTo>
                        <a:pt x="74977" y="1291319"/>
                      </a:lnTo>
                      <a:lnTo>
                        <a:pt x="75125" y="1288705"/>
                      </a:lnTo>
                      <a:lnTo>
                        <a:pt x="66501" y="1295572"/>
                      </a:lnTo>
                      <a:lnTo>
                        <a:pt x="62140" y="1296739"/>
                      </a:lnTo>
                      <a:lnTo>
                        <a:pt x="57792" y="1294485"/>
                      </a:lnTo>
                      <a:lnTo>
                        <a:pt x="63179" y="1290233"/>
                      </a:lnTo>
                      <a:lnTo>
                        <a:pt x="59203" y="1289878"/>
                      </a:lnTo>
                      <a:lnTo>
                        <a:pt x="63664" y="1281672"/>
                      </a:lnTo>
                      <a:lnTo>
                        <a:pt x="65541" y="1277050"/>
                      </a:lnTo>
                      <a:lnTo>
                        <a:pt x="66711" y="1271800"/>
                      </a:lnTo>
                      <a:lnTo>
                        <a:pt x="65784" y="1271321"/>
                      </a:lnTo>
                      <a:lnTo>
                        <a:pt x="64680" y="1269669"/>
                      </a:lnTo>
                      <a:lnTo>
                        <a:pt x="64030" y="1268960"/>
                      </a:lnTo>
                      <a:lnTo>
                        <a:pt x="67117" y="1265818"/>
                      </a:lnTo>
                      <a:lnTo>
                        <a:pt x="69630" y="1260558"/>
                      </a:lnTo>
                      <a:close/>
                      <a:moveTo>
                        <a:pt x="26654" y="1210055"/>
                      </a:moveTo>
                      <a:lnTo>
                        <a:pt x="30266" y="1214661"/>
                      </a:lnTo>
                      <a:lnTo>
                        <a:pt x="31759" y="1214872"/>
                      </a:lnTo>
                      <a:lnTo>
                        <a:pt x="34299" y="1213824"/>
                      </a:lnTo>
                      <a:lnTo>
                        <a:pt x="36542" y="1213961"/>
                      </a:lnTo>
                      <a:lnTo>
                        <a:pt x="37230" y="1217684"/>
                      </a:lnTo>
                      <a:lnTo>
                        <a:pt x="36097" y="1221594"/>
                      </a:lnTo>
                      <a:lnTo>
                        <a:pt x="34066" y="1223525"/>
                      </a:lnTo>
                      <a:lnTo>
                        <a:pt x="29734" y="1225524"/>
                      </a:lnTo>
                      <a:lnTo>
                        <a:pt x="31382" y="1231047"/>
                      </a:lnTo>
                      <a:lnTo>
                        <a:pt x="31564" y="1233836"/>
                      </a:lnTo>
                      <a:lnTo>
                        <a:pt x="30581" y="1237235"/>
                      </a:lnTo>
                      <a:lnTo>
                        <a:pt x="28423" y="1240099"/>
                      </a:lnTo>
                      <a:lnTo>
                        <a:pt x="23069" y="1248756"/>
                      </a:lnTo>
                      <a:lnTo>
                        <a:pt x="21474" y="1250811"/>
                      </a:lnTo>
                      <a:lnTo>
                        <a:pt x="20095" y="1250570"/>
                      </a:lnTo>
                      <a:lnTo>
                        <a:pt x="19636" y="1248759"/>
                      </a:lnTo>
                      <a:lnTo>
                        <a:pt x="19262" y="1246675"/>
                      </a:lnTo>
                      <a:lnTo>
                        <a:pt x="18107" y="1245561"/>
                      </a:lnTo>
                      <a:lnTo>
                        <a:pt x="16342" y="1246072"/>
                      </a:lnTo>
                      <a:lnTo>
                        <a:pt x="14896" y="1247038"/>
                      </a:lnTo>
                      <a:lnTo>
                        <a:pt x="13577" y="1247153"/>
                      </a:lnTo>
                      <a:lnTo>
                        <a:pt x="12242" y="1245004"/>
                      </a:lnTo>
                      <a:lnTo>
                        <a:pt x="15361" y="1243138"/>
                      </a:lnTo>
                      <a:lnTo>
                        <a:pt x="12397" y="1241554"/>
                      </a:lnTo>
                      <a:lnTo>
                        <a:pt x="2549" y="1243099"/>
                      </a:lnTo>
                      <a:lnTo>
                        <a:pt x="0" y="1239065"/>
                      </a:lnTo>
                      <a:lnTo>
                        <a:pt x="1403" y="1233262"/>
                      </a:lnTo>
                      <a:lnTo>
                        <a:pt x="5064" y="1224820"/>
                      </a:lnTo>
                      <a:lnTo>
                        <a:pt x="9119" y="1217308"/>
                      </a:lnTo>
                      <a:lnTo>
                        <a:pt x="11744" y="1214095"/>
                      </a:lnTo>
                      <a:lnTo>
                        <a:pt x="21594" y="1210452"/>
                      </a:lnTo>
                      <a:close/>
                      <a:moveTo>
                        <a:pt x="135000" y="1110529"/>
                      </a:moveTo>
                      <a:lnTo>
                        <a:pt x="137975" y="1113528"/>
                      </a:lnTo>
                      <a:lnTo>
                        <a:pt x="133170" y="1120768"/>
                      </a:lnTo>
                      <a:lnTo>
                        <a:pt x="131148" y="1125162"/>
                      </a:lnTo>
                      <a:lnTo>
                        <a:pt x="131919" y="1127217"/>
                      </a:lnTo>
                      <a:lnTo>
                        <a:pt x="134884" y="1126814"/>
                      </a:lnTo>
                      <a:lnTo>
                        <a:pt x="138149" y="1125276"/>
                      </a:lnTo>
                      <a:lnTo>
                        <a:pt x="141352" y="1122942"/>
                      </a:lnTo>
                      <a:lnTo>
                        <a:pt x="144198" y="1120055"/>
                      </a:lnTo>
                      <a:lnTo>
                        <a:pt x="150654" y="1115088"/>
                      </a:lnTo>
                      <a:lnTo>
                        <a:pt x="159289" y="1111888"/>
                      </a:lnTo>
                      <a:lnTo>
                        <a:pt x="167709" y="1111869"/>
                      </a:lnTo>
                      <a:lnTo>
                        <a:pt x="173522" y="1116392"/>
                      </a:lnTo>
                      <a:lnTo>
                        <a:pt x="171234" y="1120942"/>
                      </a:lnTo>
                      <a:lnTo>
                        <a:pt x="166655" y="1120918"/>
                      </a:lnTo>
                      <a:lnTo>
                        <a:pt x="148627" y="1128111"/>
                      </a:lnTo>
                      <a:lnTo>
                        <a:pt x="139650" y="1135480"/>
                      </a:lnTo>
                      <a:lnTo>
                        <a:pt x="132138" y="1138362"/>
                      </a:lnTo>
                      <a:lnTo>
                        <a:pt x="111946" y="1158298"/>
                      </a:lnTo>
                      <a:lnTo>
                        <a:pt x="107972" y="1160220"/>
                      </a:lnTo>
                      <a:lnTo>
                        <a:pt x="102991" y="1160555"/>
                      </a:lnTo>
                      <a:lnTo>
                        <a:pt x="105087" y="1158079"/>
                      </a:lnTo>
                      <a:lnTo>
                        <a:pt x="107181" y="1156945"/>
                      </a:lnTo>
                      <a:lnTo>
                        <a:pt x="109081" y="1155371"/>
                      </a:lnTo>
                      <a:lnTo>
                        <a:pt x="110525" y="1151723"/>
                      </a:lnTo>
                      <a:lnTo>
                        <a:pt x="94867" y="1152733"/>
                      </a:lnTo>
                      <a:lnTo>
                        <a:pt x="97387" y="1147783"/>
                      </a:lnTo>
                      <a:lnTo>
                        <a:pt x="104824" y="1139371"/>
                      </a:lnTo>
                      <a:lnTo>
                        <a:pt x="106983" y="1135574"/>
                      </a:lnTo>
                      <a:lnTo>
                        <a:pt x="110222" y="1126827"/>
                      </a:lnTo>
                      <a:lnTo>
                        <a:pt x="112085" y="1123202"/>
                      </a:lnTo>
                      <a:lnTo>
                        <a:pt x="115007" y="1120088"/>
                      </a:lnTo>
                      <a:lnTo>
                        <a:pt x="131339" y="1110690"/>
                      </a:lnTo>
                      <a:close/>
                      <a:moveTo>
                        <a:pt x="131599" y="1041493"/>
                      </a:moveTo>
                      <a:lnTo>
                        <a:pt x="134166" y="1044263"/>
                      </a:lnTo>
                      <a:lnTo>
                        <a:pt x="135790" y="1047436"/>
                      </a:lnTo>
                      <a:lnTo>
                        <a:pt x="136231" y="1051412"/>
                      </a:lnTo>
                      <a:lnTo>
                        <a:pt x="136355" y="1055772"/>
                      </a:lnTo>
                      <a:lnTo>
                        <a:pt x="137103" y="1059914"/>
                      </a:lnTo>
                      <a:lnTo>
                        <a:pt x="136706" y="1064244"/>
                      </a:lnTo>
                      <a:lnTo>
                        <a:pt x="133470" y="1067165"/>
                      </a:lnTo>
                      <a:lnTo>
                        <a:pt x="127153" y="1069756"/>
                      </a:lnTo>
                      <a:lnTo>
                        <a:pt x="126936" y="1072322"/>
                      </a:lnTo>
                      <a:lnTo>
                        <a:pt x="137373" y="1073195"/>
                      </a:lnTo>
                      <a:lnTo>
                        <a:pt x="134872" y="1075910"/>
                      </a:lnTo>
                      <a:lnTo>
                        <a:pt x="132235" y="1077511"/>
                      </a:lnTo>
                      <a:lnTo>
                        <a:pt x="132055" y="1079644"/>
                      </a:lnTo>
                      <a:lnTo>
                        <a:pt x="137813" y="1078879"/>
                      </a:lnTo>
                      <a:lnTo>
                        <a:pt x="140307" y="1079678"/>
                      </a:lnTo>
                      <a:lnTo>
                        <a:pt x="141473" y="1082994"/>
                      </a:lnTo>
                      <a:lnTo>
                        <a:pt x="140172" y="1086262"/>
                      </a:lnTo>
                      <a:lnTo>
                        <a:pt x="138776" y="1087502"/>
                      </a:lnTo>
                      <a:lnTo>
                        <a:pt x="133127" y="1087583"/>
                      </a:lnTo>
                      <a:lnTo>
                        <a:pt x="131598" y="1088756"/>
                      </a:lnTo>
                      <a:lnTo>
                        <a:pt x="129119" y="1091683"/>
                      </a:lnTo>
                      <a:lnTo>
                        <a:pt x="122967" y="1096445"/>
                      </a:lnTo>
                      <a:lnTo>
                        <a:pt x="88143" y="1109271"/>
                      </a:lnTo>
                      <a:lnTo>
                        <a:pt x="94647" y="1100350"/>
                      </a:lnTo>
                      <a:lnTo>
                        <a:pt x="97036" y="1098610"/>
                      </a:lnTo>
                      <a:lnTo>
                        <a:pt x="99259" y="1097575"/>
                      </a:lnTo>
                      <a:lnTo>
                        <a:pt x="101412" y="1096025"/>
                      </a:lnTo>
                      <a:lnTo>
                        <a:pt x="103568" y="1092724"/>
                      </a:lnTo>
                      <a:lnTo>
                        <a:pt x="107752" y="1088481"/>
                      </a:lnTo>
                      <a:lnTo>
                        <a:pt x="109262" y="1086111"/>
                      </a:lnTo>
                      <a:lnTo>
                        <a:pt x="107606" y="1084880"/>
                      </a:lnTo>
                      <a:lnTo>
                        <a:pt x="104847" y="1085547"/>
                      </a:lnTo>
                      <a:lnTo>
                        <a:pt x="99461" y="1088737"/>
                      </a:lnTo>
                      <a:lnTo>
                        <a:pt x="96697" y="1088906"/>
                      </a:lnTo>
                      <a:lnTo>
                        <a:pt x="96925" y="1086312"/>
                      </a:lnTo>
                      <a:lnTo>
                        <a:pt x="99157" y="1085151"/>
                      </a:lnTo>
                      <a:lnTo>
                        <a:pt x="103575" y="1080831"/>
                      </a:lnTo>
                      <a:lnTo>
                        <a:pt x="105642" y="1079965"/>
                      </a:lnTo>
                      <a:lnTo>
                        <a:pt x="113633" y="1079496"/>
                      </a:lnTo>
                      <a:lnTo>
                        <a:pt x="115944" y="1078282"/>
                      </a:lnTo>
                      <a:lnTo>
                        <a:pt x="116873" y="1076129"/>
                      </a:lnTo>
                      <a:lnTo>
                        <a:pt x="117496" y="1073005"/>
                      </a:lnTo>
                      <a:lnTo>
                        <a:pt x="118747" y="1070273"/>
                      </a:lnTo>
                      <a:lnTo>
                        <a:pt x="123857" y="1068758"/>
                      </a:lnTo>
                      <a:lnTo>
                        <a:pt x="131520" y="1063218"/>
                      </a:lnTo>
                      <a:lnTo>
                        <a:pt x="127408" y="1058678"/>
                      </a:lnTo>
                      <a:lnTo>
                        <a:pt x="122284" y="1056423"/>
                      </a:lnTo>
                      <a:lnTo>
                        <a:pt x="116859" y="1056498"/>
                      </a:lnTo>
                      <a:lnTo>
                        <a:pt x="111786" y="1058957"/>
                      </a:lnTo>
                      <a:lnTo>
                        <a:pt x="111989" y="1056615"/>
                      </a:lnTo>
                      <a:lnTo>
                        <a:pt x="125509" y="1048957"/>
                      </a:lnTo>
                      <a:lnTo>
                        <a:pt x="127082" y="1048822"/>
                      </a:lnTo>
                      <a:lnTo>
                        <a:pt x="128438" y="1047878"/>
                      </a:lnTo>
                      <a:lnTo>
                        <a:pt x="130152" y="1041639"/>
                      </a:lnTo>
                      <a:close/>
                      <a:moveTo>
                        <a:pt x="167234" y="1012908"/>
                      </a:moveTo>
                      <a:lnTo>
                        <a:pt x="167975" y="1015805"/>
                      </a:lnTo>
                      <a:lnTo>
                        <a:pt x="168500" y="1018303"/>
                      </a:lnTo>
                      <a:lnTo>
                        <a:pt x="170256" y="1017639"/>
                      </a:lnTo>
                      <a:lnTo>
                        <a:pt x="170844" y="1018787"/>
                      </a:lnTo>
                      <a:lnTo>
                        <a:pt x="171663" y="1019615"/>
                      </a:lnTo>
                      <a:lnTo>
                        <a:pt x="172167" y="1019837"/>
                      </a:lnTo>
                      <a:lnTo>
                        <a:pt x="174974" y="1020216"/>
                      </a:lnTo>
                      <a:lnTo>
                        <a:pt x="175985" y="1020635"/>
                      </a:lnTo>
                      <a:lnTo>
                        <a:pt x="176680" y="1021889"/>
                      </a:lnTo>
                      <a:lnTo>
                        <a:pt x="176946" y="1022815"/>
                      </a:lnTo>
                      <a:lnTo>
                        <a:pt x="177675" y="1025935"/>
                      </a:lnTo>
                      <a:lnTo>
                        <a:pt x="177762" y="1032844"/>
                      </a:lnTo>
                      <a:lnTo>
                        <a:pt x="176330" y="1037418"/>
                      </a:lnTo>
                      <a:lnTo>
                        <a:pt x="174708" y="1038658"/>
                      </a:lnTo>
                      <a:lnTo>
                        <a:pt x="173010" y="1040399"/>
                      </a:lnTo>
                      <a:lnTo>
                        <a:pt x="171247" y="1042956"/>
                      </a:lnTo>
                      <a:lnTo>
                        <a:pt x="168032" y="1046299"/>
                      </a:lnTo>
                      <a:lnTo>
                        <a:pt x="166198" y="1043485"/>
                      </a:lnTo>
                      <a:lnTo>
                        <a:pt x="162833" y="1045404"/>
                      </a:lnTo>
                      <a:lnTo>
                        <a:pt x="159276" y="1043508"/>
                      </a:lnTo>
                      <a:lnTo>
                        <a:pt x="158211" y="1039539"/>
                      </a:lnTo>
                      <a:lnTo>
                        <a:pt x="157084" y="1036483"/>
                      </a:lnTo>
                      <a:lnTo>
                        <a:pt x="154154" y="1035736"/>
                      </a:lnTo>
                      <a:lnTo>
                        <a:pt x="152091" y="1036203"/>
                      </a:lnTo>
                      <a:lnTo>
                        <a:pt x="151469" y="1035474"/>
                      </a:lnTo>
                      <a:lnTo>
                        <a:pt x="152361" y="1032921"/>
                      </a:lnTo>
                      <a:lnTo>
                        <a:pt x="153929" y="1030169"/>
                      </a:lnTo>
                      <a:lnTo>
                        <a:pt x="157425" y="1026473"/>
                      </a:lnTo>
                      <a:lnTo>
                        <a:pt x="160339" y="1024308"/>
                      </a:lnTo>
                      <a:lnTo>
                        <a:pt x="165769" y="1018677"/>
                      </a:lnTo>
                      <a:lnTo>
                        <a:pt x="166110" y="1016841"/>
                      </a:lnTo>
                      <a:lnTo>
                        <a:pt x="166389" y="1015212"/>
                      </a:lnTo>
                      <a:lnTo>
                        <a:pt x="166357" y="1013092"/>
                      </a:lnTo>
                      <a:close/>
                      <a:moveTo>
                        <a:pt x="190745" y="963351"/>
                      </a:moveTo>
                      <a:lnTo>
                        <a:pt x="193470" y="963817"/>
                      </a:lnTo>
                      <a:lnTo>
                        <a:pt x="194094" y="966067"/>
                      </a:lnTo>
                      <a:lnTo>
                        <a:pt x="191850" y="972836"/>
                      </a:lnTo>
                      <a:lnTo>
                        <a:pt x="190483" y="981054"/>
                      </a:lnTo>
                      <a:lnTo>
                        <a:pt x="188649" y="985992"/>
                      </a:lnTo>
                      <a:lnTo>
                        <a:pt x="187477" y="987666"/>
                      </a:lnTo>
                      <a:lnTo>
                        <a:pt x="185553" y="985694"/>
                      </a:lnTo>
                      <a:lnTo>
                        <a:pt x="184480" y="984115"/>
                      </a:lnTo>
                      <a:lnTo>
                        <a:pt x="183946" y="982011"/>
                      </a:lnTo>
                      <a:lnTo>
                        <a:pt x="183882" y="978111"/>
                      </a:lnTo>
                      <a:lnTo>
                        <a:pt x="182541" y="980348"/>
                      </a:lnTo>
                      <a:lnTo>
                        <a:pt x="181602" y="982928"/>
                      </a:lnTo>
                      <a:lnTo>
                        <a:pt x="180657" y="986706"/>
                      </a:lnTo>
                      <a:lnTo>
                        <a:pt x="180675" y="991606"/>
                      </a:lnTo>
                      <a:lnTo>
                        <a:pt x="181743" y="997250"/>
                      </a:lnTo>
                      <a:lnTo>
                        <a:pt x="182113" y="999143"/>
                      </a:lnTo>
                      <a:lnTo>
                        <a:pt x="179219" y="997531"/>
                      </a:lnTo>
                      <a:lnTo>
                        <a:pt x="178059" y="995901"/>
                      </a:lnTo>
                      <a:lnTo>
                        <a:pt x="176981" y="994799"/>
                      </a:lnTo>
                      <a:lnTo>
                        <a:pt x="175588" y="992839"/>
                      </a:lnTo>
                      <a:lnTo>
                        <a:pt x="174111" y="993047"/>
                      </a:lnTo>
                      <a:lnTo>
                        <a:pt x="173336" y="992138"/>
                      </a:lnTo>
                      <a:lnTo>
                        <a:pt x="172827" y="990869"/>
                      </a:lnTo>
                      <a:lnTo>
                        <a:pt x="171463" y="989265"/>
                      </a:lnTo>
                      <a:lnTo>
                        <a:pt x="169373" y="987841"/>
                      </a:lnTo>
                      <a:lnTo>
                        <a:pt x="170850" y="986350"/>
                      </a:lnTo>
                      <a:lnTo>
                        <a:pt x="175594" y="983582"/>
                      </a:lnTo>
                      <a:lnTo>
                        <a:pt x="176891" y="979802"/>
                      </a:lnTo>
                      <a:lnTo>
                        <a:pt x="175244" y="974717"/>
                      </a:lnTo>
                      <a:lnTo>
                        <a:pt x="174340" y="970368"/>
                      </a:lnTo>
                      <a:lnTo>
                        <a:pt x="173298" y="969861"/>
                      </a:lnTo>
                      <a:lnTo>
                        <a:pt x="173249" y="968079"/>
                      </a:lnTo>
                      <a:lnTo>
                        <a:pt x="175063" y="966572"/>
                      </a:lnTo>
                      <a:lnTo>
                        <a:pt x="183206" y="964029"/>
                      </a:lnTo>
                      <a:lnTo>
                        <a:pt x="184575" y="964248"/>
                      </a:lnTo>
                      <a:lnTo>
                        <a:pt x="185162" y="965369"/>
                      </a:lnTo>
                      <a:lnTo>
                        <a:pt x="185081" y="967676"/>
                      </a:lnTo>
                      <a:lnTo>
                        <a:pt x="185616" y="969046"/>
                      </a:lnTo>
                      <a:lnTo>
                        <a:pt x="185994" y="970965"/>
                      </a:lnTo>
                      <a:lnTo>
                        <a:pt x="186061" y="972976"/>
                      </a:lnTo>
                      <a:lnTo>
                        <a:pt x="187031" y="972981"/>
                      </a:lnTo>
                      <a:lnTo>
                        <a:pt x="188526" y="969470"/>
                      </a:lnTo>
                      <a:lnTo>
                        <a:pt x="188944" y="965890"/>
                      </a:lnTo>
                      <a:lnTo>
                        <a:pt x="189045" y="964035"/>
                      </a:lnTo>
                      <a:close/>
                      <a:moveTo>
                        <a:pt x="384937" y="729228"/>
                      </a:moveTo>
                      <a:lnTo>
                        <a:pt x="388377" y="732159"/>
                      </a:lnTo>
                      <a:lnTo>
                        <a:pt x="385787" y="741776"/>
                      </a:lnTo>
                      <a:lnTo>
                        <a:pt x="382799" y="749285"/>
                      </a:lnTo>
                      <a:lnTo>
                        <a:pt x="379499" y="755111"/>
                      </a:lnTo>
                      <a:lnTo>
                        <a:pt x="375822" y="759801"/>
                      </a:lnTo>
                      <a:lnTo>
                        <a:pt x="377857" y="771939"/>
                      </a:lnTo>
                      <a:lnTo>
                        <a:pt x="377835" y="777758"/>
                      </a:lnTo>
                      <a:lnTo>
                        <a:pt x="375399" y="781041"/>
                      </a:lnTo>
                      <a:lnTo>
                        <a:pt x="375687" y="782326"/>
                      </a:lnTo>
                      <a:lnTo>
                        <a:pt x="375972" y="784795"/>
                      </a:lnTo>
                      <a:lnTo>
                        <a:pt x="376121" y="785818"/>
                      </a:lnTo>
                      <a:lnTo>
                        <a:pt x="374170" y="787536"/>
                      </a:lnTo>
                      <a:lnTo>
                        <a:pt x="371647" y="788657"/>
                      </a:lnTo>
                      <a:lnTo>
                        <a:pt x="369538" y="788012"/>
                      </a:lnTo>
                      <a:lnTo>
                        <a:pt x="368831" y="784335"/>
                      </a:lnTo>
                      <a:lnTo>
                        <a:pt x="369007" y="779145"/>
                      </a:lnTo>
                      <a:lnTo>
                        <a:pt x="368665" y="777125"/>
                      </a:lnTo>
                      <a:lnTo>
                        <a:pt x="367855" y="775949"/>
                      </a:lnTo>
                      <a:lnTo>
                        <a:pt x="362954" y="766751"/>
                      </a:lnTo>
                      <a:lnTo>
                        <a:pt x="358740" y="763766"/>
                      </a:lnTo>
                      <a:lnTo>
                        <a:pt x="348888" y="760347"/>
                      </a:lnTo>
                      <a:lnTo>
                        <a:pt x="349022" y="758199"/>
                      </a:lnTo>
                      <a:lnTo>
                        <a:pt x="351884" y="756303"/>
                      </a:lnTo>
                      <a:lnTo>
                        <a:pt x="354396" y="753636"/>
                      </a:lnTo>
                      <a:lnTo>
                        <a:pt x="359028" y="746758"/>
                      </a:lnTo>
                      <a:lnTo>
                        <a:pt x="358696" y="741778"/>
                      </a:lnTo>
                      <a:lnTo>
                        <a:pt x="360025" y="741194"/>
                      </a:lnTo>
                      <a:lnTo>
                        <a:pt x="368485" y="750311"/>
                      </a:lnTo>
                      <a:lnTo>
                        <a:pt x="370893" y="751481"/>
                      </a:lnTo>
                      <a:lnTo>
                        <a:pt x="373623" y="750204"/>
                      </a:lnTo>
                      <a:lnTo>
                        <a:pt x="376975" y="744100"/>
                      </a:lnTo>
                      <a:lnTo>
                        <a:pt x="380927" y="735156"/>
                      </a:lnTo>
                      <a:close/>
                      <a:moveTo>
                        <a:pt x="406836" y="637882"/>
                      </a:moveTo>
                      <a:lnTo>
                        <a:pt x="409242" y="637972"/>
                      </a:lnTo>
                      <a:lnTo>
                        <a:pt x="410577" y="639652"/>
                      </a:lnTo>
                      <a:lnTo>
                        <a:pt x="410831" y="641893"/>
                      </a:lnTo>
                      <a:lnTo>
                        <a:pt x="410083" y="644063"/>
                      </a:lnTo>
                      <a:lnTo>
                        <a:pt x="410099" y="644739"/>
                      </a:lnTo>
                      <a:lnTo>
                        <a:pt x="411405" y="643445"/>
                      </a:lnTo>
                      <a:lnTo>
                        <a:pt x="411881" y="643641"/>
                      </a:lnTo>
                      <a:lnTo>
                        <a:pt x="412784" y="644337"/>
                      </a:lnTo>
                      <a:lnTo>
                        <a:pt x="411745" y="647860"/>
                      </a:lnTo>
                      <a:lnTo>
                        <a:pt x="408712" y="652736"/>
                      </a:lnTo>
                      <a:lnTo>
                        <a:pt x="405164" y="655160"/>
                      </a:lnTo>
                      <a:lnTo>
                        <a:pt x="394016" y="658478"/>
                      </a:lnTo>
                      <a:lnTo>
                        <a:pt x="392707" y="659363"/>
                      </a:lnTo>
                      <a:lnTo>
                        <a:pt x="390173" y="660233"/>
                      </a:lnTo>
                      <a:lnTo>
                        <a:pt x="387895" y="660060"/>
                      </a:lnTo>
                      <a:lnTo>
                        <a:pt x="386342" y="658800"/>
                      </a:lnTo>
                      <a:lnTo>
                        <a:pt x="386781" y="656458"/>
                      </a:lnTo>
                      <a:lnTo>
                        <a:pt x="389469" y="654980"/>
                      </a:lnTo>
                      <a:lnTo>
                        <a:pt x="389112" y="653662"/>
                      </a:lnTo>
                      <a:lnTo>
                        <a:pt x="389641" y="652763"/>
                      </a:lnTo>
                      <a:lnTo>
                        <a:pt x="391005" y="652785"/>
                      </a:lnTo>
                      <a:lnTo>
                        <a:pt x="392449" y="651233"/>
                      </a:lnTo>
                      <a:lnTo>
                        <a:pt x="393977" y="648403"/>
                      </a:lnTo>
                      <a:lnTo>
                        <a:pt x="398223" y="643643"/>
                      </a:lnTo>
                      <a:close/>
                      <a:moveTo>
                        <a:pt x="512662" y="449452"/>
                      </a:moveTo>
                      <a:lnTo>
                        <a:pt x="513296" y="449662"/>
                      </a:lnTo>
                      <a:lnTo>
                        <a:pt x="513594" y="451520"/>
                      </a:lnTo>
                      <a:lnTo>
                        <a:pt x="513147" y="454217"/>
                      </a:lnTo>
                      <a:lnTo>
                        <a:pt x="512474" y="456312"/>
                      </a:lnTo>
                      <a:lnTo>
                        <a:pt x="512698" y="457927"/>
                      </a:lnTo>
                      <a:lnTo>
                        <a:pt x="516447" y="464243"/>
                      </a:lnTo>
                      <a:lnTo>
                        <a:pt x="519304" y="465886"/>
                      </a:lnTo>
                      <a:lnTo>
                        <a:pt x="525639" y="467126"/>
                      </a:lnTo>
                      <a:lnTo>
                        <a:pt x="527699" y="468437"/>
                      </a:lnTo>
                      <a:lnTo>
                        <a:pt x="528057" y="470466"/>
                      </a:lnTo>
                      <a:lnTo>
                        <a:pt x="530041" y="470604"/>
                      </a:lnTo>
                      <a:lnTo>
                        <a:pt x="531386" y="471082"/>
                      </a:lnTo>
                      <a:lnTo>
                        <a:pt x="532000" y="473852"/>
                      </a:lnTo>
                      <a:lnTo>
                        <a:pt x="534259" y="471454"/>
                      </a:lnTo>
                      <a:lnTo>
                        <a:pt x="534430" y="470405"/>
                      </a:lnTo>
                      <a:lnTo>
                        <a:pt x="536461" y="469643"/>
                      </a:lnTo>
                      <a:lnTo>
                        <a:pt x="537535" y="469759"/>
                      </a:lnTo>
                      <a:lnTo>
                        <a:pt x="537547" y="472306"/>
                      </a:lnTo>
                      <a:lnTo>
                        <a:pt x="535349" y="476312"/>
                      </a:lnTo>
                      <a:lnTo>
                        <a:pt x="530596" y="479326"/>
                      </a:lnTo>
                      <a:lnTo>
                        <a:pt x="529663" y="478836"/>
                      </a:lnTo>
                      <a:lnTo>
                        <a:pt x="529193" y="478170"/>
                      </a:lnTo>
                      <a:lnTo>
                        <a:pt x="518739" y="480854"/>
                      </a:lnTo>
                      <a:lnTo>
                        <a:pt x="516728" y="480797"/>
                      </a:lnTo>
                      <a:lnTo>
                        <a:pt x="513127" y="478838"/>
                      </a:lnTo>
                      <a:lnTo>
                        <a:pt x="500615" y="477228"/>
                      </a:lnTo>
                      <a:lnTo>
                        <a:pt x="495039" y="478453"/>
                      </a:lnTo>
                      <a:lnTo>
                        <a:pt x="494022" y="477759"/>
                      </a:lnTo>
                      <a:lnTo>
                        <a:pt x="493761" y="474719"/>
                      </a:lnTo>
                      <a:lnTo>
                        <a:pt x="493000" y="469025"/>
                      </a:lnTo>
                      <a:lnTo>
                        <a:pt x="493683" y="465254"/>
                      </a:lnTo>
                      <a:lnTo>
                        <a:pt x="495319" y="463062"/>
                      </a:lnTo>
                      <a:lnTo>
                        <a:pt x="495415" y="461461"/>
                      </a:lnTo>
                      <a:lnTo>
                        <a:pt x="494861" y="459269"/>
                      </a:lnTo>
                      <a:lnTo>
                        <a:pt x="495692" y="458673"/>
                      </a:lnTo>
                      <a:lnTo>
                        <a:pt x="500934" y="459376"/>
                      </a:lnTo>
                      <a:lnTo>
                        <a:pt x="503417" y="460557"/>
                      </a:lnTo>
                      <a:lnTo>
                        <a:pt x="505212" y="460357"/>
                      </a:lnTo>
                      <a:lnTo>
                        <a:pt x="506564" y="458277"/>
                      </a:lnTo>
                      <a:lnTo>
                        <a:pt x="507608" y="456211"/>
                      </a:lnTo>
                      <a:lnTo>
                        <a:pt x="511292" y="451770"/>
                      </a:lnTo>
                      <a:close/>
                      <a:moveTo>
                        <a:pt x="573616" y="443292"/>
                      </a:moveTo>
                      <a:lnTo>
                        <a:pt x="610590" y="443888"/>
                      </a:lnTo>
                      <a:lnTo>
                        <a:pt x="614641" y="447084"/>
                      </a:lnTo>
                      <a:lnTo>
                        <a:pt x="618080" y="448711"/>
                      </a:lnTo>
                      <a:lnTo>
                        <a:pt x="619501" y="450823"/>
                      </a:lnTo>
                      <a:lnTo>
                        <a:pt x="619814" y="452281"/>
                      </a:lnTo>
                      <a:lnTo>
                        <a:pt x="619823" y="454716"/>
                      </a:lnTo>
                      <a:lnTo>
                        <a:pt x="618639" y="456115"/>
                      </a:lnTo>
                      <a:lnTo>
                        <a:pt x="613251" y="458974"/>
                      </a:lnTo>
                      <a:lnTo>
                        <a:pt x="607698" y="458937"/>
                      </a:lnTo>
                      <a:lnTo>
                        <a:pt x="600677" y="455446"/>
                      </a:lnTo>
                      <a:lnTo>
                        <a:pt x="593467" y="448703"/>
                      </a:lnTo>
                      <a:lnTo>
                        <a:pt x="590554" y="448462"/>
                      </a:lnTo>
                      <a:lnTo>
                        <a:pt x="586850" y="454823"/>
                      </a:lnTo>
                      <a:lnTo>
                        <a:pt x="584449" y="456470"/>
                      </a:lnTo>
                      <a:lnTo>
                        <a:pt x="583240" y="456905"/>
                      </a:lnTo>
                      <a:lnTo>
                        <a:pt x="578714" y="457421"/>
                      </a:lnTo>
                      <a:lnTo>
                        <a:pt x="566605" y="455350"/>
                      </a:lnTo>
                      <a:lnTo>
                        <a:pt x="564935" y="454301"/>
                      </a:lnTo>
                      <a:lnTo>
                        <a:pt x="564114" y="453412"/>
                      </a:lnTo>
                      <a:lnTo>
                        <a:pt x="563118" y="452657"/>
                      </a:lnTo>
                      <a:lnTo>
                        <a:pt x="561460" y="450779"/>
                      </a:lnTo>
                      <a:lnTo>
                        <a:pt x="561599" y="449602"/>
                      </a:lnTo>
                      <a:lnTo>
                        <a:pt x="563174" y="449817"/>
                      </a:lnTo>
                      <a:lnTo>
                        <a:pt x="564902" y="449051"/>
                      </a:lnTo>
                      <a:lnTo>
                        <a:pt x="566708" y="446458"/>
                      </a:lnTo>
                      <a:lnTo>
                        <a:pt x="568618" y="444755"/>
                      </a:lnTo>
                      <a:close/>
                      <a:moveTo>
                        <a:pt x="528253" y="437477"/>
                      </a:moveTo>
                      <a:lnTo>
                        <a:pt x="529318" y="437720"/>
                      </a:lnTo>
                      <a:lnTo>
                        <a:pt x="530510" y="440430"/>
                      </a:lnTo>
                      <a:lnTo>
                        <a:pt x="532515" y="447172"/>
                      </a:lnTo>
                      <a:lnTo>
                        <a:pt x="534510" y="452208"/>
                      </a:lnTo>
                      <a:lnTo>
                        <a:pt x="535743" y="458635"/>
                      </a:lnTo>
                      <a:lnTo>
                        <a:pt x="533215" y="461994"/>
                      </a:lnTo>
                      <a:lnTo>
                        <a:pt x="522397" y="461613"/>
                      </a:lnTo>
                      <a:lnTo>
                        <a:pt x="521028" y="458822"/>
                      </a:lnTo>
                      <a:lnTo>
                        <a:pt x="520280" y="454610"/>
                      </a:lnTo>
                      <a:lnTo>
                        <a:pt x="519630" y="452555"/>
                      </a:lnTo>
                      <a:lnTo>
                        <a:pt x="519571" y="451496"/>
                      </a:lnTo>
                      <a:lnTo>
                        <a:pt x="520118" y="449831"/>
                      </a:lnTo>
                      <a:lnTo>
                        <a:pt x="521200" y="448243"/>
                      </a:lnTo>
                      <a:lnTo>
                        <a:pt x="521989" y="446110"/>
                      </a:lnTo>
                      <a:lnTo>
                        <a:pt x="523774" y="443610"/>
                      </a:lnTo>
                      <a:lnTo>
                        <a:pt x="526713" y="441467"/>
                      </a:lnTo>
                      <a:lnTo>
                        <a:pt x="528031" y="439482"/>
                      </a:lnTo>
                      <a:close/>
                      <a:moveTo>
                        <a:pt x="250189" y="397583"/>
                      </a:moveTo>
                      <a:lnTo>
                        <a:pt x="253371" y="398093"/>
                      </a:lnTo>
                      <a:lnTo>
                        <a:pt x="262826" y="405421"/>
                      </a:lnTo>
                      <a:lnTo>
                        <a:pt x="262630" y="408003"/>
                      </a:lnTo>
                      <a:lnTo>
                        <a:pt x="260879" y="407872"/>
                      </a:lnTo>
                      <a:lnTo>
                        <a:pt x="259332" y="411027"/>
                      </a:lnTo>
                      <a:lnTo>
                        <a:pt x="257668" y="412933"/>
                      </a:lnTo>
                      <a:lnTo>
                        <a:pt x="255965" y="413960"/>
                      </a:lnTo>
                      <a:lnTo>
                        <a:pt x="254177" y="414446"/>
                      </a:lnTo>
                      <a:lnTo>
                        <a:pt x="253995" y="416803"/>
                      </a:lnTo>
                      <a:lnTo>
                        <a:pt x="259283" y="417202"/>
                      </a:lnTo>
                      <a:lnTo>
                        <a:pt x="256907" y="421226"/>
                      </a:lnTo>
                      <a:lnTo>
                        <a:pt x="254406" y="421629"/>
                      </a:lnTo>
                      <a:lnTo>
                        <a:pt x="251805" y="421122"/>
                      </a:lnTo>
                      <a:lnTo>
                        <a:pt x="249133" y="422357"/>
                      </a:lnTo>
                      <a:lnTo>
                        <a:pt x="247473" y="425249"/>
                      </a:lnTo>
                      <a:lnTo>
                        <a:pt x="247258" y="428012"/>
                      </a:lnTo>
                      <a:lnTo>
                        <a:pt x="248280" y="429965"/>
                      </a:lnTo>
                      <a:lnTo>
                        <a:pt x="250263" y="430709"/>
                      </a:lnTo>
                      <a:lnTo>
                        <a:pt x="251873" y="428745"/>
                      </a:lnTo>
                      <a:lnTo>
                        <a:pt x="253880" y="425456"/>
                      </a:lnTo>
                      <a:lnTo>
                        <a:pt x="255384" y="424567"/>
                      </a:lnTo>
                      <a:lnTo>
                        <a:pt x="255586" y="432975"/>
                      </a:lnTo>
                      <a:lnTo>
                        <a:pt x="256251" y="438949"/>
                      </a:lnTo>
                      <a:lnTo>
                        <a:pt x="256274" y="446965"/>
                      </a:lnTo>
                      <a:lnTo>
                        <a:pt x="255978" y="450849"/>
                      </a:lnTo>
                      <a:lnTo>
                        <a:pt x="254846" y="453739"/>
                      </a:lnTo>
                      <a:lnTo>
                        <a:pt x="252414" y="454770"/>
                      </a:lnTo>
                      <a:lnTo>
                        <a:pt x="245970" y="454872"/>
                      </a:lnTo>
                      <a:lnTo>
                        <a:pt x="243939" y="454124"/>
                      </a:lnTo>
                      <a:lnTo>
                        <a:pt x="238768" y="445304"/>
                      </a:lnTo>
                      <a:lnTo>
                        <a:pt x="236494" y="443506"/>
                      </a:lnTo>
                      <a:lnTo>
                        <a:pt x="237058" y="451012"/>
                      </a:lnTo>
                      <a:lnTo>
                        <a:pt x="235184" y="450316"/>
                      </a:lnTo>
                      <a:lnTo>
                        <a:pt x="233842" y="451198"/>
                      </a:lnTo>
                      <a:lnTo>
                        <a:pt x="233571" y="453153"/>
                      </a:lnTo>
                      <a:lnTo>
                        <a:pt x="234917" y="455586"/>
                      </a:lnTo>
                      <a:lnTo>
                        <a:pt x="237063" y="456895"/>
                      </a:lnTo>
                      <a:lnTo>
                        <a:pt x="241513" y="458043"/>
                      </a:lnTo>
                      <a:lnTo>
                        <a:pt x="243598" y="460023"/>
                      </a:lnTo>
                      <a:lnTo>
                        <a:pt x="244081" y="462811"/>
                      </a:lnTo>
                      <a:lnTo>
                        <a:pt x="243248" y="466289"/>
                      </a:lnTo>
                      <a:lnTo>
                        <a:pt x="241809" y="469226"/>
                      </a:lnTo>
                      <a:lnTo>
                        <a:pt x="239694" y="471010"/>
                      </a:lnTo>
                      <a:lnTo>
                        <a:pt x="239328" y="472434"/>
                      </a:lnTo>
                      <a:lnTo>
                        <a:pt x="239119" y="474027"/>
                      </a:lnTo>
                      <a:lnTo>
                        <a:pt x="238828" y="475020"/>
                      </a:lnTo>
                      <a:lnTo>
                        <a:pt x="235916" y="477179"/>
                      </a:lnTo>
                      <a:lnTo>
                        <a:pt x="223079" y="481834"/>
                      </a:lnTo>
                      <a:lnTo>
                        <a:pt x="220862" y="486653"/>
                      </a:lnTo>
                      <a:lnTo>
                        <a:pt x="218789" y="492162"/>
                      </a:lnTo>
                      <a:lnTo>
                        <a:pt x="214765" y="495143"/>
                      </a:lnTo>
                      <a:lnTo>
                        <a:pt x="207470" y="496463"/>
                      </a:lnTo>
                      <a:lnTo>
                        <a:pt x="208719" y="492923"/>
                      </a:lnTo>
                      <a:lnTo>
                        <a:pt x="214181" y="484725"/>
                      </a:lnTo>
                      <a:lnTo>
                        <a:pt x="216287" y="482382"/>
                      </a:lnTo>
                      <a:lnTo>
                        <a:pt x="216703" y="481709"/>
                      </a:lnTo>
                      <a:lnTo>
                        <a:pt x="216685" y="479561"/>
                      </a:lnTo>
                      <a:lnTo>
                        <a:pt x="216348" y="474907"/>
                      </a:lnTo>
                      <a:lnTo>
                        <a:pt x="216492" y="473267"/>
                      </a:lnTo>
                      <a:lnTo>
                        <a:pt x="217826" y="469648"/>
                      </a:lnTo>
                      <a:lnTo>
                        <a:pt x="219223" y="466556"/>
                      </a:lnTo>
                      <a:lnTo>
                        <a:pt x="222472" y="460633"/>
                      </a:lnTo>
                      <a:lnTo>
                        <a:pt x="224031" y="456679"/>
                      </a:lnTo>
                      <a:lnTo>
                        <a:pt x="225082" y="449918"/>
                      </a:lnTo>
                      <a:lnTo>
                        <a:pt x="226258" y="446738"/>
                      </a:lnTo>
                      <a:lnTo>
                        <a:pt x="227213" y="445798"/>
                      </a:lnTo>
                      <a:lnTo>
                        <a:pt x="229077" y="445804"/>
                      </a:lnTo>
                      <a:lnTo>
                        <a:pt x="230015" y="444664"/>
                      </a:lnTo>
                      <a:lnTo>
                        <a:pt x="230516" y="442629"/>
                      </a:lnTo>
                      <a:lnTo>
                        <a:pt x="230755" y="438161"/>
                      </a:lnTo>
                      <a:lnTo>
                        <a:pt x="231123" y="436327"/>
                      </a:lnTo>
                      <a:lnTo>
                        <a:pt x="238619" y="420418"/>
                      </a:lnTo>
                      <a:lnTo>
                        <a:pt x="240248" y="417696"/>
                      </a:lnTo>
                      <a:lnTo>
                        <a:pt x="243626" y="413640"/>
                      </a:lnTo>
                      <a:lnTo>
                        <a:pt x="248137" y="411392"/>
                      </a:lnTo>
                      <a:lnTo>
                        <a:pt x="250252" y="409408"/>
                      </a:lnTo>
                      <a:lnTo>
                        <a:pt x="252277" y="404624"/>
                      </a:lnTo>
                      <a:lnTo>
                        <a:pt x="251528" y="403411"/>
                      </a:lnTo>
                      <a:lnTo>
                        <a:pt x="250579" y="400969"/>
                      </a:lnTo>
                      <a:lnTo>
                        <a:pt x="250006" y="399939"/>
                      </a:lnTo>
                      <a:close/>
                      <a:moveTo>
                        <a:pt x="286954" y="382712"/>
                      </a:moveTo>
                      <a:lnTo>
                        <a:pt x="295674" y="386733"/>
                      </a:lnTo>
                      <a:lnTo>
                        <a:pt x="296715" y="387750"/>
                      </a:lnTo>
                      <a:lnTo>
                        <a:pt x="298841" y="392385"/>
                      </a:lnTo>
                      <a:lnTo>
                        <a:pt x="299972" y="393931"/>
                      </a:lnTo>
                      <a:lnTo>
                        <a:pt x="295831" y="408558"/>
                      </a:lnTo>
                      <a:lnTo>
                        <a:pt x="292960" y="416236"/>
                      </a:lnTo>
                      <a:lnTo>
                        <a:pt x="290658" y="419499"/>
                      </a:lnTo>
                      <a:lnTo>
                        <a:pt x="290568" y="421185"/>
                      </a:lnTo>
                      <a:lnTo>
                        <a:pt x="288872" y="429300"/>
                      </a:lnTo>
                      <a:lnTo>
                        <a:pt x="287955" y="432336"/>
                      </a:lnTo>
                      <a:lnTo>
                        <a:pt x="286672" y="432976"/>
                      </a:lnTo>
                      <a:lnTo>
                        <a:pt x="284042" y="427317"/>
                      </a:lnTo>
                      <a:lnTo>
                        <a:pt x="282616" y="426029"/>
                      </a:lnTo>
                      <a:lnTo>
                        <a:pt x="275023" y="436592"/>
                      </a:lnTo>
                      <a:lnTo>
                        <a:pt x="270775" y="440525"/>
                      </a:lnTo>
                      <a:lnTo>
                        <a:pt x="269403" y="435812"/>
                      </a:lnTo>
                      <a:lnTo>
                        <a:pt x="269858" y="428018"/>
                      </a:lnTo>
                      <a:lnTo>
                        <a:pt x="269746" y="424299"/>
                      </a:lnTo>
                      <a:lnTo>
                        <a:pt x="269108" y="422673"/>
                      </a:lnTo>
                      <a:lnTo>
                        <a:pt x="266640" y="423620"/>
                      </a:lnTo>
                      <a:lnTo>
                        <a:pt x="266001" y="426209"/>
                      </a:lnTo>
                      <a:lnTo>
                        <a:pt x="265735" y="429320"/>
                      </a:lnTo>
                      <a:lnTo>
                        <a:pt x="264378" y="431772"/>
                      </a:lnTo>
                      <a:lnTo>
                        <a:pt x="262864" y="431802"/>
                      </a:lnTo>
                      <a:lnTo>
                        <a:pt x="262199" y="429552"/>
                      </a:lnTo>
                      <a:lnTo>
                        <a:pt x="262140" y="426006"/>
                      </a:lnTo>
                      <a:lnTo>
                        <a:pt x="262441" y="422178"/>
                      </a:lnTo>
                      <a:lnTo>
                        <a:pt x="263380" y="417720"/>
                      </a:lnTo>
                      <a:lnTo>
                        <a:pt x="264861" y="414459"/>
                      </a:lnTo>
                      <a:lnTo>
                        <a:pt x="273598" y="403795"/>
                      </a:lnTo>
                      <a:lnTo>
                        <a:pt x="276138" y="402768"/>
                      </a:lnTo>
                      <a:lnTo>
                        <a:pt x="278337" y="405496"/>
                      </a:lnTo>
                      <a:lnTo>
                        <a:pt x="280495" y="413522"/>
                      </a:lnTo>
                      <a:lnTo>
                        <a:pt x="282127" y="416136"/>
                      </a:lnTo>
                      <a:lnTo>
                        <a:pt x="284344" y="414520"/>
                      </a:lnTo>
                      <a:lnTo>
                        <a:pt x="286234" y="406829"/>
                      </a:lnTo>
                      <a:lnTo>
                        <a:pt x="284314" y="400401"/>
                      </a:lnTo>
                      <a:lnTo>
                        <a:pt x="281303" y="395262"/>
                      </a:lnTo>
                      <a:lnTo>
                        <a:pt x="279852" y="391420"/>
                      </a:lnTo>
                      <a:lnTo>
                        <a:pt x="282385" y="383579"/>
                      </a:lnTo>
                      <a:close/>
                      <a:moveTo>
                        <a:pt x="496126" y="344415"/>
                      </a:moveTo>
                      <a:lnTo>
                        <a:pt x="497388" y="353034"/>
                      </a:lnTo>
                      <a:lnTo>
                        <a:pt x="489669" y="364386"/>
                      </a:lnTo>
                      <a:lnTo>
                        <a:pt x="486153" y="371429"/>
                      </a:lnTo>
                      <a:lnTo>
                        <a:pt x="482547" y="369905"/>
                      </a:lnTo>
                      <a:lnTo>
                        <a:pt x="478797" y="367922"/>
                      </a:lnTo>
                      <a:lnTo>
                        <a:pt x="476705" y="362865"/>
                      </a:lnTo>
                      <a:lnTo>
                        <a:pt x="479915" y="355362"/>
                      </a:lnTo>
                      <a:lnTo>
                        <a:pt x="489284" y="344546"/>
                      </a:lnTo>
                      <a:close/>
                      <a:moveTo>
                        <a:pt x="391761" y="326717"/>
                      </a:moveTo>
                      <a:lnTo>
                        <a:pt x="395524" y="327844"/>
                      </a:lnTo>
                      <a:lnTo>
                        <a:pt x="398079" y="332501"/>
                      </a:lnTo>
                      <a:lnTo>
                        <a:pt x="401766" y="334972"/>
                      </a:lnTo>
                      <a:lnTo>
                        <a:pt x="407057" y="335728"/>
                      </a:lnTo>
                      <a:lnTo>
                        <a:pt x="409921" y="346710"/>
                      </a:lnTo>
                      <a:lnTo>
                        <a:pt x="406068" y="355507"/>
                      </a:lnTo>
                      <a:lnTo>
                        <a:pt x="400578" y="357894"/>
                      </a:lnTo>
                      <a:lnTo>
                        <a:pt x="396041" y="352668"/>
                      </a:lnTo>
                      <a:lnTo>
                        <a:pt x="393759" y="348928"/>
                      </a:lnTo>
                      <a:lnTo>
                        <a:pt x="393336" y="344845"/>
                      </a:lnTo>
                      <a:lnTo>
                        <a:pt x="394550" y="341311"/>
                      </a:lnTo>
                      <a:lnTo>
                        <a:pt x="389562" y="341015"/>
                      </a:lnTo>
                      <a:lnTo>
                        <a:pt x="383437" y="340195"/>
                      </a:lnTo>
                      <a:lnTo>
                        <a:pt x="381442" y="334664"/>
                      </a:lnTo>
                      <a:lnTo>
                        <a:pt x="386481" y="334067"/>
                      </a:lnTo>
                      <a:lnTo>
                        <a:pt x="385178" y="328127"/>
                      </a:lnTo>
                      <a:close/>
                      <a:moveTo>
                        <a:pt x="366621" y="323828"/>
                      </a:moveTo>
                      <a:lnTo>
                        <a:pt x="374667" y="325681"/>
                      </a:lnTo>
                      <a:lnTo>
                        <a:pt x="376898" y="340698"/>
                      </a:lnTo>
                      <a:lnTo>
                        <a:pt x="371207" y="348915"/>
                      </a:lnTo>
                      <a:lnTo>
                        <a:pt x="374283" y="353163"/>
                      </a:lnTo>
                      <a:lnTo>
                        <a:pt x="378777" y="351790"/>
                      </a:lnTo>
                      <a:lnTo>
                        <a:pt x="386794" y="345356"/>
                      </a:lnTo>
                      <a:lnTo>
                        <a:pt x="391456" y="348339"/>
                      </a:lnTo>
                      <a:lnTo>
                        <a:pt x="395381" y="355334"/>
                      </a:lnTo>
                      <a:lnTo>
                        <a:pt x="388211" y="371591"/>
                      </a:lnTo>
                      <a:lnTo>
                        <a:pt x="381847" y="373267"/>
                      </a:lnTo>
                      <a:lnTo>
                        <a:pt x="380209" y="377083"/>
                      </a:lnTo>
                      <a:lnTo>
                        <a:pt x="379093" y="379214"/>
                      </a:lnTo>
                      <a:lnTo>
                        <a:pt x="377823" y="380095"/>
                      </a:lnTo>
                      <a:lnTo>
                        <a:pt x="366687" y="380467"/>
                      </a:lnTo>
                      <a:lnTo>
                        <a:pt x="365215" y="381348"/>
                      </a:lnTo>
                      <a:lnTo>
                        <a:pt x="363577" y="382881"/>
                      </a:lnTo>
                      <a:lnTo>
                        <a:pt x="361673" y="383620"/>
                      </a:lnTo>
                      <a:lnTo>
                        <a:pt x="360430" y="381893"/>
                      </a:lnTo>
                      <a:lnTo>
                        <a:pt x="359252" y="379663"/>
                      </a:lnTo>
                      <a:lnTo>
                        <a:pt x="357585" y="378839"/>
                      </a:lnTo>
                      <a:lnTo>
                        <a:pt x="356642" y="380132"/>
                      </a:lnTo>
                      <a:lnTo>
                        <a:pt x="355751" y="382570"/>
                      </a:lnTo>
                      <a:lnTo>
                        <a:pt x="354553" y="384874"/>
                      </a:lnTo>
                      <a:lnTo>
                        <a:pt x="352706" y="385842"/>
                      </a:lnTo>
                      <a:lnTo>
                        <a:pt x="343991" y="385281"/>
                      </a:lnTo>
                      <a:lnTo>
                        <a:pt x="345061" y="389748"/>
                      </a:lnTo>
                      <a:lnTo>
                        <a:pt x="350121" y="391385"/>
                      </a:lnTo>
                      <a:lnTo>
                        <a:pt x="352137" y="395277"/>
                      </a:lnTo>
                      <a:lnTo>
                        <a:pt x="352346" y="399349"/>
                      </a:lnTo>
                      <a:lnTo>
                        <a:pt x="351306" y="402242"/>
                      </a:lnTo>
                      <a:lnTo>
                        <a:pt x="349429" y="403940"/>
                      </a:lnTo>
                      <a:lnTo>
                        <a:pt x="342679" y="405166"/>
                      </a:lnTo>
                      <a:lnTo>
                        <a:pt x="340967" y="404014"/>
                      </a:lnTo>
                      <a:lnTo>
                        <a:pt x="340365" y="402296"/>
                      </a:lnTo>
                      <a:lnTo>
                        <a:pt x="340003" y="397608"/>
                      </a:lnTo>
                      <a:lnTo>
                        <a:pt x="339187" y="396595"/>
                      </a:lnTo>
                      <a:lnTo>
                        <a:pt x="336544" y="397466"/>
                      </a:lnTo>
                      <a:lnTo>
                        <a:pt x="335223" y="399929"/>
                      </a:lnTo>
                      <a:lnTo>
                        <a:pt x="334310" y="403040"/>
                      </a:lnTo>
                      <a:lnTo>
                        <a:pt x="332827" y="405847"/>
                      </a:lnTo>
                      <a:lnTo>
                        <a:pt x="333551" y="410123"/>
                      </a:lnTo>
                      <a:lnTo>
                        <a:pt x="334056" y="411706"/>
                      </a:lnTo>
                      <a:lnTo>
                        <a:pt x="334995" y="413094"/>
                      </a:lnTo>
                      <a:lnTo>
                        <a:pt x="332276" y="415465"/>
                      </a:lnTo>
                      <a:lnTo>
                        <a:pt x="330093" y="415503"/>
                      </a:lnTo>
                      <a:lnTo>
                        <a:pt x="327896" y="414794"/>
                      </a:lnTo>
                      <a:lnTo>
                        <a:pt x="325169" y="414780"/>
                      </a:lnTo>
                      <a:lnTo>
                        <a:pt x="326281" y="412516"/>
                      </a:lnTo>
                      <a:lnTo>
                        <a:pt x="325372" y="411947"/>
                      </a:lnTo>
                      <a:lnTo>
                        <a:pt x="323771" y="410246"/>
                      </a:lnTo>
                      <a:lnTo>
                        <a:pt x="322861" y="409690"/>
                      </a:lnTo>
                      <a:lnTo>
                        <a:pt x="323586" y="401860"/>
                      </a:lnTo>
                      <a:lnTo>
                        <a:pt x="320055" y="397223"/>
                      </a:lnTo>
                      <a:lnTo>
                        <a:pt x="315396" y="397230"/>
                      </a:lnTo>
                      <a:lnTo>
                        <a:pt x="312701" y="403305"/>
                      </a:lnTo>
                      <a:lnTo>
                        <a:pt x="312791" y="405186"/>
                      </a:lnTo>
                      <a:lnTo>
                        <a:pt x="313229" y="407063"/>
                      </a:lnTo>
                      <a:lnTo>
                        <a:pt x="313823" y="408513"/>
                      </a:lnTo>
                      <a:lnTo>
                        <a:pt x="314507" y="409123"/>
                      </a:lnTo>
                      <a:lnTo>
                        <a:pt x="315255" y="410332"/>
                      </a:lnTo>
                      <a:lnTo>
                        <a:pt x="314360" y="412610"/>
                      </a:lnTo>
                      <a:lnTo>
                        <a:pt x="313101" y="414356"/>
                      </a:lnTo>
                      <a:lnTo>
                        <a:pt x="312750" y="413938"/>
                      </a:lnTo>
                      <a:lnTo>
                        <a:pt x="311191" y="419371"/>
                      </a:lnTo>
                      <a:lnTo>
                        <a:pt x="309487" y="423230"/>
                      </a:lnTo>
                      <a:lnTo>
                        <a:pt x="307570" y="424100"/>
                      </a:lnTo>
                      <a:lnTo>
                        <a:pt x="301071" y="413086"/>
                      </a:lnTo>
                      <a:lnTo>
                        <a:pt x="305676" y="400985"/>
                      </a:lnTo>
                      <a:lnTo>
                        <a:pt x="320240" y="383702"/>
                      </a:lnTo>
                      <a:lnTo>
                        <a:pt x="316996" y="381887"/>
                      </a:lnTo>
                      <a:lnTo>
                        <a:pt x="309520" y="390905"/>
                      </a:lnTo>
                      <a:lnTo>
                        <a:pt x="305469" y="392159"/>
                      </a:lnTo>
                      <a:lnTo>
                        <a:pt x="305651" y="389592"/>
                      </a:lnTo>
                      <a:lnTo>
                        <a:pt x="307147" y="389387"/>
                      </a:lnTo>
                      <a:lnTo>
                        <a:pt x="308515" y="388311"/>
                      </a:lnTo>
                      <a:lnTo>
                        <a:pt x="309666" y="386276"/>
                      </a:lnTo>
                      <a:lnTo>
                        <a:pt x="310513" y="383035"/>
                      </a:lnTo>
                      <a:lnTo>
                        <a:pt x="309211" y="383043"/>
                      </a:lnTo>
                      <a:lnTo>
                        <a:pt x="308168" y="382492"/>
                      </a:lnTo>
                      <a:lnTo>
                        <a:pt x="306317" y="380164"/>
                      </a:lnTo>
                      <a:lnTo>
                        <a:pt x="312671" y="378447"/>
                      </a:lnTo>
                      <a:lnTo>
                        <a:pt x="311402" y="376342"/>
                      </a:lnTo>
                      <a:lnTo>
                        <a:pt x="306802" y="373316"/>
                      </a:lnTo>
                      <a:lnTo>
                        <a:pt x="312017" y="365785"/>
                      </a:lnTo>
                      <a:lnTo>
                        <a:pt x="319375" y="363583"/>
                      </a:lnTo>
                      <a:lnTo>
                        <a:pt x="325261" y="360824"/>
                      </a:lnTo>
                      <a:lnTo>
                        <a:pt x="322936" y="359018"/>
                      </a:lnTo>
                      <a:lnTo>
                        <a:pt x="321179" y="357333"/>
                      </a:lnTo>
                      <a:lnTo>
                        <a:pt x="319067" y="356555"/>
                      </a:lnTo>
                      <a:lnTo>
                        <a:pt x="310806" y="354421"/>
                      </a:lnTo>
                      <a:lnTo>
                        <a:pt x="329520" y="337654"/>
                      </a:lnTo>
                      <a:lnTo>
                        <a:pt x="333137" y="339109"/>
                      </a:lnTo>
                      <a:lnTo>
                        <a:pt x="334689" y="339298"/>
                      </a:lnTo>
                      <a:lnTo>
                        <a:pt x="335705" y="340324"/>
                      </a:lnTo>
                      <a:lnTo>
                        <a:pt x="337408" y="343566"/>
                      </a:lnTo>
                      <a:lnTo>
                        <a:pt x="339059" y="345113"/>
                      </a:lnTo>
                      <a:lnTo>
                        <a:pt x="341627" y="343871"/>
                      </a:lnTo>
                      <a:lnTo>
                        <a:pt x="343712" y="342654"/>
                      </a:lnTo>
                      <a:lnTo>
                        <a:pt x="346314" y="343728"/>
                      </a:lnTo>
                      <a:lnTo>
                        <a:pt x="348642" y="348023"/>
                      </a:lnTo>
                      <a:lnTo>
                        <a:pt x="349902" y="347610"/>
                      </a:lnTo>
                      <a:lnTo>
                        <a:pt x="350943" y="346057"/>
                      </a:lnTo>
                      <a:lnTo>
                        <a:pt x="352726" y="341463"/>
                      </a:lnTo>
                      <a:lnTo>
                        <a:pt x="353902" y="340553"/>
                      </a:lnTo>
                      <a:lnTo>
                        <a:pt x="356457" y="336713"/>
                      </a:lnTo>
                      <a:lnTo>
                        <a:pt x="360467" y="328851"/>
                      </a:lnTo>
                      <a:close/>
                      <a:moveTo>
                        <a:pt x="519064" y="293028"/>
                      </a:moveTo>
                      <a:lnTo>
                        <a:pt x="528083" y="293165"/>
                      </a:lnTo>
                      <a:lnTo>
                        <a:pt x="525594" y="298505"/>
                      </a:lnTo>
                      <a:lnTo>
                        <a:pt x="509111" y="323794"/>
                      </a:lnTo>
                      <a:lnTo>
                        <a:pt x="506486" y="325280"/>
                      </a:lnTo>
                      <a:lnTo>
                        <a:pt x="506852" y="323650"/>
                      </a:lnTo>
                      <a:lnTo>
                        <a:pt x="507261" y="321303"/>
                      </a:lnTo>
                      <a:lnTo>
                        <a:pt x="507358" y="319196"/>
                      </a:lnTo>
                      <a:lnTo>
                        <a:pt x="506811" y="318213"/>
                      </a:lnTo>
                      <a:lnTo>
                        <a:pt x="505479" y="318730"/>
                      </a:lnTo>
                      <a:lnTo>
                        <a:pt x="505127" y="320277"/>
                      </a:lnTo>
                      <a:lnTo>
                        <a:pt x="505120" y="322009"/>
                      </a:lnTo>
                      <a:lnTo>
                        <a:pt x="504843" y="323051"/>
                      </a:lnTo>
                      <a:lnTo>
                        <a:pt x="497591" y="327449"/>
                      </a:lnTo>
                      <a:lnTo>
                        <a:pt x="499776" y="329619"/>
                      </a:lnTo>
                      <a:lnTo>
                        <a:pt x="501708" y="332369"/>
                      </a:lnTo>
                      <a:lnTo>
                        <a:pt x="496056" y="335516"/>
                      </a:lnTo>
                      <a:lnTo>
                        <a:pt x="472780" y="358224"/>
                      </a:lnTo>
                      <a:lnTo>
                        <a:pt x="469168" y="359453"/>
                      </a:lnTo>
                      <a:lnTo>
                        <a:pt x="467313" y="356699"/>
                      </a:lnTo>
                      <a:lnTo>
                        <a:pt x="467984" y="350860"/>
                      </a:lnTo>
                      <a:lnTo>
                        <a:pt x="470274" y="345369"/>
                      </a:lnTo>
                      <a:lnTo>
                        <a:pt x="475249" y="337985"/>
                      </a:lnTo>
                      <a:lnTo>
                        <a:pt x="472945" y="338041"/>
                      </a:lnTo>
                      <a:lnTo>
                        <a:pt x="471868" y="335635"/>
                      </a:lnTo>
                      <a:lnTo>
                        <a:pt x="471249" y="332634"/>
                      </a:lnTo>
                      <a:lnTo>
                        <a:pt x="470370" y="330872"/>
                      </a:lnTo>
                      <a:lnTo>
                        <a:pt x="468469" y="330806"/>
                      </a:lnTo>
                      <a:lnTo>
                        <a:pt x="467234" y="332376"/>
                      </a:lnTo>
                      <a:lnTo>
                        <a:pt x="464584" y="340045"/>
                      </a:lnTo>
                      <a:lnTo>
                        <a:pt x="465758" y="344793"/>
                      </a:lnTo>
                      <a:lnTo>
                        <a:pt x="464386" y="348399"/>
                      </a:lnTo>
                      <a:lnTo>
                        <a:pt x="461893" y="350639"/>
                      </a:lnTo>
                      <a:lnTo>
                        <a:pt x="458727" y="351745"/>
                      </a:lnTo>
                      <a:lnTo>
                        <a:pt x="457180" y="352793"/>
                      </a:lnTo>
                      <a:lnTo>
                        <a:pt x="455714" y="354295"/>
                      </a:lnTo>
                      <a:lnTo>
                        <a:pt x="455005" y="356075"/>
                      </a:lnTo>
                      <a:lnTo>
                        <a:pt x="455719" y="357788"/>
                      </a:lnTo>
                      <a:lnTo>
                        <a:pt x="460896" y="360896"/>
                      </a:lnTo>
                      <a:lnTo>
                        <a:pt x="458801" y="363831"/>
                      </a:lnTo>
                      <a:lnTo>
                        <a:pt x="453182" y="369162"/>
                      </a:lnTo>
                      <a:lnTo>
                        <a:pt x="447600" y="370491"/>
                      </a:lnTo>
                      <a:lnTo>
                        <a:pt x="445397" y="371981"/>
                      </a:lnTo>
                      <a:lnTo>
                        <a:pt x="440742" y="376609"/>
                      </a:lnTo>
                      <a:lnTo>
                        <a:pt x="437705" y="377982"/>
                      </a:lnTo>
                      <a:lnTo>
                        <a:pt x="427396" y="378256"/>
                      </a:lnTo>
                      <a:lnTo>
                        <a:pt x="425930" y="378823"/>
                      </a:lnTo>
                      <a:lnTo>
                        <a:pt x="423748" y="381872"/>
                      </a:lnTo>
                      <a:lnTo>
                        <a:pt x="422685" y="382701"/>
                      </a:lnTo>
                      <a:lnTo>
                        <a:pt x="420749" y="382480"/>
                      </a:lnTo>
                      <a:lnTo>
                        <a:pt x="416973" y="380312"/>
                      </a:lnTo>
                      <a:lnTo>
                        <a:pt x="414910" y="380125"/>
                      </a:lnTo>
                      <a:lnTo>
                        <a:pt x="415225" y="383595"/>
                      </a:lnTo>
                      <a:lnTo>
                        <a:pt x="415446" y="384875"/>
                      </a:lnTo>
                      <a:lnTo>
                        <a:pt x="413273" y="386570"/>
                      </a:lnTo>
                      <a:lnTo>
                        <a:pt x="408753" y="386398"/>
                      </a:lnTo>
                      <a:lnTo>
                        <a:pt x="404718" y="389421"/>
                      </a:lnTo>
                      <a:lnTo>
                        <a:pt x="400213" y="391092"/>
                      </a:lnTo>
                      <a:lnTo>
                        <a:pt x="398361" y="390998"/>
                      </a:lnTo>
                      <a:lnTo>
                        <a:pt x="400001" y="385599"/>
                      </a:lnTo>
                      <a:lnTo>
                        <a:pt x="400607" y="384028"/>
                      </a:lnTo>
                      <a:lnTo>
                        <a:pt x="401045" y="383715"/>
                      </a:lnTo>
                      <a:lnTo>
                        <a:pt x="401364" y="383649"/>
                      </a:lnTo>
                      <a:lnTo>
                        <a:pt x="401561" y="383153"/>
                      </a:lnTo>
                      <a:lnTo>
                        <a:pt x="401563" y="381505"/>
                      </a:lnTo>
                      <a:lnTo>
                        <a:pt x="400710" y="380146"/>
                      </a:lnTo>
                      <a:lnTo>
                        <a:pt x="400078" y="378432"/>
                      </a:lnTo>
                      <a:lnTo>
                        <a:pt x="399648" y="376492"/>
                      </a:lnTo>
                      <a:lnTo>
                        <a:pt x="399347" y="374305"/>
                      </a:lnTo>
                      <a:lnTo>
                        <a:pt x="404394" y="368060"/>
                      </a:lnTo>
                      <a:lnTo>
                        <a:pt x="415294" y="364426"/>
                      </a:lnTo>
                      <a:lnTo>
                        <a:pt x="420373" y="361317"/>
                      </a:lnTo>
                      <a:lnTo>
                        <a:pt x="413246" y="363114"/>
                      </a:lnTo>
                      <a:lnTo>
                        <a:pt x="409769" y="362494"/>
                      </a:lnTo>
                      <a:lnTo>
                        <a:pt x="407333" y="358002"/>
                      </a:lnTo>
                      <a:lnTo>
                        <a:pt x="409691" y="355179"/>
                      </a:lnTo>
                      <a:lnTo>
                        <a:pt x="412140" y="354008"/>
                      </a:lnTo>
                      <a:lnTo>
                        <a:pt x="417203" y="354040"/>
                      </a:lnTo>
                      <a:lnTo>
                        <a:pt x="414575" y="349793"/>
                      </a:lnTo>
                      <a:lnTo>
                        <a:pt x="413770" y="343282"/>
                      </a:lnTo>
                      <a:lnTo>
                        <a:pt x="414996" y="336830"/>
                      </a:lnTo>
                      <a:lnTo>
                        <a:pt x="418411" y="332853"/>
                      </a:lnTo>
                      <a:lnTo>
                        <a:pt x="422121" y="334286"/>
                      </a:lnTo>
                      <a:lnTo>
                        <a:pt x="426247" y="345995"/>
                      </a:lnTo>
                      <a:lnTo>
                        <a:pt x="429973" y="347649"/>
                      </a:lnTo>
                      <a:lnTo>
                        <a:pt x="430116" y="345079"/>
                      </a:lnTo>
                      <a:lnTo>
                        <a:pt x="428758" y="342681"/>
                      </a:lnTo>
                      <a:lnTo>
                        <a:pt x="429599" y="341417"/>
                      </a:lnTo>
                      <a:lnTo>
                        <a:pt x="431241" y="340015"/>
                      </a:lnTo>
                      <a:lnTo>
                        <a:pt x="432239" y="337040"/>
                      </a:lnTo>
                      <a:lnTo>
                        <a:pt x="432902" y="335597"/>
                      </a:lnTo>
                      <a:lnTo>
                        <a:pt x="434198" y="337020"/>
                      </a:lnTo>
                      <a:lnTo>
                        <a:pt x="436486" y="340722"/>
                      </a:lnTo>
                      <a:lnTo>
                        <a:pt x="439420" y="340229"/>
                      </a:lnTo>
                      <a:lnTo>
                        <a:pt x="439717" y="336696"/>
                      </a:lnTo>
                      <a:lnTo>
                        <a:pt x="438386" y="331668"/>
                      </a:lnTo>
                      <a:lnTo>
                        <a:pt x="436376" y="326743"/>
                      </a:lnTo>
                      <a:lnTo>
                        <a:pt x="434985" y="329148"/>
                      </a:lnTo>
                      <a:lnTo>
                        <a:pt x="433427" y="329090"/>
                      </a:lnTo>
                      <a:lnTo>
                        <a:pt x="432513" y="326619"/>
                      </a:lnTo>
                      <a:lnTo>
                        <a:pt x="433091" y="321622"/>
                      </a:lnTo>
                      <a:lnTo>
                        <a:pt x="427903" y="318451"/>
                      </a:lnTo>
                      <a:lnTo>
                        <a:pt x="426400" y="316522"/>
                      </a:lnTo>
                      <a:lnTo>
                        <a:pt x="440632" y="312776"/>
                      </a:lnTo>
                      <a:lnTo>
                        <a:pt x="443864" y="314076"/>
                      </a:lnTo>
                      <a:lnTo>
                        <a:pt x="449167" y="319228"/>
                      </a:lnTo>
                      <a:lnTo>
                        <a:pt x="452498" y="320500"/>
                      </a:lnTo>
                      <a:lnTo>
                        <a:pt x="451796" y="314916"/>
                      </a:lnTo>
                      <a:lnTo>
                        <a:pt x="448368" y="310258"/>
                      </a:lnTo>
                      <a:lnTo>
                        <a:pt x="447161" y="306054"/>
                      </a:lnTo>
                      <a:lnTo>
                        <a:pt x="461770" y="299010"/>
                      </a:lnTo>
                      <a:lnTo>
                        <a:pt x="463869" y="303143"/>
                      </a:lnTo>
                      <a:lnTo>
                        <a:pt x="463828" y="307762"/>
                      </a:lnTo>
                      <a:lnTo>
                        <a:pt x="464330" y="310517"/>
                      </a:lnTo>
                      <a:lnTo>
                        <a:pt x="466333" y="315180"/>
                      </a:lnTo>
                      <a:lnTo>
                        <a:pt x="467745" y="316830"/>
                      </a:lnTo>
                      <a:lnTo>
                        <a:pt x="468164" y="313076"/>
                      </a:lnTo>
                      <a:lnTo>
                        <a:pt x="468142" y="304542"/>
                      </a:lnTo>
                      <a:lnTo>
                        <a:pt x="469380" y="301211"/>
                      </a:lnTo>
                      <a:lnTo>
                        <a:pt x="471058" y="298972"/>
                      </a:lnTo>
                      <a:lnTo>
                        <a:pt x="473146" y="297850"/>
                      </a:lnTo>
                      <a:lnTo>
                        <a:pt x="475509" y="297841"/>
                      </a:lnTo>
                      <a:lnTo>
                        <a:pt x="479892" y="300548"/>
                      </a:lnTo>
                      <a:lnTo>
                        <a:pt x="482060" y="303258"/>
                      </a:lnTo>
                      <a:lnTo>
                        <a:pt x="482914" y="306565"/>
                      </a:lnTo>
                      <a:lnTo>
                        <a:pt x="483059" y="311641"/>
                      </a:lnTo>
                      <a:lnTo>
                        <a:pt x="482515" y="313431"/>
                      </a:lnTo>
                      <a:lnTo>
                        <a:pt x="473341" y="323711"/>
                      </a:lnTo>
                      <a:lnTo>
                        <a:pt x="473212" y="326282"/>
                      </a:lnTo>
                      <a:lnTo>
                        <a:pt x="477014" y="325510"/>
                      </a:lnTo>
                      <a:lnTo>
                        <a:pt x="484565" y="318852"/>
                      </a:lnTo>
                      <a:lnTo>
                        <a:pt x="488470" y="317362"/>
                      </a:lnTo>
                      <a:lnTo>
                        <a:pt x="489886" y="315122"/>
                      </a:lnTo>
                      <a:lnTo>
                        <a:pt x="490966" y="303458"/>
                      </a:lnTo>
                      <a:lnTo>
                        <a:pt x="492854" y="298677"/>
                      </a:lnTo>
                      <a:lnTo>
                        <a:pt x="497024" y="297690"/>
                      </a:lnTo>
                      <a:lnTo>
                        <a:pt x="507026" y="301359"/>
                      </a:lnTo>
                      <a:lnTo>
                        <a:pt x="514153" y="294529"/>
                      </a:lnTo>
                      <a:close/>
                      <a:moveTo>
                        <a:pt x="677503" y="269598"/>
                      </a:moveTo>
                      <a:lnTo>
                        <a:pt x="679400" y="270390"/>
                      </a:lnTo>
                      <a:lnTo>
                        <a:pt x="683134" y="273727"/>
                      </a:lnTo>
                      <a:lnTo>
                        <a:pt x="684828" y="274497"/>
                      </a:lnTo>
                      <a:lnTo>
                        <a:pt x="686033" y="275862"/>
                      </a:lnTo>
                      <a:lnTo>
                        <a:pt x="686538" y="278983"/>
                      </a:lnTo>
                      <a:lnTo>
                        <a:pt x="686743" y="282587"/>
                      </a:lnTo>
                      <a:lnTo>
                        <a:pt x="687173" y="285411"/>
                      </a:lnTo>
                      <a:lnTo>
                        <a:pt x="688379" y="287744"/>
                      </a:lnTo>
                      <a:lnTo>
                        <a:pt x="691200" y="290832"/>
                      </a:lnTo>
                      <a:lnTo>
                        <a:pt x="692534" y="293562"/>
                      </a:lnTo>
                      <a:lnTo>
                        <a:pt x="689511" y="295591"/>
                      </a:lnTo>
                      <a:lnTo>
                        <a:pt x="682977" y="297747"/>
                      </a:lnTo>
                      <a:lnTo>
                        <a:pt x="680303" y="300582"/>
                      </a:lnTo>
                      <a:lnTo>
                        <a:pt x="682131" y="302875"/>
                      </a:lnTo>
                      <a:lnTo>
                        <a:pt x="684437" y="306953"/>
                      </a:lnTo>
                      <a:lnTo>
                        <a:pt x="685465" y="310788"/>
                      </a:lnTo>
                      <a:lnTo>
                        <a:pt x="683458" y="312442"/>
                      </a:lnTo>
                      <a:lnTo>
                        <a:pt x="662060" y="313267"/>
                      </a:lnTo>
                      <a:lnTo>
                        <a:pt x="655412" y="316468"/>
                      </a:lnTo>
                      <a:lnTo>
                        <a:pt x="650433" y="321807"/>
                      </a:lnTo>
                      <a:lnTo>
                        <a:pt x="648126" y="323389"/>
                      </a:lnTo>
                      <a:lnTo>
                        <a:pt x="647442" y="321176"/>
                      </a:lnTo>
                      <a:lnTo>
                        <a:pt x="644656" y="316963"/>
                      </a:lnTo>
                      <a:lnTo>
                        <a:pt x="647392" y="312607"/>
                      </a:lnTo>
                      <a:lnTo>
                        <a:pt x="654805" y="306804"/>
                      </a:lnTo>
                      <a:lnTo>
                        <a:pt x="653042" y="306896"/>
                      </a:lnTo>
                      <a:lnTo>
                        <a:pt x="651294" y="306427"/>
                      </a:lnTo>
                      <a:lnTo>
                        <a:pt x="647911" y="304477"/>
                      </a:lnTo>
                      <a:lnTo>
                        <a:pt x="650791" y="292528"/>
                      </a:lnTo>
                      <a:lnTo>
                        <a:pt x="655044" y="282136"/>
                      </a:lnTo>
                      <a:lnTo>
                        <a:pt x="658132" y="276732"/>
                      </a:lnTo>
                      <a:lnTo>
                        <a:pt x="661954" y="273794"/>
                      </a:lnTo>
                      <a:close/>
                      <a:moveTo>
                        <a:pt x="466602" y="244312"/>
                      </a:moveTo>
                      <a:lnTo>
                        <a:pt x="472004" y="248191"/>
                      </a:lnTo>
                      <a:lnTo>
                        <a:pt x="481326" y="249552"/>
                      </a:lnTo>
                      <a:lnTo>
                        <a:pt x="491265" y="251835"/>
                      </a:lnTo>
                      <a:lnTo>
                        <a:pt x="499358" y="254919"/>
                      </a:lnTo>
                      <a:lnTo>
                        <a:pt x="507807" y="257559"/>
                      </a:lnTo>
                      <a:lnTo>
                        <a:pt x="507331" y="264294"/>
                      </a:lnTo>
                      <a:lnTo>
                        <a:pt x="507323" y="264307"/>
                      </a:lnTo>
                      <a:lnTo>
                        <a:pt x="507314" y="264323"/>
                      </a:lnTo>
                      <a:lnTo>
                        <a:pt x="507301" y="264343"/>
                      </a:lnTo>
                      <a:lnTo>
                        <a:pt x="507285" y="264369"/>
                      </a:lnTo>
                      <a:lnTo>
                        <a:pt x="507266" y="264399"/>
                      </a:lnTo>
                      <a:lnTo>
                        <a:pt x="507243" y="264435"/>
                      </a:lnTo>
                      <a:lnTo>
                        <a:pt x="507218" y="264474"/>
                      </a:lnTo>
                      <a:lnTo>
                        <a:pt x="507190" y="264520"/>
                      </a:lnTo>
                      <a:lnTo>
                        <a:pt x="507159" y="264569"/>
                      </a:lnTo>
                      <a:lnTo>
                        <a:pt x="507126" y="264620"/>
                      </a:lnTo>
                      <a:lnTo>
                        <a:pt x="507091" y="264677"/>
                      </a:lnTo>
                      <a:lnTo>
                        <a:pt x="507053" y="264735"/>
                      </a:lnTo>
                      <a:lnTo>
                        <a:pt x="507012" y="264797"/>
                      </a:lnTo>
                      <a:lnTo>
                        <a:pt x="506970" y="264861"/>
                      </a:lnTo>
                      <a:lnTo>
                        <a:pt x="506926" y="264930"/>
                      </a:lnTo>
                      <a:lnTo>
                        <a:pt x="506880" y="265000"/>
                      </a:lnTo>
                      <a:lnTo>
                        <a:pt x="506833" y="265071"/>
                      </a:lnTo>
                      <a:lnTo>
                        <a:pt x="506784" y="265143"/>
                      </a:lnTo>
                      <a:lnTo>
                        <a:pt x="506733" y="265220"/>
                      </a:lnTo>
                      <a:lnTo>
                        <a:pt x="506682" y="265294"/>
                      </a:lnTo>
                      <a:lnTo>
                        <a:pt x="506629" y="265371"/>
                      </a:lnTo>
                      <a:lnTo>
                        <a:pt x="506575" y="265450"/>
                      </a:lnTo>
                      <a:lnTo>
                        <a:pt x="506521" y="265527"/>
                      </a:lnTo>
                      <a:lnTo>
                        <a:pt x="506466" y="265606"/>
                      </a:lnTo>
                      <a:lnTo>
                        <a:pt x="506409" y="265685"/>
                      </a:lnTo>
                      <a:lnTo>
                        <a:pt x="506353" y="265762"/>
                      </a:lnTo>
                      <a:lnTo>
                        <a:pt x="506296" y="265841"/>
                      </a:lnTo>
                      <a:lnTo>
                        <a:pt x="506240" y="265918"/>
                      </a:lnTo>
                      <a:lnTo>
                        <a:pt x="506182" y="265994"/>
                      </a:lnTo>
                      <a:lnTo>
                        <a:pt x="506126" y="266068"/>
                      </a:lnTo>
                      <a:lnTo>
                        <a:pt x="506069" y="266142"/>
                      </a:lnTo>
                      <a:lnTo>
                        <a:pt x="506013" y="266214"/>
                      </a:lnTo>
                      <a:lnTo>
                        <a:pt x="505956" y="266282"/>
                      </a:lnTo>
                      <a:lnTo>
                        <a:pt x="505901" y="266348"/>
                      </a:lnTo>
                      <a:lnTo>
                        <a:pt x="505847" y="266412"/>
                      </a:lnTo>
                      <a:lnTo>
                        <a:pt x="505793" y="266473"/>
                      </a:lnTo>
                      <a:lnTo>
                        <a:pt x="505740" y="266534"/>
                      </a:lnTo>
                      <a:lnTo>
                        <a:pt x="505688" y="266587"/>
                      </a:lnTo>
                      <a:lnTo>
                        <a:pt x="505638" y="266640"/>
                      </a:lnTo>
                      <a:lnTo>
                        <a:pt x="505588" y="266688"/>
                      </a:lnTo>
                      <a:lnTo>
                        <a:pt x="505541" y="266730"/>
                      </a:lnTo>
                      <a:lnTo>
                        <a:pt x="505495" y="266771"/>
                      </a:lnTo>
                      <a:lnTo>
                        <a:pt x="505451" y="266803"/>
                      </a:lnTo>
                      <a:lnTo>
                        <a:pt x="505408" y="266833"/>
                      </a:lnTo>
                      <a:lnTo>
                        <a:pt x="505368" y="266860"/>
                      </a:lnTo>
                      <a:lnTo>
                        <a:pt x="505330" y="266879"/>
                      </a:lnTo>
                      <a:lnTo>
                        <a:pt x="505294" y="266891"/>
                      </a:lnTo>
                      <a:lnTo>
                        <a:pt x="505260" y="266900"/>
                      </a:lnTo>
                      <a:lnTo>
                        <a:pt x="505229" y="266901"/>
                      </a:lnTo>
                      <a:lnTo>
                        <a:pt x="505142" y="266931"/>
                      </a:lnTo>
                      <a:lnTo>
                        <a:pt x="505079" y="266968"/>
                      </a:lnTo>
                      <a:lnTo>
                        <a:pt x="505003" y="267023"/>
                      </a:lnTo>
                      <a:lnTo>
                        <a:pt x="504915" y="267090"/>
                      </a:lnTo>
                      <a:lnTo>
                        <a:pt x="504816" y="267170"/>
                      </a:lnTo>
                      <a:lnTo>
                        <a:pt x="504706" y="267262"/>
                      </a:lnTo>
                      <a:lnTo>
                        <a:pt x="504587" y="267368"/>
                      </a:lnTo>
                      <a:lnTo>
                        <a:pt x="504458" y="267483"/>
                      </a:lnTo>
                      <a:lnTo>
                        <a:pt x="504319" y="267609"/>
                      </a:lnTo>
                      <a:lnTo>
                        <a:pt x="504173" y="267745"/>
                      </a:lnTo>
                      <a:lnTo>
                        <a:pt x="504018" y="267893"/>
                      </a:lnTo>
                      <a:lnTo>
                        <a:pt x="503857" y="268047"/>
                      </a:lnTo>
                      <a:lnTo>
                        <a:pt x="503689" y="268211"/>
                      </a:lnTo>
                      <a:lnTo>
                        <a:pt x="503515" y="268380"/>
                      </a:lnTo>
                      <a:lnTo>
                        <a:pt x="503336" y="268556"/>
                      </a:lnTo>
                      <a:lnTo>
                        <a:pt x="503152" y="268740"/>
                      </a:lnTo>
                      <a:lnTo>
                        <a:pt x="502964" y="268927"/>
                      </a:lnTo>
                      <a:lnTo>
                        <a:pt x="502773" y="269119"/>
                      </a:lnTo>
                      <a:lnTo>
                        <a:pt x="502578" y="269316"/>
                      </a:lnTo>
                      <a:lnTo>
                        <a:pt x="502381" y="269518"/>
                      </a:lnTo>
                      <a:lnTo>
                        <a:pt x="502182" y="269720"/>
                      </a:lnTo>
                      <a:lnTo>
                        <a:pt x="501982" y="269924"/>
                      </a:lnTo>
                      <a:lnTo>
                        <a:pt x="501781" y="270132"/>
                      </a:lnTo>
                      <a:lnTo>
                        <a:pt x="501581" y="270336"/>
                      </a:lnTo>
                      <a:lnTo>
                        <a:pt x="501381" y="270543"/>
                      </a:lnTo>
                      <a:lnTo>
                        <a:pt x="501181" y="270751"/>
                      </a:lnTo>
                      <a:lnTo>
                        <a:pt x="500985" y="270955"/>
                      </a:lnTo>
                      <a:lnTo>
                        <a:pt x="500790" y="271158"/>
                      </a:lnTo>
                      <a:lnTo>
                        <a:pt x="500598" y="271360"/>
                      </a:lnTo>
                      <a:lnTo>
                        <a:pt x="500410" y="271557"/>
                      </a:lnTo>
                      <a:lnTo>
                        <a:pt x="500226" y="271749"/>
                      </a:lnTo>
                      <a:lnTo>
                        <a:pt x="500046" y="271936"/>
                      </a:lnTo>
                      <a:lnTo>
                        <a:pt x="499872" y="272121"/>
                      </a:lnTo>
                      <a:lnTo>
                        <a:pt x="499704" y="272297"/>
                      </a:lnTo>
                      <a:lnTo>
                        <a:pt x="499543" y="272467"/>
                      </a:lnTo>
                      <a:lnTo>
                        <a:pt x="499388" y="272631"/>
                      </a:lnTo>
                      <a:lnTo>
                        <a:pt x="499242" y="272785"/>
                      </a:lnTo>
                      <a:lnTo>
                        <a:pt x="499103" y="272932"/>
                      </a:lnTo>
                      <a:lnTo>
                        <a:pt x="498973" y="273071"/>
                      </a:lnTo>
                      <a:lnTo>
                        <a:pt x="498854" y="273198"/>
                      </a:lnTo>
                      <a:lnTo>
                        <a:pt x="498744" y="273314"/>
                      </a:lnTo>
                      <a:lnTo>
                        <a:pt x="498645" y="273420"/>
                      </a:lnTo>
                      <a:lnTo>
                        <a:pt x="498557" y="273514"/>
                      </a:lnTo>
                      <a:lnTo>
                        <a:pt x="498481" y="273595"/>
                      </a:lnTo>
                      <a:lnTo>
                        <a:pt x="498417" y="273663"/>
                      </a:lnTo>
                      <a:lnTo>
                        <a:pt x="498367" y="273719"/>
                      </a:lnTo>
                      <a:lnTo>
                        <a:pt x="498330" y="273757"/>
                      </a:lnTo>
                      <a:lnTo>
                        <a:pt x="498308" y="273782"/>
                      </a:lnTo>
                      <a:lnTo>
                        <a:pt x="498300" y="273790"/>
                      </a:lnTo>
                      <a:lnTo>
                        <a:pt x="493160" y="277603"/>
                      </a:lnTo>
                      <a:lnTo>
                        <a:pt x="476831" y="276815"/>
                      </a:lnTo>
                      <a:lnTo>
                        <a:pt x="470990" y="277877"/>
                      </a:lnTo>
                      <a:lnTo>
                        <a:pt x="469730" y="270152"/>
                      </a:lnTo>
                      <a:lnTo>
                        <a:pt x="464265" y="264020"/>
                      </a:lnTo>
                      <a:lnTo>
                        <a:pt x="460383" y="259315"/>
                      </a:lnTo>
                      <a:lnTo>
                        <a:pt x="457870" y="253778"/>
                      </a:lnTo>
                      <a:lnTo>
                        <a:pt x="460055" y="249836"/>
                      </a:lnTo>
                      <a:close/>
                      <a:moveTo>
                        <a:pt x="891735" y="243339"/>
                      </a:moveTo>
                      <a:lnTo>
                        <a:pt x="910050" y="269457"/>
                      </a:lnTo>
                      <a:lnTo>
                        <a:pt x="911053" y="271174"/>
                      </a:lnTo>
                      <a:lnTo>
                        <a:pt x="911136" y="271318"/>
                      </a:lnTo>
                      <a:lnTo>
                        <a:pt x="908932" y="272194"/>
                      </a:lnTo>
                      <a:lnTo>
                        <a:pt x="907633" y="274183"/>
                      </a:lnTo>
                      <a:lnTo>
                        <a:pt x="906985" y="278186"/>
                      </a:lnTo>
                      <a:lnTo>
                        <a:pt x="904665" y="310091"/>
                      </a:lnTo>
                      <a:lnTo>
                        <a:pt x="904568" y="320664"/>
                      </a:lnTo>
                      <a:lnTo>
                        <a:pt x="911669" y="388710"/>
                      </a:lnTo>
                      <a:lnTo>
                        <a:pt x="908922" y="402636"/>
                      </a:lnTo>
                      <a:lnTo>
                        <a:pt x="885234" y="451904"/>
                      </a:lnTo>
                      <a:lnTo>
                        <a:pt x="881218" y="460573"/>
                      </a:lnTo>
                      <a:lnTo>
                        <a:pt x="877366" y="466882"/>
                      </a:lnTo>
                      <a:lnTo>
                        <a:pt x="874041" y="467992"/>
                      </a:lnTo>
                      <a:lnTo>
                        <a:pt x="836901" y="444487"/>
                      </a:lnTo>
                      <a:lnTo>
                        <a:pt x="799979" y="420813"/>
                      </a:lnTo>
                      <a:lnTo>
                        <a:pt x="797183" y="423344"/>
                      </a:lnTo>
                      <a:lnTo>
                        <a:pt x="786668" y="443229"/>
                      </a:lnTo>
                      <a:lnTo>
                        <a:pt x="732608" y="487247"/>
                      </a:lnTo>
                      <a:lnTo>
                        <a:pt x="729260" y="491906"/>
                      </a:lnTo>
                      <a:lnTo>
                        <a:pt x="726408" y="498717"/>
                      </a:lnTo>
                      <a:lnTo>
                        <a:pt x="704859" y="577778"/>
                      </a:lnTo>
                      <a:lnTo>
                        <a:pt x="701881" y="585115"/>
                      </a:lnTo>
                      <a:lnTo>
                        <a:pt x="687633" y="608347"/>
                      </a:lnTo>
                      <a:lnTo>
                        <a:pt x="680267" y="616418"/>
                      </a:lnTo>
                      <a:lnTo>
                        <a:pt x="672026" y="620498"/>
                      </a:lnTo>
                      <a:lnTo>
                        <a:pt x="649767" y="624568"/>
                      </a:lnTo>
                      <a:lnTo>
                        <a:pt x="647168" y="628610"/>
                      </a:lnTo>
                      <a:lnTo>
                        <a:pt x="639362" y="653863"/>
                      </a:lnTo>
                      <a:lnTo>
                        <a:pt x="678865" y="731770"/>
                      </a:lnTo>
                      <a:lnTo>
                        <a:pt x="679516" y="737905"/>
                      </a:lnTo>
                      <a:lnTo>
                        <a:pt x="674693" y="782718"/>
                      </a:lnTo>
                      <a:lnTo>
                        <a:pt x="672412" y="788456"/>
                      </a:lnTo>
                      <a:lnTo>
                        <a:pt x="668273" y="792396"/>
                      </a:lnTo>
                      <a:lnTo>
                        <a:pt x="660171" y="797169"/>
                      </a:lnTo>
                      <a:lnTo>
                        <a:pt x="634479" y="822629"/>
                      </a:lnTo>
                      <a:lnTo>
                        <a:pt x="622249" y="838477"/>
                      </a:lnTo>
                      <a:lnTo>
                        <a:pt x="568644" y="936433"/>
                      </a:lnTo>
                      <a:lnTo>
                        <a:pt x="533813" y="972597"/>
                      </a:lnTo>
                      <a:lnTo>
                        <a:pt x="533941" y="982166"/>
                      </a:lnTo>
                      <a:lnTo>
                        <a:pt x="538887" y="1019942"/>
                      </a:lnTo>
                      <a:lnTo>
                        <a:pt x="539535" y="1024852"/>
                      </a:lnTo>
                      <a:lnTo>
                        <a:pt x="540202" y="1036062"/>
                      </a:lnTo>
                      <a:lnTo>
                        <a:pt x="540193" y="1043152"/>
                      </a:lnTo>
                      <a:lnTo>
                        <a:pt x="538642" y="1047634"/>
                      </a:lnTo>
                      <a:lnTo>
                        <a:pt x="477196" y="1087191"/>
                      </a:lnTo>
                      <a:lnTo>
                        <a:pt x="441153" y="1090334"/>
                      </a:lnTo>
                      <a:lnTo>
                        <a:pt x="405078" y="1093326"/>
                      </a:lnTo>
                      <a:lnTo>
                        <a:pt x="414602" y="1191645"/>
                      </a:lnTo>
                      <a:lnTo>
                        <a:pt x="414515" y="1205670"/>
                      </a:lnTo>
                      <a:lnTo>
                        <a:pt x="412473" y="1212901"/>
                      </a:lnTo>
                      <a:lnTo>
                        <a:pt x="401836" y="1234683"/>
                      </a:lnTo>
                      <a:lnTo>
                        <a:pt x="400202" y="1240019"/>
                      </a:lnTo>
                      <a:lnTo>
                        <a:pt x="388711" y="1321245"/>
                      </a:lnTo>
                      <a:lnTo>
                        <a:pt x="387984" y="1337713"/>
                      </a:lnTo>
                      <a:lnTo>
                        <a:pt x="388018" y="1355905"/>
                      </a:lnTo>
                      <a:lnTo>
                        <a:pt x="386587" y="1371915"/>
                      </a:lnTo>
                      <a:lnTo>
                        <a:pt x="381409" y="1381822"/>
                      </a:lnTo>
                      <a:lnTo>
                        <a:pt x="368995" y="1392660"/>
                      </a:lnTo>
                      <a:lnTo>
                        <a:pt x="365779" y="1397737"/>
                      </a:lnTo>
                      <a:lnTo>
                        <a:pt x="363248" y="1406089"/>
                      </a:lnTo>
                      <a:lnTo>
                        <a:pt x="357481" y="1437929"/>
                      </a:lnTo>
                      <a:lnTo>
                        <a:pt x="356512" y="1440597"/>
                      </a:lnTo>
                      <a:lnTo>
                        <a:pt x="356378" y="1440965"/>
                      </a:lnTo>
                      <a:lnTo>
                        <a:pt x="356298" y="1440926"/>
                      </a:lnTo>
                      <a:lnTo>
                        <a:pt x="341480" y="1433804"/>
                      </a:lnTo>
                      <a:lnTo>
                        <a:pt x="261287" y="1437786"/>
                      </a:lnTo>
                      <a:lnTo>
                        <a:pt x="256223" y="1437656"/>
                      </a:lnTo>
                      <a:lnTo>
                        <a:pt x="243615" y="1434067"/>
                      </a:lnTo>
                      <a:lnTo>
                        <a:pt x="209805" y="1434632"/>
                      </a:lnTo>
                      <a:lnTo>
                        <a:pt x="186128" y="1427805"/>
                      </a:lnTo>
                      <a:lnTo>
                        <a:pt x="183938" y="1427957"/>
                      </a:lnTo>
                      <a:lnTo>
                        <a:pt x="182028" y="1428997"/>
                      </a:lnTo>
                      <a:lnTo>
                        <a:pt x="180532" y="1430263"/>
                      </a:lnTo>
                      <a:lnTo>
                        <a:pt x="177759" y="1435235"/>
                      </a:lnTo>
                      <a:lnTo>
                        <a:pt x="175828" y="1439228"/>
                      </a:lnTo>
                      <a:lnTo>
                        <a:pt x="173817" y="1441461"/>
                      </a:lnTo>
                      <a:lnTo>
                        <a:pt x="164922" y="1449548"/>
                      </a:lnTo>
                      <a:lnTo>
                        <a:pt x="159364" y="1453406"/>
                      </a:lnTo>
                      <a:lnTo>
                        <a:pt x="153845" y="1454860"/>
                      </a:lnTo>
                      <a:lnTo>
                        <a:pt x="151958" y="1456355"/>
                      </a:lnTo>
                      <a:lnTo>
                        <a:pt x="150657" y="1459651"/>
                      </a:lnTo>
                      <a:lnTo>
                        <a:pt x="150821" y="1462496"/>
                      </a:lnTo>
                      <a:lnTo>
                        <a:pt x="151585" y="1466687"/>
                      </a:lnTo>
                      <a:lnTo>
                        <a:pt x="151461" y="1467116"/>
                      </a:lnTo>
                      <a:lnTo>
                        <a:pt x="151117" y="1468021"/>
                      </a:lnTo>
                      <a:lnTo>
                        <a:pt x="150123" y="1469701"/>
                      </a:lnTo>
                      <a:lnTo>
                        <a:pt x="147828" y="1471628"/>
                      </a:lnTo>
                      <a:lnTo>
                        <a:pt x="144307" y="1473332"/>
                      </a:lnTo>
                      <a:lnTo>
                        <a:pt x="130714" y="1474865"/>
                      </a:lnTo>
                      <a:lnTo>
                        <a:pt x="128167" y="1477028"/>
                      </a:lnTo>
                      <a:lnTo>
                        <a:pt x="126743" y="1479460"/>
                      </a:lnTo>
                      <a:lnTo>
                        <a:pt x="124856" y="1481126"/>
                      </a:lnTo>
                      <a:lnTo>
                        <a:pt x="123513" y="1481969"/>
                      </a:lnTo>
                      <a:lnTo>
                        <a:pt x="115963" y="1480371"/>
                      </a:lnTo>
                      <a:lnTo>
                        <a:pt x="103891" y="1480248"/>
                      </a:lnTo>
                      <a:lnTo>
                        <a:pt x="99386" y="1475831"/>
                      </a:lnTo>
                      <a:lnTo>
                        <a:pt x="97226" y="1472171"/>
                      </a:lnTo>
                      <a:lnTo>
                        <a:pt x="95178" y="1470017"/>
                      </a:lnTo>
                      <a:lnTo>
                        <a:pt x="75141" y="1464718"/>
                      </a:lnTo>
                      <a:lnTo>
                        <a:pt x="64955" y="1465793"/>
                      </a:lnTo>
                      <a:lnTo>
                        <a:pt x="58710" y="1468772"/>
                      </a:lnTo>
                      <a:lnTo>
                        <a:pt x="56107" y="1468514"/>
                      </a:lnTo>
                      <a:lnTo>
                        <a:pt x="53630" y="1466664"/>
                      </a:lnTo>
                      <a:lnTo>
                        <a:pt x="51125" y="1462333"/>
                      </a:lnTo>
                      <a:lnTo>
                        <a:pt x="49311" y="1459876"/>
                      </a:lnTo>
                      <a:lnTo>
                        <a:pt x="46788" y="1458591"/>
                      </a:lnTo>
                      <a:lnTo>
                        <a:pt x="43716" y="1458025"/>
                      </a:lnTo>
                      <a:lnTo>
                        <a:pt x="44743" y="1455757"/>
                      </a:lnTo>
                      <a:lnTo>
                        <a:pt x="45575" y="1452864"/>
                      </a:lnTo>
                      <a:lnTo>
                        <a:pt x="44366" y="1451047"/>
                      </a:lnTo>
                      <a:lnTo>
                        <a:pt x="43299" y="1448718"/>
                      </a:lnTo>
                      <a:lnTo>
                        <a:pt x="42652" y="1445693"/>
                      </a:lnTo>
                      <a:lnTo>
                        <a:pt x="42630" y="1441834"/>
                      </a:lnTo>
                      <a:lnTo>
                        <a:pt x="44058" y="1440266"/>
                      </a:lnTo>
                      <a:lnTo>
                        <a:pt x="57106" y="1438079"/>
                      </a:lnTo>
                      <a:lnTo>
                        <a:pt x="66217" y="1431124"/>
                      </a:lnTo>
                      <a:lnTo>
                        <a:pt x="70773" y="1428809"/>
                      </a:lnTo>
                      <a:lnTo>
                        <a:pt x="80641" y="1431623"/>
                      </a:lnTo>
                      <a:lnTo>
                        <a:pt x="85644" y="1430428"/>
                      </a:lnTo>
                      <a:lnTo>
                        <a:pt x="88468" y="1422266"/>
                      </a:lnTo>
                      <a:lnTo>
                        <a:pt x="91797" y="1419863"/>
                      </a:lnTo>
                      <a:lnTo>
                        <a:pt x="106274" y="1419442"/>
                      </a:lnTo>
                      <a:lnTo>
                        <a:pt x="110743" y="1417962"/>
                      </a:lnTo>
                      <a:lnTo>
                        <a:pt x="108603" y="1415849"/>
                      </a:lnTo>
                      <a:lnTo>
                        <a:pt x="107429" y="1415272"/>
                      </a:lnTo>
                      <a:lnTo>
                        <a:pt x="105991" y="1415436"/>
                      </a:lnTo>
                      <a:lnTo>
                        <a:pt x="108539" y="1411340"/>
                      </a:lnTo>
                      <a:lnTo>
                        <a:pt x="111518" y="1410316"/>
                      </a:lnTo>
                      <a:lnTo>
                        <a:pt x="114609" y="1410232"/>
                      </a:lnTo>
                      <a:lnTo>
                        <a:pt x="117475" y="1408845"/>
                      </a:lnTo>
                      <a:lnTo>
                        <a:pt x="123740" y="1400517"/>
                      </a:lnTo>
                      <a:lnTo>
                        <a:pt x="133022" y="1391921"/>
                      </a:lnTo>
                      <a:lnTo>
                        <a:pt x="135388" y="1391336"/>
                      </a:lnTo>
                      <a:lnTo>
                        <a:pt x="136354" y="1389621"/>
                      </a:lnTo>
                      <a:lnTo>
                        <a:pt x="137368" y="1385692"/>
                      </a:lnTo>
                      <a:lnTo>
                        <a:pt x="138603" y="1381781"/>
                      </a:lnTo>
                      <a:lnTo>
                        <a:pt x="140262" y="1380108"/>
                      </a:lnTo>
                      <a:lnTo>
                        <a:pt x="143347" y="1378165"/>
                      </a:lnTo>
                      <a:lnTo>
                        <a:pt x="158341" y="1358948"/>
                      </a:lnTo>
                      <a:lnTo>
                        <a:pt x="160045" y="1353732"/>
                      </a:lnTo>
                      <a:lnTo>
                        <a:pt x="159019" y="1351789"/>
                      </a:lnTo>
                      <a:lnTo>
                        <a:pt x="153327" y="1358698"/>
                      </a:lnTo>
                      <a:lnTo>
                        <a:pt x="147177" y="1363859"/>
                      </a:lnTo>
                      <a:lnTo>
                        <a:pt x="145411" y="1365892"/>
                      </a:lnTo>
                      <a:lnTo>
                        <a:pt x="142094" y="1370781"/>
                      </a:lnTo>
                      <a:lnTo>
                        <a:pt x="117211" y="1396057"/>
                      </a:lnTo>
                      <a:lnTo>
                        <a:pt x="101980" y="1404947"/>
                      </a:lnTo>
                      <a:lnTo>
                        <a:pt x="99775" y="1405228"/>
                      </a:lnTo>
                      <a:lnTo>
                        <a:pt x="97848" y="1406139"/>
                      </a:lnTo>
                      <a:lnTo>
                        <a:pt x="93654" y="1410700"/>
                      </a:lnTo>
                      <a:lnTo>
                        <a:pt x="91806" y="1411645"/>
                      </a:lnTo>
                      <a:lnTo>
                        <a:pt x="80962" y="1412697"/>
                      </a:lnTo>
                      <a:lnTo>
                        <a:pt x="75428" y="1411076"/>
                      </a:lnTo>
                      <a:lnTo>
                        <a:pt x="72618" y="1407624"/>
                      </a:lnTo>
                      <a:lnTo>
                        <a:pt x="75241" y="1399011"/>
                      </a:lnTo>
                      <a:lnTo>
                        <a:pt x="88249" y="1398266"/>
                      </a:lnTo>
                      <a:lnTo>
                        <a:pt x="92905" y="1392574"/>
                      </a:lnTo>
                      <a:lnTo>
                        <a:pt x="91232" y="1392474"/>
                      </a:lnTo>
                      <a:lnTo>
                        <a:pt x="87505" y="1391182"/>
                      </a:lnTo>
                      <a:lnTo>
                        <a:pt x="86187" y="1389840"/>
                      </a:lnTo>
                      <a:lnTo>
                        <a:pt x="84515" y="1387112"/>
                      </a:lnTo>
                      <a:lnTo>
                        <a:pt x="84513" y="1386307"/>
                      </a:lnTo>
                      <a:lnTo>
                        <a:pt x="84896" y="1383374"/>
                      </a:lnTo>
                      <a:lnTo>
                        <a:pt x="84902" y="1382612"/>
                      </a:lnTo>
                      <a:lnTo>
                        <a:pt x="81924" y="1381198"/>
                      </a:lnTo>
                      <a:lnTo>
                        <a:pt x="76023" y="1383752"/>
                      </a:lnTo>
                      <a:lnTo>
                        <a:pt x="72691" y="1383958"/>
                      </a:lnTo>
                      <a:lnTo>
                        <a:pt x="72899" y="1381573"/>
                      </a:lnTo>
                      <a:lnTo>
                        <a:pt x="78398" y="1376571"/>
                      </a:lnTo>
                      <a:lnTo>
                        <a:pt x="81153" y="1375340"/>
                      </a:lnTo>
                      <a:lnTo>
                        <a:pt x="84440" y="1375482"/>
                      </a:lnTo>
                      <a:lnTo>
                        <a:pt x="91311" y="1378499"/>
                      </a:lnTo>
                      <a:lnTo>
                        <a:pt x="95372" y="1378717"/>
                      </a:lnTo>
                      <a:lnTo>
                        <a:pt x="97415" y="1375402"/>
                      </a:lnTo>
                      <a:lnTo>
                        <a:pt x="119991" y="1377804"/>
                      </a:lnTo>
                      <a:lnTo>
                        <a:pt x="125190" y="1376521"/>
                      </a:lnTo>
                      <a:lnTo>
                        <a:pt x="120901" y="1373206"/>
                      </a:lnTo>
                      <a:lnTo>
                        <a:pt x="107511" y="1372691"/>
                      </a:lnTo>
                      <a:lnTo>
                        <a:pt x="97374" y="1369480"/>
                      </a:lnTo>
                      <a:lnTo>
                        <a:pt x="95321" y="1370140"/>
                      </a:lnTo>
                      <a:lnTo>
                        <a:pt x="91003" y="1373248"/>
                      </a:lnTo>
                      <a:lnTo>
                        <a:pt x="88573" y="1373464"/>
                      </a:lnTo>
                      <a:lnTo>
                        <a:pt x="89513" y="1370083"/>
                      </a:lnTo>
                      <a:lnTo>
                        <a:pt x="89961" y="1368850"/>
                      </a:lnTo>
                      <a:lnTo>
                        <a:pt x="85905" y="1366567"/>
                      </a:lnTo>
                      <a:lnTo>
                        <a:pt x="72734" y="1367363"/>
                      </a:lnTo>
                      <a:lnTo>
                        <a:pt x="68917" y="1369656"/>
                      </a:lnTo>
                      <a:lnTo>
                        <a:pt x="65408" y="1374730"/>
                      </a:lnTo>
                      <a:lnTo>
                        <a:pt x="61671" y="1378723"/>
                      </a:lnTo>
                      <a:lnTo>
                        <a:pt x="57253" y="1377852"/>
                      </a:lnTo>
                      <a:lnTo>
                        <a:pt x="59318" y="1374051"/>
                      </a:lnTo>
                      <a:lnTo>
                        <a:pt x="66250" y="1366794"/>
                      </a:lnTo>
                      <a:lnTo>
                        <a:pt x="68175" y="1363997"/>
                      </a:lnTo>
                      <a:lnTo>
                        <a:pt x="71415" y="1357754"/>
                      </a:lnTo>
                      <a:lnTo>
                        <a:pt x="73303" y="1355334"/>
                      </a:lnTo>
                      <a:lnTo>
                        <a:pt x="78685" y="1353430"/>
                      </a:lnTo>
                      <a:lnTo>
                        <a:pt x="84158" y="1354115"/>
                      </a:lnTo>
                      <a:lnTo>
                        <a:pt x="89357" y="1352909"/>
                      </a:lnTo>
                      <a:lnTo>
                        <a:pt x="93959" y="1345281"/>
                      </a:lnTo>
                      <a:lnTo>
                        <a:pt x="91274" y="1344994"/>
                      </a:lnTo>
                      <a:lnTo>
                        <a:pt x="83710" y="1349331"/>
                      </a:lnTo>
                      <a:lnTo>
                        <a:pt x="85282" y="1345059"/>
                      </a:lnTo>
                      <a:lnTo>
                        <a:pt x="87620" y="1341998"/>
                      </a:lnTo>
                      <a:lnTo>
                        <a:pt x="96831" y="1334255"/>
                      </a:lnTo>
                      <a:lnTo>
                        <a:pt x="97910" y="1333754"/>
                      </a:lnTo>
                      <a:lnTo>
                        <a:pt x="98878" y="1334540"/>
                      </a:lnTo>
                      <a:lnTo>
                        <a:pt x="99301" y="1336215"/>
                      </a:lnTo>
                      <a:lnTo>
                        <a:pt x="99547" y="1337889"/>
                      </a:lnTo>
                      <a:lnTo>
                        <a:pt x="99987" y="1338675"/>
                      </a:lnTo>
                      <a:lnTo>
                        <a:pt x="112037" y="1340547"/>
                      </a:lnTo>
                      <a:lnTo>
                        <a:pt x="115402" y="1343411"/>
                      </a:lnTo>
                      <a:lnTo>
                        <a:pt x="117060" y="1347699"/>
                      </a:lnTo>
                      <a:lnTo>
                        <a:pt x="119211" y="1351181"/>
                      </a:lnTo>
                      <a:lnTo>
                        <a:pt x="121708" y="1352487"/>
                      </a:lnTo>
                      <a:lnTo>
                        <a:pt x="124371" y="1350193"/>
                      </a:lnTo>
                      <a:lnTo>
                        <a:pt x="120935" y="1341283"/>
                      </a:lnTo>
                      <a:lnTo>
                        <a:pt x="115499" y="1339831"/>
                      </a:lnTo>
                      <a:lnTo>
                        <a:pt x="109633" y="1339033"/>
                      </a:lnTo>
                      <a:lnTo>
                        <a:pt x="104580" y="1336690"/>
                      </a:lnTo>
                      <a:lnTo>
                        <a:pt x="103543" y="1333650"/>
                      </a:lnTo>
                      <a:lnTo>
                        <a:pt x="103513" y="1326911"/>
                      </a:lnTo>
                      <a:lnTo>
                        <a:pt x="102919" y="1322116"/>
                      </a:lnTo>
                      <a:lnTo>
                        <a:pt x="101502" y="1318056"/>
                      </a:lnTo>
                      <a:lnTo>
                        <a:pt x="98222" y="1312440"/>
                      </a:lnTo>
                      <a:lnTo>
                        <a:pt x="97194" y="1307424"/>
                      </a:lnTo>
                      <a:lnTo>
                        <a:pt x="104317" y="1307279"/>
                      </a:lnTo>
                      <a:lnTo>
                        <a:pt x="107216" y="1308103"/>
                      </a:lnTo>
                      <a:lnTo>
                        <a:pt x="109697" y="1310824"/>
                      </a:lnTo>
                      <a:lnTo>
                        <a:pt x="109939" y="1312412"/>
                      </a:lnTo>
                      <a:lnTo>
                        <a:pt x="109629" y="1314433"/>
                      </a:lnTo>
                      <a:lnTo>
                        <a:pt x="109459" y="1316452"/>
                      </a:lnTo>
                      <a:lnTo>
                        <a:pt x="110065" y="1318184"/>
                      </a:lnTo>
                      <a:lnTo>
                        <a:pt x="111350" y="1318546"/>
                      </a:lnTo>
                      <a:lnTo>
                        <a:pt x="112885" y="1314522"/>
                      </a:lnTo>
                      <a:lnTo>
                        <a:pt x="114470" y="1313807"/>
                      </a:lnTo>
                      <a:lnTo>
                        <a:pt x="118022" y="1317957"/>
                      </a:lnTo>
                      <a:lnTo>
                        <a:pt x="124224" y="1332785"/>
                      </a:lnTo>
                      <a:lnTo>
                        <a:pt x="128476" y="1336296"/>
                      </a:lnTo>
                      <a:lnTo>
                        <a:pt x="119542" y="1319748"/>
                      </a:lnTo>
                      <a:lnTo>
                        <a:pt x="118364" y="1314130"/>
                      </a:lnTo>
                      <a:lnTo>
                        <a:pt x="121790" y="1308186"/>
                      </a:lnTo>
                      <a:lnTo>
                        <a:pt x="140739" y="1306482"/>
                      </a:lnTo>
                      <a:lnTo>
                        <a:pt x="135341" y="1303224"/>
                      </a:lnTo>
                      <a:lnTo>
                        <a:pt x="116141" y="1304470"/>
                      </a:lnTo>
                      <a:lnTo>
                        <a:pt x="116354" y="1301920"/>
                      </a:lnTo>
                      <a:lnTo>
                        <a:pt x="118200" y="1301154"/>
                      </a:lnTo>
                      <a:lnTo>
                        <a:pt x="121746" y="1298525"/>
                      </a:lnTo>
                      <a:lnTo>
                        <a:pt x="123682" y="1297782"/>
                      </a:lnTo>
                      <a:lnTo>
                        <a:pt x="120586" y="1294998"/>
                      </a:lnTo>
                      <a:lnTo>
                        <a:pt x="115276" y="1294345"/>
                      </a:lnTo>
                      <a:lnTo>
                        <a:pt x="112897" y="1290871"/>
                      </a:lnTo>
                      <a:lnTo>
                        <a:pt x="111443" y="1285327"/>
                      </a:lnTo>
                      <a:lnTo>
                        <a:pt x="112838" y="1283495"/>
                      </a:lnTo>
                      <a:lnTo>
                        <a:pt x="115807" y="1282824"/>
                      </a:lnTo>
                      <a:lnTo>
                        <a:pt x="119168" y="1280816"/>
                      </a:lnTo>
                      <a:lnTo>
                        <a:pt x="116260" y="1278668"/>
                      </a:lnTo>
                      <a:lnTo>
                        <a:pt x="114595" y="1273149"/>
                      </a:lnTo>
                      <a:lnTo>
                        <a:pt x="114211" y="1266042"/>
                      </a:lnTo>
                      <a:lnTo>
                        <a:pt x="115025" y="1259134"/>
                      </a:lnTo>
                      <a:lnTo>
                        <a:pt x="111211" y="1266439"/>
                      </a:lnTo>
                      <a:lnTo>
                        <a:pt x="108133" y="1277703"/>
                      </a:lnTo>
                      <a:lnTo>
                        <a:pt x="104125" y="1285232"/>
                      </a:lnTo>
                      <a:lnTo>
                        <a:pt x="97458" y="1281360"/>
                      </a:lnTo>
                      <a:lnTo>
                        <a:pt x="100983" y="1275983"/>
                      </a:lnTo>
                      <a:lnTo>
                        <a:pt x="104419" y="1272419"/>
                      </a:lnTo>
                      <a:lnTo>
                        <a:pt x="107297" y="1268257"/>
                      </a:lnTo>
                      <a:lnTo>
                        <a:pt x="109079" y="1261006"/>
                      </a:lnTo>
                      <a:lnTo>
                        <a:pt x="105406" y="1263974"/>
                      </a:lnTo>
                      <a:lnTo>
                        <a:pt x="98127" y="1276150"/>
                      </a:lnTo>
                      <a:lnTo>
                        <a:pt x="93851" y="1278678"/>
                      </a:lnTo>
                      <a:lnTo>
                        <a:pt x="89191" y="1276031"/>
                      </a:lnTo>
                      <a:lnTo>
                        <a:pt x="88583" y="1270102"/>
                      </a:lnTo>
                      <a:lnTo>
                        <a:pt x="90361" y="1262543"/>
                      </a:lnTo>
                      <a:lnTo>
                        <a:pt x="92867" y="1254907"/>
                      </a:lnTo>
                      <a:lnTo>
                        <a:pt x="90026" y="1254831"/>
                      </a:lnTo>
                      <a:lnTo>
                        <a:pt x="87688" y="1255956"/>
                      </a:lnTo>
                      <a:lnTo>
                        <a:pt x="85808" y="1255707"/>
                      </a:lnTo>
                      <a:lnTo>
                        <a:pt x="84267" y="1251576"/>
                      </a:lnTo>
                      <a:lnTo>
                        <a:pt x="84652" y="1250381"/>
                      </a:lnTo>
                      <a:lnTo>
                        <a:pt x="85238" y="1247013"/>
                      </a:lnTo>
                      <a:lnTo>
                        <a:pt x="85383" y="1242958"/>
                      </a:lnTo>
                      <a:lnTo>
                        <a:pt x="84408" y="1239723"/>
                      </a:lnTo>
                      <a:lnTo>
                        <a:pt x="86995" y="1235046"/>
                      </a:lnTo>
                      <a:lnTo>
                        <a:pt x="92397" y="1229018"/>
                      </a:lnTo>
                      <a:lnTo>
                        <a:pt x="94948" y="1225227"/>
                      </a:lnTo>
                      <a:lnTo>
                        <a:pt x="97840" y="1219348"/>
                      </a:lnTo>
                      <a:lnTo>
                        <a:pt x="99125" y="1217522"/>
                      </a:lnTo>
                      <a:lnTo>
                        <a:pt x="100628" y="1216113"/>
                      </a:lnTo>
                      <a:lnTo>
                        <a:pt x="103479" y="1214167"/>
                      </a:lnTo>
                      <a:lnTo>
                        <a:pt x="104939" y="1211763"/>
                      </a:lnTo>
                      <a:lnTo>
                        <a:pt x="108014" y="1208791"/>
                      </a:lnTo>
                      <a:lnTo>
                        <a:pt x="112249" y="1208798"/>
                      </a:lnTo>
                      <a:lnTo>
                        <a:pt x="116275" y="1210859"/>
                      </a:lnTo>
                      <a:lnTo>
                        <a:pt x="118800" y="1214234"/>
                      </a:lnTo>
                      <a:lnTo>
                        <a:pt x="119594" y="1216801"/>
                      </a:lnTo>
                      <a:lnTo>
                        <a:pt x="119995" y="1219079"/>
                      </a:lnTo>
                      <a:lnTo>
                        <a:pt x="120063" y="1221598"/>
                      </a:lnTo>
                      <a:lnTo>
                        <a:pt x="119850" y="1224969"/>
                      </a:lnTo>
                      <a:lnTo>
                        <a:pt x="120656" y="1226167"/>
                      </a:lnTo>
                      <a:lnTo>
                        <a:pt x="126609" y="1226717"/>
                      </a:lnTo>
                      <a:lnTo>
                        <a:pt x="125077" y="1228356"/>
                      </a:lnTo>
                      <a:lnTo>
                        <a:pt x="123328" y="1230922"/>
                      </a:lnTo>
                      <a:lnTo>
                        <a:pt x="121974" y="1234325"/>
                      </a:lnTo>
                      <a:lnTo>
                        <a:pt x="121657" y="1238395"/>
                      </a:lnTo>
                      <a:lnTo>
                        <a:pt x="122627" y="1238078"/>
                      </a:lnTo>
                      <a:lnTo>
                        <a:pt x="128177" y="1243438"/>
                      </a:lnTo>
                      <a:lnTo>
                        <a:pt x="133491" y="1241828"/>
                      </a:lnTo>
                      <a:lnTo>
                        <a:pt x="136227" y="1242107"/>
                      </a:lnTo>
                      <a:lnTo>
                        <a:pt x="139871" y="1247401"/>
                      </a:lnTo>
                      <a:lnTo>
                        <a:pt x="142292" y="1247427"/>
                      </a:lnTo>
                      <a:lnTo>
                        <a:pt x="144826" y="1246333"/>
                      </a:lnTo>
                      <a:lnTo>
                        <a:pt x="146685" y="1244944"/>
                      </a:lnTo>
                      <a:lnTo>
                        <a:pt x="145526" y="1241137"/>
                      </a:lnTo>
                      <a:lnTo>
                        <a:pt x="143039" y="1238792"/>
                      </a:lnTo>
                      <a:lnTo>
                        <a:pt x="140126" y="1237553"/>
                      </a:lnTo>
                      <a:lnTo>
                        <a:pt x="134409" y="1236749"/>
                      </a:lnTo>
                      <a:lnTo>
                        <a:pt x="132626" y="1235798"/>
                      </a:lnTo>
                      <a:lnTo>
                        <a:pt x="131479" y="1233615"/>
                      </a:lnTo>
                      <a:lnTo>
                        <a:pt x="130293" y="1229393"/>
                      </a:lnTo>
                      <a:lnTo>
                        <a:pt x="129872" y="1225631"/>
                      </a:lnTo>
                      <a:lnTo>
                        <a:pt x="129829" y="1221788"/>
                      </a:lnTo>
                      <a:lnTo>
                        <a:pt x="129260" y="1218705"/>
                      </a:lnTo>
                      <a:lnTo>
                        <a:pt x="125619" y="1216413"/>
                      </a:lnTo>
                      <a:lnTo>
                        <a:pt x="120745" y="1211813"/>
                      </a:lnTo>
                      <a:lnTo>
                        <a:pt x="119196" y="1209523"/>
                      </a:lnTo>
                      <a:lnTo>
                        <a:pt x="117444" y="1202513"/>
                      </a:lnTo>
                      <a:lnTo>
                        <a:pt x="119140" y="1198207"/>
                      </a:lnTo>
                      <a:lnTo>
                        <a:pt x="126660" y="1190998"/>
                      </a:lnTo>
                      <a:lnTo>
                        <a:pt x="129671" y="1186533"/>
                      </a:lnTo>
                      <a:lnTo>
                        <a:pt x="131376" y="1184950"/>
                      </a:lnTo>
                      <a:lnTo>
                        <a:pt x="133549" y="1184422"/>
                      </a:lnTo>
                      <a:lnTo>
                        <a:pt x="135243" y="1185904"/>
                      </a:lnTo>
                      <a:lnTo>
                        <a:pt x="136703" y="1188820"/>
                      </a:lnTo>
                      <a:lnTo>
                        <a:pt x="138431" y="1191460"/>
                      </a:lnTo>
                      <a:lnTo>
                        <a:pt x="141046" y="1192182"/>
                      </a:lnTo>
                      <a:lnTo>
                        <a:pt x="139588" y="1187518"/>
                      </a:lnTo>
                      <a:lnTo>
                        <a:pt x="141222" y="1179011"/>
                      </a:lnTo>
                      <a:lnTo>
                        <a:pt x="138991" y="1175919"/>
                      </a:lnTo>
                      <a:lnTo>
                        <a:pt x="135074" y="1176050"/>
                      </a:lnTo>
                      <a:lnTo>
                        <a:pt x="129253" y="1177941"/>
                      </a:lnTo>
                      <a:lnTo>
                        <a:pt x="127777" y="1177620"/>
                      </a:lnTo>
                      <a:lnTo>
                        <a:pt x="127396" y="1175259"/>
                      </a:lnTo>
                      <a:lnTo>
                        <a:pt x="128431" y="1169795"/>
                      </a:lnTo>
                      <a:lnTo>
                        <a:pt x="129137" y="1168244"/>
                      </a:lnTo>
                      <a:lnTo>
                        <a:pt x="130895" y="1166836"/>
                      </a:lnTo>
                      <a:lnTo>
                        <a:pt x="131713" y="1165324"/>
                      </a:lnTo>
                      <a:lnTo>
                        <a:pt x="132287" y="1162999"/>
                      </a:lnTo>
                      <a:lnTo>
                        <a:pt x="132909" y="1158023"/>
                      </a:lnTo>
                      <a:lnTo>
                        <a:pt x="133365" y="1156001"/>
                      </a:lnTo>
                      <a:lnTo>
                        <a:pt x="136474" y="1149239"/>
                      </a:lnTo>
                      <a:lnTo>
                        <a:pt x="139975" y="1144373"/>
                      </a:lnTo>
                      <a:lnTo>
                        <a:pt x="156050" y="1132379"/>
                      </a:lnTo>
                      <a:lnTo>
                        <a:pt x="160129" y="1131409"/>
                      </a:lnTo>
                      <a:lnTo>
                        <a:pt x="164436" y="1132457"/>
                      </a:lnTo>
                      <a:lnTo>
                        <a:pt x="173753" y="1137934"/>
                      </a:lnTo>
                      <a:lnTo>
                        <a:pt x="175284" y="1140398"/>
                      </a:lnTo>
                      <a:lnTo>
                        <a:pt x="177952" y="1145997"/>
                      </a:lnTo>
                      <a:lnTo>
                        <a:pt x="179808" y="1147877"/>
                      </a:lnTo>
                      <a:lnTo>
                        <a:pt x="182542" y="1148245"/>
                      </a:lnTo>
                      <a:lnTo>
                        <a:pt x="187926" y="1147106"/>
                      </a:lnTo>
                      <a:lnTo>
                        <a:pt x="190290" y="1148684"/>
                      </a:lnTo>
                      <a:lnTo>
                        <a:pt x="191285" y="1150876"/>
                      </a:lnTo>
                      <a:lnTo>
                        <a:pt x="192410" y="1156042"/>
                      </a:lnTo>
                      <a:lnTo>
                        <a:pt x="193485" y="1158410"/>
                      </a:lnTo>
                      <a:lnTo>
                        <a:pt x="194690" y="1159531"/>
                      </a:lnTo>
                      <a:lnTo>
                        <a:pt x="196995" y="1160298"/>
                      </a:lnTo>
                      <a:lnTo>
                        <a:pt x="198142" y="1161120"/>
                      </a:lnTo>
                      <a:lnTo>
                        <a:pt x="198915" y="1161263"/>
                      </a:lnTo>
                      <a:lnTo>
                        <a:pt x="199903" y="1160999"/>
                      </a:lnTo>
                      <a:lnTo>
                        <a:pt x="200678" y="1161112"/>
                      </a:lnTo>
                      <a:lnTo>
                        <a:pt x="200918" y="1162514"/>
                      </a:lnTo>
                      <a:lnTo>
                        <a:pt x="200671" y="1165485"/>
                      </a:lnTo>
                      <a:lnTo>
                        <a:pt x="200652" y="1166050"/>
                      </a:lnTo>
                      <a:lnTo>
                        <a:pt x="204753" y="1175810"/>
                      </a:lnTo>
                      <a:lnTo>
                        <a:pt x="207571" y="1174241"/>
                      </a:lnTo>
                      <a:lnTo>
                        <a:pt x="206706" y="1168674"/>
                      </a:lnTo>
                      <a:lnTo>
                        <a:pt x="204996" y="1161321"/>
                      </a:lnTo>
                      <a:lnTo>
                        <a:pt x="205308" y="1154545"/>
                      </a:lnTo>
                      <a:lnTo>
                        <a:pt x="203357" y="1150180"/>
                      </a:lnTo>
                      <a:lnTo>
                        <a:pt x="202528" y="1146972"/>
                      </a:lnTo>
                      <a:lnTo>
                        <a:pt x="202347" y="1143572"/>
                      </a:lnTo>
                      <a:lnTo>
                        <a:pt x="200992" y="1142171"/>
                      </a:lnTo>
                      <a:lnTo>
                        <a:pt x="191993" y="1141490"/>
                      </a:lnTo>
                      <a:lnTo>
                        <a:pt x="182487" y="1136230"/>
                      </a:lnTo>
                      <a:lnTo>
                        <a:pt x="177813" y="1131026"/>
                      </a:lnTo>
                      <a:lnTo>
                        <a:pt x="175825" y="1123869"/>
                      </a:lnTo>
                      <a:lnTo>
                        <a:pt x="178959" y="1122110"/>
                      </a:lnTo>
                      <a:lnTo>
                        <a:pt x="181703" y="1118725"/>
                      </a:lnTo>
                      <a:lnTo>
                        <a:pt x="182727" y="1114414"/>
                      </a:lnTo>
                      <a:lnTo>
                        <a:pt x="180756" y="1109844"/>
                      </a:lnTo>
                      <a:lnTo>
                        <a:pt x="183885" y="1104117"/>
                      </a:lnTo>
                      <a:lnTo>
                        <a:pt x="191695" y="1099694"/>
                      </a:lnTo>
                      <a:lnTo>
                        <a:pt x="194467" y="1094305"/>
                      </a:lnTo>
                      <a:lnTo>
                        <a:pt x="189112" y="1094161"/>
                      </a:lnTo>
                      <a:lnTo>
                        <a:pt x="178063" y="1100658"/>
                      </a:lnTo>
                      <a:lnTo>
                        <a:pt x="147435" y="1104817"/>
                      </a:lnTo>
                      <a:lnTo>
                        <a:pt x="148041" y="1103299"/>
                      </a:lnTo>
                      <a:lnTo>
                        <a:pt x="148358" y="1102224"/>
                      </a:lnTo>
                      <a:lnTo>
                        <a:pt x="148778" y="1101298"/>
                      </a:lnTo>
                      <a:lnTo>
                        <a:pt x="149711" y="1100259"/>
                      </a:lnTo>
                      <a:lnTo>
                        <a:pt x="148087" y="1098263"/>
                      </a:lnTo>
                      <a:lnTo>
                        <a:pt x="146253" y="1097449"/>
                      </a:lnTo>
                      <a:lnTo>
                        <a:pt x="142188" y="1097285"/>
                      </a:lnTo>
                      <a:lnTo>
                        <a:pt x="144865" y="1093438"/>
                      </a:lnTo>
                      <a:lnTo>
                        <a:pt x="154741" y="1083655"/>
                      </a:lnTo>
                      <a:lnTo>
                        <a:pt x="157912" y="1081767"/>
                      </a:lnTo>
                      <a:lnTo>
                        <a:pt x="162598" y="1080646"/>
                      </a:lnTo>
                      <a:lnTo>
                        <a:pt x="171913" y="1074895"/>
                      </a:lnTo>
                      <a:lnTo>
                        <a:pt x="197290" y="1070643"/>
                      </a:lnTo>
                      <a:lnTo>
                        <a:pt x="201005" y="1073085"/>
                      </a:lnTo>
                      <a:lnTo>
                        <a:pt x="202981" y="1073205"/>
                      </a:lnTo>
                      <a:lnTo>
                        <a:pt x="204064" y="1070070"/>
                      </a:lnTo>
                      <a:lnTo>
                        <a:pt x="205359" y="1068038"/>
                      </a:lnTo>
                      <a:lnTo>
                        <a:pt x="212955" y="1065898"/>
                      </a:lnTo>
                      <a:lnTo>
                        <a:pt x="215445" y="1064009"/>
                      </a:lnTo>
                      <a:lnTo>
                        <a:pt x="222931" y="1060951"/>
                      </a:lnTo>
                      <a:lnTo>
                        <a:pt x="234965" y="1050681"/>
                      </a:lnTo>
                      <a:lnTo>
                        <a:pt x="266260" y="1045183"/>
                      </a:lnTo>
                      <a:lnTo>
                        <a:pt x="270926" y="1047562"/>
                      </a:lnTo>
                      <a:lnTo>
                        <a:pt x="272614" y="1052965"/>
                      </a:lnTo>
                      <a:lnTo>
                        <a:pt x="269627" y="1057543"/>
                      </a:lnTo>
                      <a:lnTo>
                        <a:pt x="264645" y="1060473"/>
                      </a:lnTo>
                      <a:lnTo>
                        <a:pt x="260361" y="1061011"/>
                      </a:lnTo>
                      <a:lnTo>
                        <a:pt x="260181" y="1063608"/>
                      </a:lnTo>
                      <a:lnTo>
                        <a:pt x="272638" y="1064461"/>
                      </a:lnTo>
                      <a:lnTo>
                        <a:pt x="270838" y="1068964"/>
                      </a:lnTo>
                      <a:lnTo>
                        <a:pt x="266588" y="1075753"/>
                      </a:lnTo>
                      <a:lnTo>
                        <a:pt x="264851" y="1080275"/>
                      </a:lnTo>
                      <a:lnTo>
                        <a:pt x="263812" y="1086564"/>
                      </a:lnTo>
                      <a:lnTo>
                        <a:pt x="264387" y="1089975"/>
                      </a:lnTo>
                      <a:lnTo>
                        <a:pt x="265975" y="1090972"/>
                      </a:lnTo>
                      <a:lnTo>
                        <a:pt x="268021" y="1089956"/>
                      </a:lnTo>
                      <a:lnTo>
                        <a:pt x="269855" y="1087343"/>
                      </a:lnTo>
                      <a:lnTo>
                        <a:pt x="274238" y="1079292"/>
                      </a:lnTo>
                      <a:lnTo>
                        <a:pt x="276685" y="1076340"/>
                      </a:lnTo>
                      <a:lnTo>
                        <a:pt x="279968" y="1074826"/>
                      </a:lnTo>
                      <a:lnTo>
                        <a:pt x="290074" y="1075072"/>
                      </a:lnTo>
                      <a:lnTo>
                        <a:pt x="295084" y="1072722"/>
                      </a:lnTo>
                      <a:lnTo>
                        <a:pt x="296984" y="1072943"/>
                      </a:lnTo>
                      <a:lnTo>
                        <a:pt x="298420" y="1073980"/>
                      </a:lnTo>
                      <a:lnTo>
                        <a:pt x="300863" y="1076903"/>
                      </a:lnTo>
                      <a:lnTo>
                        <a:pt x="305119" y="1080024"/>
                      </a:lnTo>
                      <a:lnTo>
                        <a:pt x="306383" y="1079512"/>
                      </a:lnTo>
                      <a:lnTo>
                        <a:pt x="307213" y="1076182"/>
                      </a:lnTo>
                      <a:lnTo>
                        <a:pt x="307015" y="1072701"/>
                      </a:lnTo>
                      <a:lnTo>
                        <a:pt x="305783" y="1071480"/>
                      </a:lnTo>
                      <a:lnTo>
                        <a:pt x="299494" y="1069566"/>
                      </a:lnTo>
                      <a:lnTo>
                        <a:pt x="289446" y="1070095"/>
                      </a:lnTo>
                      <a:lnTo>
                        <a:pt x="276435" y="1064718"/>
                      </a:lnTo>
                      <a:lnTo>
                        <a:pt x="281642" y="1052994"/>
                      </a:lnTo>
                      <a:lnTo>
                        <a:pt x="289755" y="1047259"/>
                      </a:lnTo>
                      <a:lnTo>
                        <a:pt x="298369" y="1046541"/>
                      </a:lnTo>
                      <a:lnTo>
                        <a:pt x="305177" y="1049828"/>
                      </a:lnTo>
                      <a:lnTo>
                        <a:pt x="303699" y="1053341"/>
                      </a:lnTo>
                      <a:lnTo>
                        <a:pt x="299750" y="1057768"/>
                      </a:lnTo>
                      <a:lnTo>
                        <a:pt x="297739" y="1061389"/>
                      </a:lnTo>
                      <a:lnTo>
                        <a:pt x="301691" y="1061164"/>
                      </a:lnTo>
                      <a:lnTo>
                        <a:pt x="308881" y="1054265"/>
                      </a:lnTo>
                      <a:lnTo>
                        <a:pt x="328175" y="1049976"/>
                      </a:lnTo>
                      <a:lnTo>
                        <a:pt x="330086" y="1049023"/>
                      </a:lnTo>
                      <a:lnTo>
                        <a:pt x="331686" y="1046106"/>
                      </a:lnTo>
                      <a:lnTo>
                        <a:pt x="332751" y="1042251"/>
                      </a:lnTo>
                      <a:lnTo>
                        <a:pt x="334001" y="1038902"/>
                      </a:lnTo>
                      <a:lnTo>
                        <a:pt x="337779" y="1036862"/>
                      </a:lnTo>
                      <a:lnTo>
                        <a:pt x="340153" y="1033622"/>
                      </a:lnTo>
                      <a:lnTo>
                        <a:pt x="345151" y="1031964"/>
                      </a:lnTo>
                      <a:lnTo>
                        <a:pt x="348959" y="1028935"/>
                      </a:lnTo>
                      <a:lnTo>
                        <a:pt x="352273" y="1024256"/>
                      </a:lnTo>
                      <a:lnTo>
                        <a:pt x="353916" y="1018319"/>
                      </a:lnTo>
                      <a:lnTo>
                        <a:pt x="352257" y="1015008"/>
                      </a:lnTo>
                      <a:lnTo>
                        <a:pt x="347913" y="1016907"/>
                      </a:lnTo>
                      <a:lnTo>
                        <a:pt x="340321" y="1023399"/>
                      </a:lnTo>
                      <a:lnTo>
                        <a:pt x="328375" y="1026843"/>
                      </a:lnTo>
                      <a:lnTo>
                        <a:pt x="324634" y="1029770"/>
                      </a:lnTo>
                      <a:lnTo>
                        <a:pt x="320913" y="1037743"/>
                      </a:lnTo>
                      <a:lnTo>
                        <a:pt x="319739" y="1038909"/>
                      </a:lnTo>
                      <a:lnTo>
                        <a:pt x="305505" y="1034749"/>
                      </a:lnTo>
                      <a:lnTo>
                        <a:pt x="302394" y="1032870"/>
                      </a:lnTo>
                      <a:lnTo>
                        <a:pt x="300424" y="1028993"/>
                      </a:lnTo>
                      <a:lnTo>
                        <a:pt x="299011" y="1028069"/>
                      </a:lnTo>
                      <a:lnTo>
                        <a:pt x="296857" y="1030141"/>
                      </a:lnTo>
                      <a:lnTo>
                        <a:pt x="296745" y="1034266"/>
                      </a:lnTo>
                      <a:lnTo>
                        <a:pt x="294112" y="1038747"/>
                      </a:lnTo>
                      <a:lnTo>
                        <a:pt x="290446" y="1042326"/>
                      </a:lnTo>
                      <a:lnTo>
                        <a:pt x="279150" y="1045792"/>
                      </a:lnTo>
                      <a:lnTo>
                        <a:pt x="275305" y="1044517"/>
                      </a:lnTo>
                      <a:lnTo>
                        <a:pt x="273486" y="1038048"/>
                      </a:lnTo>
                      <a:lnTo>
                        <a:pt x="280425" y="1033989"/>
                      </a:lnTo>
                      <a:lnTo>
                        <a:pt x="279147" y="1031915"/>
                      </a:lnTo>
                      <a:lnTo>
                        <a:pt x="277579" y="1030104"/>
                      </a:lnTo>
                      <a:lnTo>
                        <a:pt x="275881" y="1028889"/>
                      </a:lnTo>
                      <a:lnTo>
                        <a:pt x="274130" y="1028628"/>
                      </a:lnTo>
                      <a:lnTo>
                        <a:pt x="272392" y="1029668"/>
                      </a:lnTo>
                      <a:lnTo>
                        <a:pt x="263376" y="1038442"/>
                      </a:lnTo>
                      <a:lnTo>
                        <a:pt x="258339" y="1039333"/>
                      </a:lnTo>
                      <a:lnTo>
                        <a:pt x="250568" y="1043049"/>
                      </a:lnTo>
                      <a:lnTo>
                        <a:pt x="238625" y="1041282"/>
                      </a:lnTo>
                      <a:lnTo>
                        <a:pt x="232955" y="1042523"/>
                      </a:lnTo>
                      <a:lnTo>
                        <a:pt x="220547" y="1054228"/>
                      </a:lnTo>
                      <a:lnTo>
                        <a:pt x="200903" y="1063369"/>
                      </a:lnTo>
                      <a:lnTo>
                        <a:pt x="197016" y="1061139"/>
                      </a:lnTo>
                      <a:lnTo>
                        <a:pt x="196286" y="1054635"/>
                      </a:lnTo>
                      <a:lnTo>
                        <a:pt x="199904" y="1050522"/>
                      </a:lnTo>
                      <a:lnTo>
                        <a:pt x="204915" y="1047502"/>
                      </a:lnTo>
                      <a:lnTo>
                        <a:pt x="208391" y="1044264"/>
                      </a:lnTo>
                      <a:lnTo>
                        <a:pt x="211868" y="1038882"/>
                      </a:lnTo>
                      <a:lnTo>
                        <a:pt x="216158" y="1035025"/>
                      </a:lnTo>
                      <a:lnTo>
                        <a:pt x="239150" y="1022431"/>
                      </a:lnTo>
                      <a:lnTo>
                        <a:pt x="263129" y="1024222"/>
                      </a:lnTo>
                      <a:lnTo>
                        <a:pt x="268913" y="1021391"/>
                      </a:lnTo>
                      <a:lnTo>
                        <a:pt x="265143" y="1017916"/>
                      </a:lnTo>
                      <a:lnTo>
                        <a:pt x="250949" y="1017544"/>
                      </a:lnTo>
                      <a:lnTo>
                        <a:pt x="252290" y="1013986"/>
                      </a:lnTo>
                      <a:lnTo>
                        <a:pt x="254083" y="1012336"/>
                      </a:lnTo>
                      <a:lnTo>
                        <a:pt x="258154" y="1010971"/>
                      </a:lnTo>
                      <a:lnTo>
                        <a:pt x="255664" y="1008709"/>
                      </a:lnTo>
                      <a:lnTo>
                        <a:pt x="253249" y="1008764"/>
                      </a:lnTo>
                      <a:lnTo>
                        <a:pt x="248184" y="1010268"/>
                      </a:lnTo>
                      <a:lnTo>
                        <a:pt x="246116" y="1009740"/>
                      </a:lnTo>
                      <a:lnTo>
                        <a:pt x="245254" y="1008494"/>
                      </a:lnTo>
                      <a:lnTo>
                        <a:pt x="244641" y="1006321"/>
                      </a:lnTo>
                      <a:lnTo>
                        <a:pt x="243441" y="1003032"/>
                      </a:lnTo>
                      <a:lnTo>
                        <a:pt x="241180" y="998625"/>
                      </a:lnTo>
                      <a:lnTo>
                        <a:pt x="239565" y="996731"/>
                      </a:lnTo>
                      <a:lnTo>
                        <a:pt x="238890" y="998545"/>
                      </a:lnTo>
                      <a:lnTo>
                        <a:pt x="239488" y="1005118"/>
                      </a:lnTo>
                      <a:lnTo>
                        <a:pt x="241388" y="1009825"/>
                      </a:lnTo>
                      <a:lnTo>
                        <a:pt x="242103" y="1013093"/>
                      </a:lnTo>
                      <a:lnTo>
                        <a:pt x="241187" y="1014479"/>
                      </a:lnTo>
                      <a:lnTo>
                        <a:pt x="239148" y="1014954"/>
                      </a:lnTo>
                      <a:lnTo>
                        <a:pt x="225945" y="1022487"/>
                      </a:lnTo>
                      <a:lnTo>
                        <a:pt x="223893" y="1022929"/>
                      </a:lnTo>
                      <a:lnTo>
                        <a:pt x="216228" y="1019567"/>
                      </a:lnTo>
                      <a:lnTo>
                        <a:pt x="213620" y="1019568"/>
                      </a:lnTo>
                      <a:lnTo>
                        <a:pt x="215193" y="1017641"/>
                      </a:lnTo>
                      <a:lnTo>
                        <a:pt x="216943" y="1014568"/>
                      </a:lnTo>
                      <a:lnTo>
                        <a:pt x="217703" y="1011690"/>
                      </a:lnTo>
                      <a:lnTo>
                        <a:pt x="216221" y="1010310"/>
                      </a:lnTo>
                      <a:lnTo>
                        <a:pt x="213904" y="1010687"/>
                      </a:lnTo>
                      <a:lnTo>
                        <a:pt x="208295" y="1014426"/>
                      </a:lnTo>
                      <a:lnTo>
                        <a:pt x="203880" y="1014939"/>
                      </a:lnTo>
                      <a:lnTo>
                        <a:pt x="200309" y="1012719"/>
                      </a:lnTo>
                      <a:lnTo>
                        <a:pt x="197690" y="1007607"/>
                      </a:lnTo>
                      <a:lnTo>
                        <a:pt x="196143" y="999515"/>
                      </a:lnTo>
                      <a:lnTo>
                        <a:pt x="216385" y="990991"/>
                      </a:lnTo>
                      <a:lnTo>
                        <a:pt x="221164" y="982263"/>
                      </a:lnTo>
                      <a:lnTo>
                        <a:pt x="220585" y="980807"/>
                      </a:lnTo>
                      <a:lnTo>
                        <a:pt x="220125" y="978812"/>
                      </a:lnTo>
                      <a:lnTo>
                        <a:pt x="219877" y="976411"/>
                      </a:lnTo>
                      <a:lnTo>
                        <a:pt x="219906" y="973759"/>
                      </a:lnTo>
                      <a:lnTo>
                        <a:pt x="219077" y="971285"/>
                      </a:lnTo>
                      <a:lnTo>
                        <a:pt x="212856" y="967220"/>
                      </a:lnTo>
                      <a:lnTo>
                        <a:pt x="214878" y="965538"/>
                      </a:lnTo>
                      <a:lnTo>
                        <a:pt x="217051" y="965109"/>
                      </a:lnTo>
                      <a:lnTo>
                        <a:pt x="221458" y="965706"/>
                      </a:lnTo>
                      <a:lnTo>
                        <a:pt x="221635" y="963349"/>
                      </a:lnTo>
                      <a:lnTo>
                        <a:pt x="219651" y="962015"/>
                      </a:lnTo>
                      <a:lnTo>
                        <a:pt x="215308" y="961351"/>
                      </a:lnTo>
                      <a:lnTo>
                        <a:pt x="213394" y="960149"/>
                      </a:lnTo>
                      <a:lnTo>
                        <a:pt x="212240" y="957551"/>
                      </a:lnTo>
                      <a:lnTo>
                        <a:pt x="211799" y="954470"/>
                      </a:lnTo>
                      <a:lnTo>
                        <a:pt x="211158" y="951810"/>
                      </a:lnTo>
                      <a:lnTo>
                        <a:pt x="209373" y="950587"/>
                      </a:lnTo>
                      <a:lnTo>
                        <a:pt x="205593" y="949989"/>
                      </a:lnTo>
                      <a:lnTo>
                        <a:pt x="202458" y="948619"/>
                      </a:lnTo>
                      <a:lnTo>
                        <a:pt x="199646" y="946145"/>
                      </a:lnTo>
                      <a:lnTo>
                        <a:pt x="196717" y="942307"/>
                      </a:lnTo>
                      <a:lnTo>
                        <a:pt x="215184" y="936608"/>
                      </a:lnTo>
                      <a:lnTo>
                        <a:pt x="216622" y="937492"/>
                      </a:lnTo>
                      <a:lnTo>
                        <a:pt x="219092" y="941077"/>
                      </a:lnTo>
                      <a:lnTo>
                        <a:pt x="226077" y="944759"/>
                      </a:lnTo>
                      <a:lnTo>
                        <a:pt x="229061" y="947561"/>
                      </a:lnTo>
                      <a:lnTo>
                        <a:pt x="230210" y="950863"/>
                      </a:lnTo>
                      <a:lnTo>
                        <a:pt x="230310" y="955737"/>
                      </a:lnTo>
                      <a:lnTo>
                        <a:pt x="230836" y="960050"/>
                      </a:lnTo>
                      <a:lnTo>
                        <a:pt x="230974" y="963658"/>
                      </a:lnTo>
                      <a:lnTo>
                        <a:pt x="229931" y="966333"/>
                      </a:lnTo>
                      <a:lnTo>
                        <a:pt x="229772" y="968480"/>
                      </a:lnTo>
                      <a:lnTo>
                        <a:pt x="248647" y="969296"/>
                      </a:lnTo>
                      <a:lnTo>
                        <a:pt x="253773" y="965683"/>
                      </a:lnTo>
                      <a:lnTo>
                        <a:pt x="238538" y="966974"/>
                      </a:lnTo>
                      <a:lnTo>
                        <a:pt x="235820" y="964394"/>
                      </a:lnTo>
                      <a:lnTo>
                        <a:pt x="236751" y="958621"/>
                      </a:lnTo>
                      <a:lnTo>
                        <a:pt x="239035" y="953708"/>
                      </a:lnTo>
                      <a:lnTo>
                        <a:pt x="239771" y="949940"/>
                      </a:lnTo>
                      <a:lnTo>
                        <a:pt x="236038" y="947637"/>
                      </a:lnTo>
                      <a:lnTo>
                        <a:pt x="236212" y="945279"/>
                      </a:lnTo>
                      <a:lnTo>
                        <a:pt x="239748" y="944873"/>
                      </a:lnTo>
                      <a:lnTo>
                        <a:pt x="246359" y="940187"/>
                      </a:lnTo>
                      <a:lnTo>
                        <a:pt x="249971" y="939163"/>
                      </a:lnTo>
                      <a:lnTo>
                        <a:pt x="261635" y="940946"/>
                      </a:lnTo>
                      <a:lnTo>
                        <a:pt x="265145" y="938935"/>
                      </a:lnTo>
                      <a:lnTo>
                        <a:pt x="268474" y="937897"/>
                      </a:lnTo>
                      <a:lnTo>
                        <a:pt x="272208" y="940059"/>
                      </a:lnTo>
                      <a:lnTo>
                        <a:pt x="278832" y="946111"/>
                      </a:lnTo>
                      <a:lnTo>
                        <a:pt x="285555" y="949839"/>
                      </a:lnTo>
                      <a:lnTo>
                        <a:pt x="292608" y="951579"/>
                      </a:lnTo>
                      <a:lnTo>
                        <a:pt x="289918" y="946125"/>
                      </a:lnTo>
                      <a:lnTo>
                        <a:pt x="286598" y="943068"/>
                      </a:lnTo>
                      <a:lnTo>
                        <a:pt x="267296" y="936123"/>
                      </a:lnTo>
                      <a:lnTo>
                        <a:pt x="264594" y="932888"/>
                      </a:lnTo>
                      <a:lnTo>
                        <a:pt x="271718" y="926275"/>
                      </a:lnTo>
                      <a:lnTo>
                        <a:pt x="285177" y="919240"/>
                      </a:lnTo>
                      <a:lnTo>
                        <a:pt x="302233" y="921221"/>
                      </a:lnTo>
                      <a:lnTo>
                        <a:pt x="297179" y="917081"/>
                      </a:lnTo>
                      <a:lnTo>
                        <a:pt x="271661" y="918571"/>
                      </a:lnTo>
                      <a:lnTo>
                        <a:pt x="267282" y="921440"/>
                      </a:lnTo>
                      <a:lnTo>
                        <a:pt x="259714" y="932885"/>
                      </a:lnTo>
                      <a:lnTo>
                        <a:pt x="255872" y="934518"/>
                      </a:lnTo>
                      <a:lnTo>
                        <a:pt x="247462" y="934257"/>
                      </a:lnTo>
                      <a:lnTo>
                        <a:pt x="238349" y="936518"/>
                      </a:lnTo>
                      <a:lnTo>
                        <a:pt x="234062" y="936036"/>
                      </a:lnTo>
                      <a:lnTo>
                        <a:pt x="229574" y="932955"/>
                      </a:lnTo>
                      <a:lnTo>
                        <a:pt x="230689" y="927027"/>
                      </a:lnTo>
                      <a:lnTo>
                        <a:pt x="232078" y="923870"/>
                      </a:lnTo>
                      <a:lnTo>
                        <a:pt x="236261" y="919014"/>
                      </a:lnTo>
                      <a:lnTo>
                        <a:pt x="235433" y="917938"/>
                      </a:lnTo>
                      <a:lnTo>
                        <a:pt x="234640" y="916525"/>
                      </a:lnTo>
                      <a:lnTo>
                        <a:pt x="237232" y="913583"/>
                      </a:lnTo>
                      <a:lnTo>
                        <a:pt x="242533" y="913080"/>
                      </a:lnTo>
                      <a:lnTo>
                        <a:pt x="248795" y="910105"/>
                      </a:lnTo>
                      <a:lnTo>
                        <a:pt x="255376" y="913071"/>
                      </a:lnTo>
                      <a:lnTo>
                        <a:pt x="258523" y="911166"/>
                      </a:lnTo>
                      <a:lnTo>
                        <a:pt x="254591" y="908094"/>
                      </a:lnTo>
                      <a:lnTo>
                        <a:pt x="237823" y="906940"/>
                      </a:lnTo>
                      <a:lnTo>
                        <a:pt x="227357" y="899650"/>
                      </a:lnTo>
                      <a:lnTo>
                        <a:pt x="230537" y="894807"/>
                      </a:lnTo>
                      <a:lnTo>
                        <a:pt x="233535" y="896425"/>
                      </a:lnTo>
                      <a:lnTo>
                        <a:pt x="236519" y="899607"/>
                      </a:lnTo>
                      <a:lnTo>
                        <a:pt x="239667" y="899372"/>
                      </a:lnTo>
                      <a:lnTo>
                        <a:pt x="243061" y="897757"/>
                      </a:lnTo>
                      <a:lnTo>
                        <a:pt x="246113" y="899290"/>
                      </a:lnTo>
                      <a:lnTo>
                        <a:pt x="248927" y="901947"/>
                      </a:lnTo>
                      <a:lnTo>
                        <a:pt x="251561" y="903562"/>
                      </a:lnTo>
                      <a:lnTo>
                        <a:pt x="255236" y="903004"/>
                      </a:lnTo>
                      <a:lnTo>
                        <a:pt x="262316" y="899670"/>
                      </a:lnTo>
                      <a:lnTo>
                        <a:pt x="265965" y="900066"/>
                      </a:lnTo>
                      <a:lnTo>
                        <a:pt x="275018" y="906985"/>
                      </a:lnTo>
                      <a:lnTo>
                        <a:pt x="278524" y="908042"/>
                      </a:lnTo>
                      <a:lnTo>
                        <a:pt x="275686" y="899936"/>
                      </a:lnTo>
                      <a:lnTo>
                        <a:pt x="270224" y="894638"/>
                      </a:lnTo>
                      <a:lnTo>
                        <a:pt x="241763" y="883472"/>
                      </a:lnTo>
                      <a:lnTo>
                        <a:pt x="236419" y="878790"/>
                      </a:lnTo>
                      <a:lnTo>
                        <a:pt x="240857" y="875632"/>
                      </a:lnTo>
                      <a:lnTo>
                        <a:pt x="272936" y="881398"/>
                      </a:lnTo>
                      <a:lnTo>
                        <a:pt x="273825" y="882559"/>
                      </a:lnTo>
                      <a:lnTo>
                        <a:pt x="275717" y="887585"/>
                      </a:lnTo>
                      <a:lnTo>
                        <a:pt x="277141" y="888783"/>
                      </a:lnTo>
                      <a:lnTo>
                        <a:pt x="299684" y="891077"/>
                      </a:lnTo>
                      <a:lnTo>
                        <a:pt x="303391" y="888178"/>
                      </a:lnTo>
                      <a:lnTo>
                        <a:pt x="300749" y="885635"/>
                      </a:lnTo>
                      <a:lnTo>
                        <a:pt x="300906" y="883290"/>
                      </a:lnTo>
                      <a:lnTo>
                        <a:pt x="314592" y="885057"/>
                      </a:lnTo>
                      <a:lnTo>
                        <a:pt x="321844" y="883576"/>
                      </a:lnTo>
                      <a:lnTo>
                        <a:pt x="327545" y="877707"/>
                      </a:lnTo>
                      <a:lnTo>
                        <a:pt x="303253" y="876143"/>
                      </a:lnTo>
                      <a:lnTo>
                        <a:pt x="298384" y="877315"/>
                      </a:lnTo>
                      <a:lnTo>
                        <a:pt x="288966" y="882438"/>
                      </a:lnTo>
                      <a:lnTo>
                        <a:pt x="284156" y="882168"/>
                      </a:lnTo>
                      <a:lnTo>
                        <a:pt x="280539" y="878354"/>
                      </a:lnTo>
                      <a:lnTo>
                        <a:pt x="280361" y="873181"/>
                      </a:lnTo>
                      <a:lnTo>
                        <a:pt x="282818" y="868399"/>
                      </a:lnTo>
                      <a:lnTo>
                        <a:pt x="287147" y="865816"/>
                      </a:lnTo>
                      <a:lnTo>
                        <a:pt x="304438" y="870862"/>
                      </a:lnTo>
                      <a:lnTo>
                        <a:pt x="309448" y="867298"/>
                      </a:lnTo>
                      <a:lnTo>
                        <a:pt x="305281" y="864348"/>
                      </a:lnTo>
                      <a:lnTo>
                        <a:pt x="284044" y="860275"/>
                      </a:lnTo>
                      <a:lnTo>
                        <a:pt x="282248" y="861816"/>
                      </a:lnTo>
                      <a:lnTo>
                        <a:pt x="281141" y="862052"/>
                      </a:lnTo>
                      <a:lnTo>
                        <a:pt x="276474" y="857979"/>
                      </a:lnTo>
                      <a:lnTo>
                        <a:pt x="281698" y="851090"/>
                      </a:lnTo>
                      <a:lnTo>
                        <a:pt x="291408" y="849466"/>
                      </a:lnTo>
                      <a:lnTo>
                        <a:pt x="301550" y="851100"/>
                      </a:lnTo>
                      <a:lnTo>
                        <a:pt x="312239" y="856792"/>
                      </a:lnTo>
                      <a:lnTo>
                        <a:pt x="342734" y="859719"/>
                      </a:lnTo>
                      <a:lnTo>
                        <a:pt x="336839" y="855732"/>
                      </a:lnTo>
                      <a:lnTo>
                        <a:pt x="317122" y="851245"/>
                      </a:lnTo>
                      <a:lnTo>
                        <a:pt x="315036" y="849685"/>
                      </a:lnTo>
                      <a:lnTo>
                        <a:pt x="311800" y="843004"/>
                      </a:lnTo>
                      <a:lnTo>
                        <a:pt x="309311" y="841037"/>
                      </a:lnTo>
                      <a:lnTo>
                        <a:pt x="304251" y="842552"/>
                      </a:lnTo>
                      <a:lnTo>
                        <a:pt x="302338" y="841453"/>
                      </a:lnTo>
                      <a:lnTo>
                        <a:pt x="301297" y="835800"/>
                      </a:lnTo>
                      <a:lnTo>
                        <a:pt x="302180" y="835521"/>
                      </a:lnTo>
                      <a:lnTo>
                        <a:pt x="303515" y="834129"/>
                      </a:lnTo>
                      <a:lnTo>
                        <a:pt x="304214" y="833625"/>
                      </a:lnTo>
                      <a:lnTo>
                        <a:pt x="302524" y="832371"/>
                      </a:lnTo>
                      <a:lnTo>
                        <a:pt x="298763" y="831275"/>
                      </a:lnTo>
                      <a:lnTo>
                        <a:pt x="297075" y="829682"/>
                      </a:lnTo>
                      <a:lnTo>
                        <a:pt x="296393" y="827310"/>
                      </a:lnTo>
                      <a:lnTo>
                        <a:pt x="296590" y="821443"/>
                      </a:lnTo>
                      <a:lnTo>
                        <a:pt x="296016" y="818655"/>
                      </a:lnTo>
                      <a:lnTo>
                        <a:pt x="292816" y="815915"/>
                      </a:lnTo>
                      <a:lnTo>
                        <a:pt x="284769" y="817893"/>
                      </a:lnTo>
                      <a:lnTo>
                        <a:pt x="281292" y="815525"/>
                      </a:lnTo>
                      <a:lnTo>
                        <a:pt x="284771" y="810180"/>
                      </a:lnTo>
                      <a:lnTo>
                        <a:pt x="287903" y="806756"/>
                      </a:lnTo>
                      <a:lnTo>
                        <a:pt x="291385" y="804975"/>
                      </a:lnTo>
                      <a:lnTo>
                        <a:pt x="312278" y="806788"/>
                      </a:lnTo>
                      <a:lnTo>
                        <a:pt x="317325" y="803944"/>
                      </a:lnTo>
                      <a:lnTo>
                        <a:pt x="316443" y="802238"/>
                      </a:lnTo>
                      <a:lnTo>
                        <a:pt x="315935" y="800386"/>
                      </a:lnTo>
                      <a:lnTo>
                        <a:pt x="315112" y="796272"/>
                      </a:lnTo>
                      <a:lnTo>
                        <a:pt x="325665" y="798250"/>
                      </a:lnTo>
                      <a:lnTo>
                        <a:pt x="328957" y="797162"/>
                      </a:lnTo>
                      <a:lnTo>
                        <a:pt x="329895" y="795952"/>
                      </a:lnTo>
                      <a:lnTo>
                        <a:pt x="331915" y="791936"/>
                      </a:lnTo>
                      <a:lnTo>
                        <a:pt x="333099" y="790319"/>
                      </a:lnTo>
                      <a:lnTo>
                        <a:pt x="334730" y="789111"/>
                      </a:lnTo>
                      <a:lnTo>
                        <a:pt x="336340" y="788577"/>
                      </a:lnTo>
                      <a:lnTo>
                        <a:pt x="339756" y="788579"/>
                      </a:lnTo>
                      <a:lnTo>
                        <a:pt x="344366" y="788865"/>
                      </a:lnTo>
                      <a:lnTo>
                        <a:pt x="341914" y="795830"/>
                      </a:lnTo>
                      <a:lnTo>
                        <a:pt x="338840" y="798417"/>
                      </a:lnTo>
                      <a:lnTo>
                        <a:pt x="335532" y="799606"/>
                      </a:lnTo>
                      <a:lnTo>
                        <a:pt x="332335" y="802323"/>
                      </a:lnTo>
                      <a:lnTo>
                        <a:pt x="335492" y="811064"/>
                      </a:lnTo>
                      <a:lnTo>
                        <a:pt x="337658" y="813524"/>
                      </a:lnTo>
                      <a:lnTo>
                        <a:pt x="341064" y="812087"/>
                      </a:lnTo>
                      <a:lnTo>
                        <a:pt x="340127" y="811690"/>
                      </a:lnTo>
                      <a:lnTo>
                        <a:pt x="337498" y="809738"/>
                      </a:lnTo>
                      <a:lnTo>
                        <a:pt x="344475" y="803079"/>
                      </a:lnTo>
                      <a:lnTo>
                        <a:pt x="344850" y="802003"/>
                      </a:lnTo>
                      <a:lnTo>
                        <a:pt x="345076" y="800325"/>
                      </a:lnTo>
                      <a:lnTo>
                        <a:pt x="345510" y="798843"/>
                      </a:lnTo>
                      <a:lnTo>
                        <a:pt x="346539" y="798259"/>
                      </a:lnTo>
                      <a:lnTo>
                        <a:pt x="350223" y="798991"/>
                      </a:lnTo>
                      <a:lnTo>
                        <a:pt x="351243" y="798546"/>
                      </a:lnTo>
                      <a:lnTo>
                        <a:pt x="353673" y="794156"/>
                      </a:lnTo>
                      <a:lnTo>
                        <a:pt x="353829" y="789274"/>
                      </a:lnTo>
                      <a:lnTo>
                        <a:pt x="352537" y="784291"/>
                      </a:lnTo>
                      <a:lnTo>
                        <a:pt x="350581" y="779563"/>
                      </a:lnTo>
                      <a:lnTo>
                        <a:pt x="351936" y="777053"/>
                      </a:lnTo>
                      <a:lnTo>
                        <a:pt x="353635" y="770701"/>
                      </a:lnTo>
                      <a:lnTo>
                        <a:pt x="354786" y="768233"/>
                      </a:lnTo>
                      <a:lnTo>
                        <a:pt x="357528" y="766708"/>
                      </a:lnTo>
                      <a:lnTo>
                        <a:pt x="358937" y="769372"/>
                      </a:lnTo>
                      <a:lnTo>
                        <a:pt x="359694" y="773222"/>
                      </a:lnTo>
                      <a:lnTo>
                        <a:pt x="360486" y="775215"/>
                      </a:lnTo>
                      <a:lnTo>
                        <a:pt x="360309" y="777416"/>
                      </a:lnTo>
                      <a:lnTo>
                        <a:pt x="361626" y="786965"/>
                      </a:lnTo>
                      <a:lnTo>
                        <a:pt x="362729" y="791330"/>
                      </a:lnTo>
                      <a:lnTo>
                        <a:pt x="368027" y="798239"/>
                      </a:lnTo>
                      <a:lnTo>
                        <a:pt x="369938" y="795773"/>
                      </a:lnTo>
                      <a:lnTo>
                        <a:pt x="371639" y="795703"/>
                      </a:lnTo>
                      <a:lnTo>
                        <a:pt x="373413" y="796850"/>
                      </a:lnTo>
                      <a:lnTo>
                        <a:pt x="374808" y="796564"/>
                      </a:lnTo>
                      <a:lnTo>
                        <a:pt x="376189" y="795756"/>
                      </a:lnTo>
                      <a:lnTo>
                        <a:pt x="377853" y="795387"/>
                      </a:lnTo>
                      <a:lnTo>
                        <a:pt x="378423" y="794702"/>
                      </a:lnTo>
                      <a:lnTo>
                        <a:pt x="378537" y="791593"/>
                      </a:lnTo>
                      <a:lnTo>
                        <a:pt x="379039" y="790932"/>
                      </a:lnTo>
                      <a:lnTo>
                        <a:pt x="382199" y="787901"/>
                      </a:lnTo>
                      <a:lnTo>
                        <a:pt x="384937" y="781083"/>
                      </a:lnTo>
                      <a:lnTo>
                        <a:pt x="385548" y="774481"/>
                      </a:lnTo>
                      <a:lnTo>
                        <a:pt x="382393" y="772004"/>
                      </a:lnTo>
                      <a:lnTo>
                        <a:pt x="386069" y="768677"/>
                      </a:lnTo>
                      <a:lnTo>
                        <a:pt x="405793" y="768593"/>
                      </a:lnTo>
                      <a:lnTo>
                        <a:pt x="408306" y="769829"/>
                      </a:lnTo>
                      <a:lnTo>
                        <a:pt x="412993" y="774971"/>
                      </a:lnTo>
                      <a:lnTo>
                        <a:pt x="415532" y="776206"/>
                      </a:lnTo>
                      <a:lnTo>
                        <a:pt x="420500" y="774553"/>
                      </a:lnTo>
                      <a:lnTo>
                        <a:pt x="422427" y="775740"/>
                      </a:lnTo>
                      <a:lnTo>
                        <a:pt x="423635" y="781368"/>
                      </a:lnTo>
                      <a:lnTo>
                        <a:pt x="423042" y="785069"/>
                      </a:lnTo>
                      <a:lnTo>
                        <a:pt x="425154" y="785307"/>
                      </a:lnTo>
                      <a:lnTo>
                        <a:pt x="427943" y="782465"/>
                      </a:lnTo>
                      <a:lnTo>
                        <a:pt x="429333" y="776932"/>
                      </a:lnTo>
                      <a:lnTo>
                        <a:pt x="427651" y="771491"/>
                      </a:lnTo>
                      <a:lnTo>
                        <a:pt x="423778" y="769316"/>
                      </a:lnTo>
                      <a:lnTo>
                        <a:pt x="416373" y="769164"/>
                      </a:lnTo>
                      <a:lnTo>
                        <a:pt x="400483" y="763356"/>
                      </a:lnTo>
                      <a:lnTo>
                        <a:pt x="388791" y="763349"/>
                      </a:lnTo>
                      <a:lnTo>
                        <a:pt x="385909" y="760383"/>
                      </a:lnTo>
                      <a:lnTo>
                        <a:pt x="388717" y="758500"/>
                      </a:lnTo>
                      <a:lnTo>
                        <a:pt x="391122" y="754802"/>
                      </a:lnTo>
                      <a:lnTo>
                        <a:pt x="393431" y="750452"/>
                      </a:lnTo>
                      <a:lnTo>
                        <a:pt x="395898" y="746757"/>
                      </a:lnTo>
                      <a:lnTo>
                        <a:pt x="394245" y="742678"/>
                      </a:lnTo>
                      <a:lnTo>
                        <a:pt x="395304" y="739060"/>
                      </a:lnTo>
                      <a:lnTo>
                        <a:pt x="397755" y="736365"/>
                      </a:lnTo>
                      <a:lnTo>
                        <a:pt x="400230" y="734968"/>
                      </a:lnTo>
                      <a:lnTo>
                        <a:pt x="412259" y="733484"/>
                      </a:lnTo>
                      <a:lnTo>
                        <a:pt x="410825" y="735689"/>
                      </a:lnTo>
                      <a:lnTo>
                        <a:pt x="408658" y="740474"/>
                      </a:lnTo>
                      <a:lnTo>
                        <a:pt x="406710" y="745806"/>
                      </a:lnTo>
                      <a:lnTo>
                        <a:pt x="405928" y="749454"/>
                      </a:lnTo>
                      <a:lnTo>
                        <a:pt x="407293" y="752741"/>
                      </a:lnTo>
                      <a:lnTo>
                        <a:pt x="409806" y="750891"/>
                      </a:lnTo>
                      <a:lnTo>
                        <a:pt x="412534" y="746686"/>
                      </a:lnTo>
                      <a:lnTo>
                        <a:pt x="414574" y="742823"/>
                      </a:lnTo>
                      <a:lnTo>
                        <a:pt x="413904" y="741645"/>
                      </a:lnTo>
                      <a:lnTo>
                        <a:pt x="413581" y="740542"/>
                      </a:lnTo>
                      <a:lnTo>
                        <a:pt x="413371" y="739377"/>
                      </a:lnTo>
                      <a:lnTo>
                        <a:pt x="412995" y="738033"/>
                      </a:lnTo>
                      <a:lnTo>
                        <a:pt x="442306" y="737224"/>
                      </a:lnTo>
                      <a:lnTo>
                        <a:pt x="446485" y="740463"/>
                      </a:lnTo>
                      <a:lnTo>
                        <a:pt x="449311" y="749575"/>
                      </a:lnTo>
                      <a:lnTo>
                        <a:pt x="450497" y="751915"/>
                      </a:lnTo>
                      <a:lnTo>
                        <a:pt x="451534" y="750023"/>
                      </a:lnTo>
                      <a:lnTo>
                        <a:pt x="451782" y="746148"/>
                      </a:lnTo>
                      <a:lnTo>
                        <a:pt x="451489" y="742584"/>
                      </a:lnTo>
                      <a:lnTo>
                        <a:pt x="450250" y="738918"/>
                      </a:lnTo>
                      <a:lnTo>
                        <a:pt x="448532" y="736973"/>
                      </a:lnTo>
                      <a:lnTo>
                        <a:pt x="439184" y="731136"/>
                      </a:lnTo>
                      <a:lnTo>
                        <a:pt x="420834" y="728999"/>
                      </a:lnTo>
                      <a:lnTo>
                        <a:pt x="424036" y="725716"/>
                      </a:lnTo>
                      <a:lnTo>
                        <a:pt x="428706" y="722525"/>
                      </a:lnTo>
                      <a:lnTo>
                        <a:pt x="433303" y="721298"/>
                      </a:lnTo>
                      <a:lnTo>
                        <a:pt x="436313" y="723891"/>
                      </a:lnTo>
                      <a:lnTo>
                        <a:pt x="439369" y="728188"/>
                      </a:lnTo>
                      <a:lnTo>
                        <a:pt x="443043" y="727487"/>
                      </a:lnTo>
                      <a:lnTo>
                        <a:pt x="446814" y="724859"/>
                      </a:lnTo>
                      <a:lnTo>
                        <a:pt x="451846" y="722743"/>
                      </a:lnTo>
                      <a:lnTo>
                        <a:pt x="455328" y="719677"/>
                      </a:lnTo>
                      <a:lnTo>
                        <a:pt x="457248" y="719023"/>
                      </a:lnTo>
                      <a:lnTo>
                        <a:pt x="470703" y="722471"/>
                      </a:lnTo>
                      <a:lnTo>
                        <a:pt x="483728" y="720275"/>
                      </a:lnTo>
                      <a:lnTo>
                        <a:pt x="483609" y="722847"/>
                      </a:lnTo>
                      <a:lnTo>
                        <a:pt x="477995" y="723391"/>
                      </a:lnTo>
                      <a:lnTo>
                        <a:pt x="476210" y="724660"/>
                      </a:lnTo>
                      <a:lnTo>
                        <a:pt x="476930" y="731664"/>
                      </a:lnTo>
                      <a:lnTo>
                        <a:pt x="475057" y="734534"/>
                      </a:lnTo>
                      <a:lnTo>
                        <a:pt x="472414" y="736552"/>
                      </a:lnTo>
                      <a:lnTo>
                        <a:pt x="470849" y="740956"/>
                      </a:lnTo>
                      <a:lnTo>
                        <a:pt x="471800" y="744888"/>
                      </a:lnTo>
                      <a:lnTo>
                        <a:pt x="477157" y="751332"/>
                      </a:lnTo>
                      <a:lnTo>
                        <a:pt x="481102" y="758387"/>
                      </a:lnTo>
                      <a:lnTo>
                        <a:pt x="483849" y="760160"/>
                      </a:lnTo>
                      <a:lnTo>
                        <a:pt x="485791" y="759163"/>
                      </a:lnTo>
                      <a:lnTo>
                        <a:pt x="485446" y="754740"/>
                      </a:lnTo>
                      <a:lnTo>
                        <a:pt x="483295" y="750038"/>
                      </a:lnTo>
                      <a:lnTo>
                        <a:pt x="478533" y="745088"/>
                      </a:lnTo>
                      <a:lnTo>
                        <a:pt x="476350" y="741214"/>
                      </a:lnTo>
                      <a:lnTo>
                        <a:pt x="478110" y="739619"/>
                      </a:lnTo>
                      <a:lnTo>
                        <a:pt x="486945" y="726264"/>
                      </a:lnTo>
                      <a:lnTo>
                        <a:pt x="488947" y="724047"/>
                      </a:lnTo>
                      <a:lnTo>
                        <a:pt x="496378" y="721168"/>
                      </a:lnTo>
                      <a:lnTo>
                        <a:pt x="499133" y="721290"/>
                      </a:lnTo>
                      <a:lnTo>
                        <a:pt x="503594" y="727567"/>
                      </a:lnTo>
                      <a:lnTo>
                        <a:pt x="506365" y="728616"/>
                      </a:lnTo>
                      <a:lnTo>
                        <a:pt x="515422" y="729280"/>
                      </a:lnTo>
                      <a:lnTo>
                        <a:pt x="518149" y="730914"/>
                      </a:lnTo>
                      <a:lnTo>
                        <a:pt x="523610" y="736194"/>
                      </a:lnTo>
                      <a:lnTo>
                        <a:pt x="526080" y="737773"/>
                      </a:lnTo>
                      <a:lnTo>
                        <a:pt x="533566" y="739172"/>
                      </a:lnTo>
                      <a:lnTo>
                        <a:pt x="536998" y="742462"/>
                      </a:lnTo>
                      <a:lnTo>
                        <a:pt x="538326" y="747595"/>
                      </a:lnTo>
                      <a:lnTo>
                        <a:pt x="537683" y="754454"/>
                      </a:lnTo>
                      <a:lnTo>
                        <a:pt x="535301" y="762849"/>
                      </a:lnTo>
                      <a:lnTo>
                        <a:pt x="538800" y="767547"/>
                      </a:lnTo>
                      <a:lnTo>
                        <a:pt x="542921" y="770705"/>
                      </a:lnTo>
                      <a:lnTo>
                        <a:pt x="547364" y="772451"/>
                      </a:lnTo>
                      <a:lnTo>
                        <a:pt x="551723" y="772940"/>
                      </a:lnTo>
                      <a:lnTo>
                        <a:pt x="550477" y="769346"/>
                      </a:lnTo>
                      <a:lnTo>
                        <a:pt x="545708" y="765858"/>
                      </a:lnTo>
                      <a:lnTo>
                        <a:pt x="543641" y="763173"/>
                      </a:lnTo>
                      <a:lnTo>
                        <a:pt x="544274" y="759579"/>
                      </a:lnTo>
                      <a:lnTo>
                        <a:pt x="543924" y="755878"/>
                      </a:lnTo>
                      <a:lnTo>
                        <a:pt x="548507" y="747733"/>
                      </a:lnTo>
                      <a:lnTo>
                        <a:pt x="549961" y="744312"/>
                      </a:lnTo>
                      <a:lnTo>
                        <a:pt x="548968" y="744275"/>
                      </a:lnTo>
                      <a:lnTo>
                        <a:pt x="546872" y="737634"/>
                      </a:lnTo>
                      <a:lnTo>
                        <a:pt x="539759" y="731785"/>
                      </a:lnTo>
                      <a:lnTo>
                        <a:pt x="536718" y="727260"/>
                      </a:lnTo>
                      <a:lnTo>
                        <a:pt x="541410" y="723123"/>
                      </a:lnTo>
                      <a:lnTo>
                        <a:pt x="547385" y="723197"/>
                      </a:lnTo>
                      <a:lnTo>
                        <a:pt x="581876" y="738376"/>
                      </a:lnTo>
                      <a:lnTo>
                        <a:pt x="585106" y="738485"/>
                      </a:lnTo>
                      <a:lnTo>
                        <a:pt x="584303" y="733518"/>
                      </a:lnTo>
                      <a:lnTo>
                        <a:pt x="582659" y="731478"/>
                      </a:lnTo>
                      <a:lnTo>
                        <a:pt x="580723" y="729976"/>
                      </a:lnTo>
                      <a:lnTo>
                        <a:pt x="579103" y="726670"/>
                      </a:lnTo>
                      <a:lnTo>
                        <a:pt x="581023" y="724160"/>
                      </a:lnTo>
                      <a:lnTo>
                        <a:pt x="567480" y="727656"/>
                      </a:lnTo>
                      <a:lnTo>
                        <a:pt x="560229" y="721608"/>
                      </a:lnTo>
                      <a:lnTo>
                        <a:pt x="541380" y="715293"/>
                      </a:lnTo>
                      <a:lnTo>
                        <a:pt x="538100" y="715532"/>
                      </a:lnTo>
                      <a:lnTo>
                        <a:pt x="534427" y="717709"/>
                      </a:lnTo>
                      <a:lnTo>
                        <a:pt x="528127" y="724059"/>
                      </a:lnTo>
                      <a:lnTo>
                        <a:pt x="524834" y="725052"/>
                      </a:lnTo>
                      <a:lnTo>
                        <a:pt x="521451" y="721915"/>
                      </a:lnTo>
                      <a:lnTo>
                        <a:pt x="524482" y="719856"/>
                      </a:lnTo>
                      <a:lnTo>
                        <a:pt x="527766" y="719541"/>
                      </a:lnTo>
                      <a:lnTo>
                        <a:pt x="530703" y="718139"/>
                      </a:lnTo>
                      <a:lnTo>
                        <a:pt x="532701" y="712924"/>
                      </a:lnTo>
                      <a:lnTo>
                        <a:pt x="524826" y="710734"/>
                      </a:lnTo>
                      <a:lnTo>
                        <a:pt x="522802" y="711454"/>
                      </a:lnTo>
                      <a:lnTo>
                        <a:pt x="521042" y="712902"/>
                      </a:lnTo>
                      <a:lnTo>
                        <a:pt x="519070" y="713918"/>
                      </a:lnTo>
                      <a:lnTo>
                        <a:pt x="515260" y="714574"/>
                      </a:lnTo>
                      <a:lnTo>
                        <a:pt x="495375" y="709225"/>
                      </a:lnTo>
                      <a:lnTo>
                        <a:pt x="497615" y="704931"/>
                      </a:lnTo>
                      <a:lnTo>
                        <a:pt x="500349" y="703940"/>
                      </a:lnTo>
                      <a:lnTo>
                        <a:pt x="503175" y="703810"/>
                      </a:lnTo>
                      <a:lnTo>
                        <a:pt x="505751" y="702147"/>
                      </a:lnTo>
                      <a:lnTo>
                        <a:pt x="507179" y="699363"/>
                      </a:lnTo>
                      <a:lnTo>
                        <a:pt x="510014" y="688152"/>
                      </a:lnTo>
                      <a:lnTo>
                        <a:pt x="506410" y="687814"/>
                      </a:lnTo>
                      <a:lnTo>
                        <a:pt x="495149" y="692445"/>
                      </a:lnTo>
                      <a:lnTo>
                        <a:pt x="491472" y="692957"/>
                      </a:lnTo>
                      <a:lnTo>
                        <a:pt x="489521" y="693769"/>
                      </a:lnTo>
                      <a:lnTo>
                        <a:pt x="488611" y="695586"/>
                      </a:lnTo>
                      <a:lnTo>
                        <a:pt x="488144" y="698184"/>
                      </a:lnTo>
                      <a:lnTo>
                        <a:pt x="487204" y="699945"/>
                      </a:lnTo>
                      <a:lnTo>
                        <a:pt x="485982" y="700932"/>
                      </a:lnTo>
                      <a:lnTo>
                        <a:pt x="484696" y="701212"/>
                      </a:lnTo>
                      <a:lnTo>
                        <a:pt x="475352" y="698976"/>
                      </a:lnTo>
                      <a:lnTo>
                        <a:pt x="457278" y="699914"/>
                      </a:lnTo>
                      <a:lnTo>
                        <a:pt x="459133" y="702033"/>
                      </a:lnTo>
                      <a:lnTo>
                        <a:pt x="463285" y="703092"/>
                      </a:lnTo>
                      <a:lnTo>
                        <a:pt x="465164" y="705224"/>
                      </a:lnTo>
                      <a:lnTo>
                        <a:pt x="461747" y="708722"/>
                      </a:lnTo>
                      <a:lnTo>
                        <a:pt x="442899" y="717478"/>
                      </a:lnTo>
                      <a:lnTo>
                        <a:pt x="435247" y="717920"/>
                      </a:lnTo>
                      <a:lnTo>
                        <a:pt x="443068" y="711600"/>
                      </a:lnTo>
                      <a:lnTo>
                        <a:pt x="446231" y="706660"/>
                      </a:lnTo>
                      <a:lnTo>
                        <a:pt x="446264" y="699368"/>
                      </a:lnTo>
                      <a:lnTo>
                        <a:pt x="447360" y="697281"/>
                      </a:lnTo>
                      <a:lnTo>
                        <a:pt x="445049" y="696277"/>
                      </a:lnTo>
                      <a:lnTo>
                        <a:pt x="442402" y="697369"/>
                      </a:lnTo>
                      <a:lnTo>
                        <a:pt x="437019" y="701460"/>
                      </a:lnTo>
                      <a:lnTo>
                        <a:pt x="430412" y="704654"/>
                      </a:lnTo>
                      <a:lnTo>
                        <a:pt x="408326" y="704911"/>
                      </a:lnTo>
                      <a:lnTo>
                        <a:pt x="405554" y="705942"/>
                      </a:lnTo>
                      <a:lnTo>
                        <a:pt x="402714" y="707983"/>
                      </a:lnTo>
                      <a:lnTo>
                        <a:pt x="399863" y="708839"/>
                      </a:lnTo>
                      <a:lnTo>
                        <a:pt x="397175" y="706420"/>
                      </a:lnTo>
                      <a:lnTo>
                        <a:pt x="405983" y="700598"/>
                      </a:lnTo>
                      <a:lnTo>
                        <a:pt x="408807" y="697401"/>
                      </a:lnTo>
                      <a:lnTo>
                        <a:pt x="408374" y="694419"/>
                      </a:lnTo>
                      <a:lnTo>
                        <a:pt x="409951" y="692278"/>
                      </a:lnTo>
                      <a:lnTo>
                        <a:pt x="414719" y="688480"/>
                      </a:lnTo>
                      <a:lnTo>
                        <a:pt x="420586" y="679554"/>
                      </a:lnTo>
                      <a:lnTo>
                        <a:pt x="436155" y="661525"/>
                      </a:lnTo>
                      <a:lnTo>
                        <a:pt x="437653" y="657955"/>
                      </a:lnTo>
                      <a:lnTo>
                        <a:pt x="436916" y="655876"/>
                      </a:lnTo>
                      <a:lnTo>
                        <a:pt x="433001" y="656150"/>
                      </a:lnTo>
                      <a:lnTo>
                        <a:pt x="433115" y="654001"/>
                      </a:lnTo>
                      <a:lnTo>
                        <a:pt x="434541" y="654075"/>
                      </a:lnTo>
                      <a:lnTo>
                        <a:pt x="435939" y="653641"/>
                      </a:lnTo>
                      <a:lnTo>
                        <a:pt x="438693" y="651713"/>
                      </a:lnTo>
                      <a:lnTo>
                        <a:pt x="439764" y="646726"/>
                      </a:lnTo>
                      <a:lnTo>
                        <a:pt x="443773" y="644958"/>
                      </a:lnTo>
                      <a:lnTo>
                        <a:pt x="455588" y="647719"/>
                      </a:lnTo>
                      <a:lnTo>
                        <a:pt x="459561" y="646803"/>
                      </a:lnTo>
                      <a:lnTo>
                        <a:pt x="463249" y="647490"/>
                      </a:lnTo>
                      <a:lnTo>
                        <a:pt x="465963" y="653072"/>
                      </a:lnTo>
                      <a:lnTo>
                        <a:pt x="464827" y="654158"/>
                      </a:lnTo>
                      <a:lnTo>
                        <a:pt x="463893" y="655760"/>
                      </a:lnTo>
                      <a:lnTo>
                        <a:pt x="461986" y="659977"/>
                      </a:lnTo>
                      <a:lnTo>
                        <a:pt x="465799" y="662667"/>
                      </a:lnTo>
                      <a:lnTo>
                        <a:pt x="469869" y="659174"/>
                      </a:lnTo>
                      <a:lnTo>
                        <a:pt x="473978" y="653906"/>
                      </a:lnTo>
                      <a:lnTo>
                        <a:pt x="477892" y="651273"/>
                      </a:lnTo>
                      <a:lnTo>
                        <a:pt x="482347" y="650424"/>
                      </a:lnTo>
                      <a:lnTo>
                        <a:pt x="487526" y="647945"/>
                      </a:lnTo>
                      <a:lnTo>
                        <a:pt x="496674" y="640332"/>
                      </a:lnTo>
                      <a:lnTo>
                        <a:pt x="482016" y="641791"/>
                      </a:lnTo>
                      <a:lnTo>
                        <a:pt x="466653" y="638939"/>
                      </a:lnTo>
                      <a:lnTo>
                        <a:pt x="467416" y="637904"/>
                      </a:lnTo>
                      <a:lnTo>
                        <a:pt x="469588" y="634121"/>
                      </a:lnTo>
                      <a:lnTo>
                        <a:pt x="466984" y="632377"/>
                      </a:lnTo>
                      <a:lnTo>
                        <a:pt x="461849" y="633353"/>
                      </a:lnTo>
                      <a:lnTo>
                        <a:pt x="459758" y="631519"/>
                      </a:lnTo>
                      <a:lnTo>
                        <a:pt x="461610" y="629003"/>
                      </a:lnTo>
                      <a:lnTo>
                        <a:pt x="460094" y="626930"/>
                      </a:lnTo>
                      <a:lnTo>
                        <a:pt x="458405" y="625297"/>
                      </a:lnTo>
                      <a:lnTo>
                        <a:pt x="456599" y="624307"/>
                      </a:lnTo>
                      <a:lnTo>
                        <a:pt x="454708" y="623931"/>
                      </a:lnTo>
                      <a:lnTo>
                        <a:pt x="456674" y="619777"/>
                      </a:lnTo>
                      <a:lnTo>
                        <a:pt x="460304" y="615322"/>
                      </a:lnTo>
                      <a:lnTo>
                        <a:pt x="464230" y="611754"/>
                      </a:lnTo>
                      <a:lnTo>
                        <a:pt x="490877" y="597294"/>
                      </a:lnTo>
                      <a:lnTo>
                        <a:pt x="500004" y="595382"/>
                      </a:lnTo>
                      <a:lnTo>
                        <a:pt x="503198" y="596790"/>
                      </a:lnTo>
                      <a:lnTo>
                        <a:pt x="507255" y="600334"/>
                      </a:lnTo>
                      <a:lnTo>
                        <a:pt x="510810" y="605105"/>
                      </a:lnTo>
                      <a:lnTo>
                        <a:pt x="512564" y="610304"/>
                      </a:lnTo>
                      <a:lnTo>
                        <a:pt x="510836" y="611413"/>
                      </a:lnTo>
                      <a:lnTo>
                        <a:pt x="509110" y="611988"/>
                      </a:lnTo>
                      <a:lnTo>
                        <a:pt x="505614" y="612144"/>
                      </a:lnTo>
                      <a:lnTo>
                        <a:pt x="504378" y="611359"/>
                      </a:lnTo>
                      <a:lnTo>
                        <a:pt x="502289" y="607999"/>
                      </a:lnTo>
                      <a:lnTo>
                        <a:pt x="498601" y="605034"/>
                      </a:lnTo>
                      <a:lnTo>
                        <a:pt x="495931" y="601282"/>
                      </a:lnTo>
                      <a:lnTo>
                        <a:pt x="493127" y="599804"/>
                      </a:lnTo>
                      <a:lnTo>
                        <a:pt x="490068" y="604565"/>
                      </a:lnTo>
                      <a:lnTo>
                        <a:pt x="492465" y="607673"/>
                      </a:lnTo>
                      <a:lnTo>
                        <a:pt x="496123" y="615555"/>
                      </a:lnTo>
                      <a:lnTo>
                        <a:pt x="498566" y="616564"/>
                      </a:lnTo>
                      <a:lnTo>
                        <a:pt x="492194" y="626289"/>
                      </a:lnTo>
                      <a:lnTo>
                        <a:pt x="475594" y="625733"/>
                      </a:lnTo>
                      <a:lnTo>
                        <a:pt x="468029" y="629315"/>
                      </a:lnTo>
                      <a:lnTo>
                        <a:pt x="471201" y="631143"/>
                      </a:lnTo>
                      <a:lnTo>
                        <a:pt x="488780" y="633413"/>
                      </a:lnTo>
                      <a:lnTo>
                        <a:pt x="492746" y="632637"/>
                      </a:lnTo>
                      <a:lnTo>
                        <a:pt x="495714" y="629560"/>
                      </a:lnTo>
                      <a:lnTo>
                        <a:pt x="498239" y="625969"/>
                      </a:lnTo>
                      <a:lnTo>
                        <a:pt x="501457" y="623493"/>
                      </a:lnTo>
                      <a:lnTo>
                        <a:pt x="504744" y="622075"/>
                      </a:lnTo>
                      <a:lnTo>
                        <a:pt x="507456" y="621686"/>
                      </a:lnTo>
                      <a:lnTo>
                        <a:pt x="509872" y="620185"/>
                      </a:lnTo>
                      <a:lnTo>
                        <a:pt x="512275" y="617219"/>
                      </a:lnTo>
                      <a:lnTo>
                        <a:pt x="514583" y="615403"/>
                      </a:lnTo>
                      <a:lnTo>
                        <a:pt x="516762" y="617354"/>
                      </a:lnTo>
                      <a:lnTo>
                        <a:pt x="516031" y="619829"/>
                      </a:lnTo>
                      <a:lnTo>
                        <a:pt x="516357" y="622279"/>
                      </a:lnTo>
                      <a:lnTo>
                        <a:pt x="517464" y="624113"/>
                      </a:lnTo>
                      <a:lnTo>
                        <a:pt x="519076" y="624759"/>
                      </a:lnTo>
                      <a:lnTo>
                        <a:pt x="518985" y="626880"/>
                      </a:lnTo>
                      <a:lnTo>
                        <a:pt x="516958" y="628399"/>
                      </a:lnTo>
                      <a:lnTo>
                        <a:pt x="514933" y="629074"/>
                      </a:lnTo>
                      <a:lnTo>
                        <a:pt x="510754" y="629135"/>
                      </a:lnTo>
                      <a:lnTo>
                        <a:pt x="510662" y="631257"/>
                      </a:lnTo>
                      <a:lnTo>
                        <a:pt x="511396" y="631739"/>
                      </a:lnTo>
                      <a:lnTo>
                        <a:pt x="513329" y="633976"/>
                      </a:lnTo>
                      <a:lnTo>
                        <a:pt x="512087" y="638231"/>
                      </a:lnTo>
                      <a:lnTo>
                        <a:pt x="510525" y="641121"/>
                      </a:lnTo>
                      <a:lnTo>
                        <a:pt x="509019" y="644435"/>
                      </a:lnTo>
                      <a:lnTo>
                        <a:pt x="508027" y="650052"/>
                      </a:lnTo>
                      <a:lnTo>
                        <a:pt x="510463" y="648763"/>
                      </a:lnTo>
                      <a:lnTo>
                        <a:pt x="515195" y="642574"/>
                      </a:lnTo>
                      <a:lnTo>
                        <a:pt x="517964" y="641255"/>
                      </a:lnTo>
                      <a:lnTo>
                        <a:pt x="518993" y="640424"/>
                      </a:lnTo>
                      <a:lnTo>
                        <a:pt x="519817" y="638318"/>
                      </a:lnTo>
                      <a:lnTo>
                        <a:pt x="520352" y="635624"/>
                      </a:lnTo>
                      <a:lnTo>
                        <a:pt x="520626" y="632975"/>
                      </a:lnTo>
                      <a:lnTo>
                        <a:pt x="521235" y="631340"/>
                      </a:lnTo>
                      <a:lnTo>
                        <a:pt x="522584" y="630311"/>
                      </a:lnTo>
                      <a:lnTo>
                        <a:pt x="539948" y="628059"/>
                      </a:lnTo>
                      <a:lnTo>
                        <a:pt x="547529" y="630002"/>
                      </a:lnTo>
                      <a:lnTo>
                        <a:pt x="553049" y="637700"/>
                      </a:lnTo>
                      <a:lnTo>
                        <a:pt x="553788" y="640684"/>
                      </a:lnTo>
                      <a:lnTo>
                        <a:pt x="555211" y="648115"/>
                      </a:lnTo>
                      <a:lnTo>
                        <a:pt x="561116" y="666352"/>
                      </a:lnTo>
                      <a:lnTo>
                        <a:pt x="561333" y="668387"/>
                      </a:lnTo>
                      <a:lnTo>
                        <a:pt x="561356" y="673595"/>
                      </a:lnTo>
                      <a:lnTo>
                        <a:pt x="561667" y="676026"/>
                      </a:lnTo>
                      <a:lnTo>
                        <a:pt x="562042" y="676449"/>
                      </a:lnTo>
                      <a:lnTo>
                        <a:pt x="565048" y="683230"/>
                      </a:lnTo>
                      <a:lnTo>
                        <a:pt x="569272" y="688885"/>
                      </a:lnTo>
                      <a:lnTo>
                        <a:pt x="573876" y="693215"/>
                      </a:lnTo>
                      <a:lnTo>
                        <a:pt x="573792" y="695577"/>
                      </a:lnTo>
                      <a:lnTo>
                        <a:pt x="568395" y="697214"/>
                      </a:lnTo>
                      <a:lnTo>
                        <a:pt x="568089" y="700864"/>
                      </a:lnTo>
                      <a:lnTo>
                        <a:pt x="571014" y="703641"/>
                      </a:lnTo>
                      <a:lnTo>
                        <a:pt x="575366" y="702726"/>
                      </a:lnTo>
                      <a:lnTo>
                        <a:pt x="581246" y="693471"/>
                      </a:lnTo>
                      <a:lnTo>
                        <a:pt x="580319" y="690116"/>
                      </a:lnTo>
                      <a:lnTo>
                        <a:pt x="573224" y="685887"/>
                      </a:lnTo>
                      <a:lnTo>
                        <a:pt x="571141" y="682520"/>
                      </a:lnTo>
                      <a:lnTo>
                        <a:pt x="570845" y="680483"/>
                      </a:lnTo>
                      <a:lnTo>
                        <a:pt x="571155" y="678214"/>
                      </a:lnTo>
                      <a:lnTo>
                        <a:pt x="570908" y="674222"/>
                      </a:lnTo>
                      <a:lnTo>
                        <a:pt x="568734" y="667499"/>
                      </a:lnTo>
                      <a:lnTo>
                        <a:pt x="568426" y="665533"/>
                      </a:lnTo>
                      <a:lnTo>
                        <a:pt x="567130" y="660968"/>
                      </a:lnTo>
                      <a:lnTo>
                        <a:pt x="563968" y="655997"/>
                      </a:lnTo>
                      <a:lnTo>
                        <a:pt x="558094" y="649940"/>
                      </a:lnTo>
                      <a:lnTo>
                        <a:pt x="560316" y="645742"/>
                      </a:lnTo>
                      <a:lnTo>
                        <a:pt x="565309" y="641618"/>
                      </a:lnTo>
                      <a:lnTo>
                        <a:pt x="567604" y="638239"/>
                      </a:lnTo>
                      <a:lnTo>
                        <a:pt x="563812" y="638299"/>
                      </a:lnTo>
                      <a:lnTo>
                        <a:pt x="562055" y="637643"/>
                      </a:lnTo>
                      <a:lnTo>
                        <a:pt x="560513" y="635855"/>
                      </a:lnTo>
                      <a:lnTo>
                        <a:pt x="564789" y="627060"/>
                      </a:lnTo>
                      <a:lnTo>
                        <a:pt x="570219" y="621528"/>
                      </a:lnTo>
                      <a:lnTo>
                        <a:pt x="595598" y="608328"/>
                      </a:lnTo>
                      <a:lnTo>
                        <a:pt x="610406" y="606636"/>
                      </a:lnTo>
                      <a:lnTo>
                        <a:pt x="606656" y="600861"/>
                      </a:lnTo>
                      <a:lnTo>
                        <a:pt x="580017" y="607336"/>
                      </a:lnTo>
                      <a:lnTo>
                        <a:pt x="564744" y="619247"/>
                      </a:lnTo>
                      <a:lnTo>
                        <a:pt x="557110" y="620852"/>
                      </a:lnTo>
                      <a:lnTo>
                        <a:pt x="526724" y="614856"/>
                      </a:lnTo>
                      <a:lnTo>
                        <a:pt x="523086" y="613016"/>
                      </a:lnTo>
                      <a:lnTo>
                        <a:pt x="521623" y="609407"/>
                      </a:lnTo>
                      <a:lnTo>
                        <a:pt x="522076" y="602753"/>
                      </a:lnTo>
                      <a:lnTo>
                        <a:pt x="522858" y="600041"/>
                      </a:lnTo>
                      <a:lnTo>
                        <a:pt x="526681" y="596525"/>
                      </a:lnTo>
                      <a:lnTo>
                        <a:pt x="525971" y="596031"/>
                      </a:lnTo>
                      <a:lnTo>
                        <a:pt x="524078" y="594039"/>
                      </a:lnTo>
                      <a:lnTo>
                        <a:pt x="528813" y="590996"/>
                      </a:lnTo>
                      <a:lnTo>
                        <a:pt x="533066" y="590971"/>
                      </a:lnTo>
                      <a:lnTo>
                        <a:pt x="541999" y="594765"/>
                      </a:lnTo>
                      <a:lnTo>
                        <a:pt x="546493" y="595207"/>
                      </a:lnTo>
                      <a:lnTo>
                        <a:pt x="548376" y="596758"/>
                      </a:lnTo>
                      <a:lnTo>
                        <a:pt x="549532" y="603504"/>
                      </a:lnTo>
                      <a:lnTo>
                        <a:pt x="550910" y="602894"/>
                      </a:lnTo>
                      <a:lnTo>
                        <a:pt x="552531" y="600465"/>
                      </a:lnTo>
                      <a:lnTo>
                        <a:pt x="553684" y="597595"/>
                      </a:lnTo>
                      <a:lnTo>
                        <a:pt x="547821" y="587911"/>
                      </a:lnTo>
                      <a:lnTo>
                        <a:pt x="548566" y="587531"/>
                      </a:lnTo>
                      <a:lnTo>
                        <a:pt x="550547" y="585440"/>
                      </a:lnTo>
                      <a:lnTo>
                        <a:pt x="548744" y="581317"/>
                      </a:lnTo>
                      <a:lnTo>
                        <a:pt x="546576" y="578657"/>
                      </a:lnTo>
                      <a:lnTo>
                        <a:pt x="544172" y="578183"/>
                      </a:lnTo>
                      <a:lnTo>
                        <a:pt x="541739" y="580579"/>
                      </a:lnTo>
                      <a:lnTo>
                        <a:pt x="542908" y="584088"/>
                      </a:lnTo>
                      <a:lnTo>
                        <a:pt x="543347" y="585161"/>
                      </a:lnTo>
                      <a:lnTo>
                        <a:pt x="539974" y="587421"/>
                      </a:lnTo>
                      <a:lnTo>
                        <a:pt x="536330" y="585178"/>
                      </a:lnTo>
                      <a:lnTo>
                        <a:pt x="532643" y="581663"/>
                      </a:lnTo>
                      <a:lnTo>
                        <a:pt x="529170" y="580073"/>
                      </a:lnTo>
                      <a:lnTo>
                        <a:pt x="522134" y="584384"/>
                      </a:lnTo>
                      <a:lnTo>
                        <a:pt x="518328" y="585322"/>
                      </a:lnTo>
                      <a:lnTo>
                        <a:pt x="516393" y="581904"/>
                      </a:lnTo>
                      <a:lnTo>
                        <a:pt x="519137" y="572940"/>
                      </a:lnTo>
                      <a:lnTo>
                        <a:pt x="538197" y="558985"/>
                      </a:lnTo>
                      <a:lnTo>
                        <a:pt x="533991" y="559027"/>
                      </a:lnTo>
                      <a:lnTo>
                        <a:pt x="531978" y="558312"/>
                      </a:lnTo>
                      <a:lnTo>
                        <a:pt x="530158" y="556294"/>
                      </a:lnTo>
                      <a:lnTo>
                        <a:pt x="532634" y="549174"/>
                      </a:lnTo>
                      <a:lnTo>
                        <a:pt x="533967" y="547399"/>
                      </a:lnTo>
                      <a:lnTo>
                        <a:pt x="535912" y="546858"/>
                      </a:lnTo>
                      <a:lnTo>
                        <a:pt x="537798" y="547496"/>
                      </a:lnTo>
                      <a:lnTo>
                        <a:pt x="542680" y="551183"/>
                      </a:lnTo>
                      <a:lnTo>
                        <a:pt x="548108" y="558785"/>
                      </a:lnTo>
                      <a:lnTo>
                        <a:pt x="564900" y="564728"/>
                      </a:lnTo>
                      <a:lnTo>
                        <a:pt x="562480" y="559078"/>
                      </a:lnTo>
                      <a:lnTo>
                        <a:pt x="561577" y="557524"/>
                      </a:lnTo>
                      <a:lnTo>
                        <a:pt x="580308" y="562916"/>
                      </a:lnTo>
                      <a:lnTo>
                        <a:pt x="571262" y="554319"/>
                      </a:lnTo>
                      <a:lnTo>
                        <a:pt x="566218" y="551742"/>
                      </a:lnTo>
                      <a:lnTo>
                        <a:pt x="557990" y="555701"/>
                      </a:lnTo>
                      <a:lnTo>
                        <a:pt x="554266" y="552477"/>
                      </a:lnTo>
                      <a:lnTo>
                        <a:pt x="547723" y="542808"/>
                      </a:lnTo>
                      <a:lnTo>
                        <a:pt x="547817" y="540447"/>
                      </a:lnTo>
                      <a:lnTo>
                        <a:pt x="573092" y="538987"/>
                      </a:lnTo>
                      <a:lnTo>
                        <a:pt x="580977" y="544038"/>
                      </a:lnTo>
                      <a:lnTo>
                        <a:pt x="598829" y="564020"/>
                      </a:lnTo>
                      <a:lnTo>
                        <a:pt x="601754" y="564538"/>
                      </a:lnTo>
                      <a:lnTo>
                        <a:pt x="603849" y="558990"/>
                      </a:lnTo>
                      <a:lnTo>
                        <a:pt x="601804" y="559080"/>
                      </a:lnTo>
                      <a:lnTo>
                        <a:pt x="599960" y="558273"/>
                      </a:lnTo>
                      <a:lnTo>
                        <a:pt x="598305" y="556602"/>
                      </a:lnTo>
                      <a:lnTo>
                        <a:pt x="596831" y="554034"/>
                      </a:lnTo>
                      <a:lnTo>
                        <a:pt x="597355" y="551771"/>
                      </a:lnTo>
                      <a:lnTo>
                        <a:pt x="597464" y="549157"/>
                      </a:lnTo>
                      <a:lnTo>
                        <a:pt x="597963" y="546978"/>
                      </a:lnTo>
                      <a:lnTo>
                        <a:pt x="582709" y="534852"/>
                      </a:lnTo>
                      <a:lnTo>
                        <a:pt x="577659" y="534477"/>
                      </a:lnTo>
                      <a:lnTo>
                        <a:pt x="579139" y="530041"/>
                      </a:lnTo>
                      <a:lnTo>
                        <a:pt x="581428" y="527659"/>
                      </a:lnTo>
                      <a:lnTo>
                        <a:pt x="583954" y="525805"/>
                      </a:lnTo>
                      <a:lnTo>
                        <a:pt x="586193" y="522982"/>
                      </a:lnTo>
                      <a:lnTo>
                        <a:pt x="583910" y="522819"/>
                      </a:lnTo>
                      <a:lnTo>
                        <a:pt x="581875" y="523761"/>
                      </a:lnTo>
                      <a:lnTo>
                        <a:pt x="575289" y="529566"/>
                      </a:lnTo>
                      <a:lnTo>
                        <a:pt x="573151" y="530334"/>
                      </a:lnTo>
                      <a:lnTo>
                        <a:pt x="549454" y="521636"/>
                      </a:lnTo>
                      <a:lnTo>
                        <a:pt x="551009" y="515924"/>
                      </a:lnTo>
                      <a:lnTo>
                        <a:pt x="554472" y="509471"/>
                      </a:lnTo>
                      <a:lnTo>
                        <a:pt x="554632" y="505072"/>
                      </a:lnTo>
                      <a:lnTo>
                        <a:pt x="553117" y="499538"/>
                      </a:lnTo>
                      <a:lnTo>
                        <a:pt x="551516" y="500827"/>
                      </a:lnTo>
                      <a:lnTo>
                        <a:pt x="550040" y="505950"/>
                      </a:lnTo>
                      <a:lnTo>
                        <a:pt x="548942" y="511946"/>
                      </a:lnTo>
                      <a:lnTo>
                        <a:pt x="546629" y="501172"/>
                      </a:lnTo>
                      <a:lnTo>
                        <a:pt x="544931" y="497685"/>
                      </a:lnTo>
                      <a:lnTo>
                        <a:pt x="543082" y="502467"/>
                      </a:lnTo>
                      <a:lnTo>
                        <a:pt x="543410" y="505141"/>
                      </a:lnTo>
                      <a:lnTo>
                        <a:pt x="545467" y="515090"/>
                      </a:lnTo>
                      <a:lnTo>
                        <a:pt x="545985" y="518924"/>
                      </a:lnTo>
                      <a:lnTo>
                        <a:pt x="535782" y="528158"/>
                      </a:lnTo>
                      <a:lnTo>
                        <a:pt x="529333" y="536116"/>
                      </a:lnTo>
                      <a:lnTo>
                        <a:pt x="524177" y="538985"/>
                      </a:lnTo>
                      <a:lnTo>
                        <a:pt x="519888" y="546913"/>
                      </a:lnTo>
                      <a:lnTo>
                        <a:pt x="518273" y="548703"/>
                      </a:lnTo>
                      <a:lnTo>
                        <a:pt x="515682" y="549310"/>
                      </a:lnTo>
                      <a:lnTo>
                        <a:pt x="499181" y="560667"/>
                      </a:lnTo>
                      <a:lnTo>
                        <a:pt x="487368" y="564945"/>
                      </a:lnTo>
                      <a:lnTo>
                        <a:pt x="485003" y="567413"/>
                      </a:lnTo>
                      <a:lnTo>
                        <a:pt x="482672" y="568922"/>
                      </a:lnTo>
                      <a:lnTo>
                        <a:pt x="471744" y="571518"/>
                      </a:lnTo>
                      <a:lnTo>
                        <a:pt x="468207" y="569332"/>
                      </a:lnTo>
                      <a:lnTo>
                        <a:pt x="460877" y="569087"/>
                      </a:lnTo>
                      <a:lnTo>
                        <a:pt x="457675" y="565000"/>
                      </a:lnTo>
                      <a:lnTo>
                        <a:pt x="478069" y="551838"/>
                      </a:lnTo>
                      <a:lnTo>
                        <a:pt x="478193" y="549267"/>
                      </a:lnTo>
                      <a:lnTo>
                        <a:pt x="465703" y="546299"/>
                      </a:lnTo>
                      <a:lnTo>
                        <a:pt x="467546" y="541447"/>
                      </a:lnTo>
                      <a:lnTo>
                        <a:pt x="470318" y="541552"/>
                      </a:lnTo>
                      <a:lnTo>
                        <a:pt x="473290" y="543245"/>
                      </a:lnTo>
                      <a:lnTo>
                        <a:pt x="475795" y="543141"/>
                      </a:lnTo>
                      <a:lnTo>
                        <a:pt x="478389" y="541165"/>
                      </a:lnTo>
                      <a:lnTo>
                        <a:pt x="510201" y="538895"/>
                      </a:lnTo>
                      <a:lnTo>
                        <a:pt x="506425" y="536449"/>
                      </a:lnTo>
                      <a:lnTo>
                        <a:pt x="501450" y="537453"/>
                      </a:lnTo>
                      <a:lnTo>
                        <a:pt x="496940" y="536659"/>
                      </a:lnTo>
                      <a:lnTo>
                        <a:pt x="494467" y="528733"/>
                      </a:lnTo>
                      <a:lnTo>
                        <a:pt x="497361" y="527005"/>
                      </a:lnTo>
                      <a:lnTo>
                        <a:pt x="500043" y="524267"/>
                      </a:lnTo>
                      <a:lnTo>
                        <a:pt x="479279" y="526633"/>
                      </a:lnTo>
                      <a:lnTo>
                        <a:pt x="472863" y="530100"/>
                      </a:lnTo>
                      <a:lnTo>
                        <a:pt x="474272" y="528971"/>
                      </a:lnTo>
                      <a:lnTo>
                        <a:pt x="474776" y="527813"/>
                      </a:lnTo>
                      <a:lnTo>
                        <a:pt x="474386" y="526625"/>
                      </a:lnTo>
                      <a:lnTo>
                        <a:pt x="473093" y="525379"/>
                      </a:lnTo>
                      <a:lnTo>
                        <a:pt x="473614" y="519942"/>
                      </a:lnTo>
                      <a:lnTo>
                        <a:pt x="472157" y="517928"/>
                      </a:lnTo>
                      <a:lnTo>
                        <a:pt x="469868" y="519000"/>
                      </a:lnTo>
                      <a:lnTo>
                        <a:pt x="467861" y="522760"/>
                      </a:lnTo>
                      <a:lnTo>
                        <a:pt x="466620" y="521997"/>
                      </a:lnTo>
                      <a:lnTo>
                        <a:pt x="465523" y="520267"/>
                      </a:lnTo>
                      <a:lnTo>
                        <a:pt x="464555" y="517896"/>
                      </a:lnTo>
                      <a:lnTo>
                        <a:pt x="463748" y="515279"/>
                      </a:lnTo>
                      <a:lnTo>
                        <a:pt x="466420" y="511228"/>
                      </a:lnTo>
                      <a:lnTo>
                        <a:pt x="468681" y="508973"/>
                      </a:lnTo>
                      <a:lnTo>
                        <a:pt x="471016" y="508212"/>
                      </a:lnTo>
                      <a:lnTo>
                        <a:pt x="479614" y="509456"/>
                      </a:lnTo>
                      <a:lnTo>
                        <a:pt x="491074" y="505050"/>
                      </a:lnTo>
                      <a:lnTo>
                        <a:pt x="504644" y="505128"/>
                      </a:lnTo>
                      <a:lnTo>
                        <a:pt x="510000" y="501086"/>
                      </a:lnTo>
                      <a:lnTo>
                        <a:pt x="506640" y="497348"/>
                      </a:lnTo>
                      <a:lnTo>
                        <a:pt x="476904" y="501724"/>
                      </a:lnTo>
                      <a:lnTo>
                        <a:pt x="477008" y="499574"/>
                      </a:lnTo>
                      <a:lnTo>
                        <a:pt x="478249" y="499832"/>
                      </a:lnTo>
                      <a:lnTo>
                        <a:pt x="479342" y="499432"/>
                      </a:lnTo>
                      <a:lnTo>
                        <a:pt x="481583" y="497228"/>
                      </a:lnTo>
                      <a:lnTo>
                        <a:pt x="483855" y="492338"/>
                      </a:lnTo>
                      <a:lnTo>
                        <a:pt x="490052" y="487854"/>
                      </a:lnTo>
                      <a:lnTo>
                        <a:pt x="497134" y="485180"/>
                      </a:lnTo>
                      <a:lnTo>
                        <a:pt x="502007" y="485737"/>
                      </a:lnTo>
                      <a:lnTo>
                        <a:pt x="508225" y="488506"/>
                      </a:lnTo>
                      <a:lnTo>
                        <a:pt x="522138" y="489530"/>
                      </a:lnTo>
                      <a:lnTo>
                        <a:pt x="527293" y="494532"/>
                      </a:lnTo>
                      <a:lnTo>
                        <a:pt x="525032" y="495818"/>
                      </a:lnTo>
                      <a:lnTo>
                        <a:pt x="522936" y="498643"/>
                      </a:lnTo>
                      <a:lnTo>
                        <a:pt x="521734" y="502900"/>
                      </a:lnTo>
                      <a:lnTo>
                        <a:pt x="522238" y="508496"/>
                      </a:lnTo>
                      <a:lnTo>
                        <a:pt x="536514" y="488635"/>
                      </a:lnTo>
                      <a:lnTo>
                        <a:pt x="541174" y="485640"/>
                      </a:lnTo>
                      <a:lnTo>
                        <a:pt x="541214" y="488318"/>
                      </a:lnTo>
                      <a:lnTo>
                        <a:pt x="544049" y="488487"/>
                      </a:lnTo>
                      <a:lnTo>
                        <a:pt x="560431" y="480127"/>
                      </a:lnTo>
                      <a:lnTo>
                        <a:pt x="567259" y="479622"/>
                      </a:lnTo>
                      <a:lnTo>
                        <a:pt x="568258" y="480659"/>
                      </a:lnTo>
                      <a:lnTo>
                        <a:pt x="564535" y="490090"/>
                      </a:lnTo>
                      <a:lnTo>
                        <a:pt x="563473" y="492106"/>
                      </a:lnTo>
                      <a:lnTo>
                        <a:pt x="562731" y="493205"/>
                      </a:lnTo>
                      <a:lnTo>
                        <a:pt x="562479" y="494813"/>
                      </a:lnTo>
                      <a:lnTo>
                        <a:pt x="562920" y="498292"/>
                      </a:lnTo>
                      <a:lnTo>
                        <a:pt x="563756" y="501461"/>
                      </a:lnTo>
                      <a:lnTo>
                        <a:pt x="564810" y="503078"/>
                      </a:lnTo>
                      <a:lnTo>
                        <a:pt x="566005" y="502925"/>
                      </a:lnTo>
                      <a:lnTo>
                        <a:pt x="567283" y="500832"/>
                      </a:lnTo>
                      <a:lnTo>
                        <a:pt x="565110" y="497909"/>
                      </a:lnTo>
                      <a:lnTo>
                        <a:pt x="565278" y="494031"/>
                      </a:lnTo>
                      <a:lnTo>
                        <a:pt x="566796" y="490005"/>
                      </a:lnTo>
                      <a:lnTo>
                        <a:pt x="568701" y="486697"/>
                      </a:lnTo>
                      <a:lnTo>
                        <a:pt x="571039" y="484503"/>
                      </a:lnTo>
                      <a:lnTo>
                        <a:pt x="573439" y="483212"/>
                      </a:lnTo>
                      <a:lnTo>
                        <a:pt x="575341" y="481014"/>
                      </a:lnTo>
                      <a:lnTo>
                        <a:pt x="576266" y="476248"/>
                      </a:lnTo>
                      <a:lnTo>
                        <a:pt x="595809" y="469481"/>
                      </a:lnTo>
                      <a:lnTo>
                        <a:pt x="600533" y="469891"/>
                      </a:lnTo>
                      <a:lnTo>
                        <a:pt x="604539" y="474764"/>
                      </a:lnTo>
                      <a:lnTo>
                        <a:pt x="605903" y="478353"/>
                      </a:lnTo>
                      <a:lnTo>
                        <a:pt x="606279" y="484347"/>
                      </a:lnTo>
                      <a:lnTo>
                        <a:pt x="606749" y="487486"/>
                      </a:lnTo>
                      <a:lnTo>
                        <a:pt x="607967" y="488467"/>
                      </a:lnTo>
                      <a:lnTo>
                        <a:pt x="609220" y="488058"/>
                      </a:lnTo>
                      <a:lnTo>
                        <a:pt x="609828" y="486951"/>
                      </a:lnTo>
                      <a:lnTo>
                        <a:pt x="610908" y="478711"/>
                      </a:lnTo>
                      <a:lnTo>
                        <a:pt x="612954" y="474609"/>
                      </a:lnTo>
                      <a:lnTo>
                        <a:pt x="619213" y="468247"/>
                      </a:lnTo>
                      <a:lnTo>
                        <a:pt x="620964" y="465628"/>
                      </a:lnTo>
                      <a:lnTo>
                        <a:pt x="622066" y="462762"/>
                      </a:lnTo>
                      <a:lnTo>
                        <a:pt x="624041" y="455506"/>
                      </a:lnTo>
                      <a:lnTo>
                        <a:pt x="622354" y="455455"/>
                      </a:lnTo>
                      <a:lnTo>
                        <a:pt x="624499" y="450848"/>
                      </a:lnTo>
                      <a:lnTo>
                        <a:pt x="628667" y="449706"/>
                      </a:lnTo>
                      <a:lnTo>
                        <a:pt x="636731" y="450924"/>
                      </a:lnTo>
                      <a:lnTo>
                        <a:pt x="636798" y="448591"/>
                      </a:lnTo>
                      <a:lnTo>
                        <a:pt x="615874" y="445405"/>
                      </a:lnTo>
                      <a:lnTo>
                        <a:pt x="609472" y="440674"/>
                      </a:lnTo>
                      <a:lnTo>
                        <a:pt x="609541" y="438523"/>
                      </a:lnTo>
                      <a:lnTo>
                        <a:pt x="614588" y="433490"/>
                      </a:lnTo>
                      <a:lnTo>
                        <a:pt x="616010" y="430454"/>
                      </a:lnTo>
                      <a:lnTo>
                        <a:pt x="613364" y="428978"/>
                      </a:lnTo>
                      <a:lnTo>
                        <a:pt x="611722" y="429981"/>
                      </a:lnTo>
                      <a:lnTo>
                        <a:pt x="606348" y="435043"/>
                      </a:lnTo>
                      <a:lnTo>
                        <a:pt x="605175" y="437103"/>
                      </a:lnTo>
                      <a:lnTo>
                        <a:pt x="601552" y="441232"/>
                      </a:lnTo>
                      <a:lnTo>
                        <a:pt x="577439" y="439039"/>
                      </a:lnTo>
                      <a:lnTo>
                        <a:pt x="576290" y="437322"/>
                      </a:lnTo>
                      <a:lnTo>
                        <a:pt x="575670" y="434416"/>
                      </a:lnTo>
                      <a:lnTo>
                        <a:pt x="574339" y="430230"/>
                      </a:lnTo>
                      <a:lnTo>
                        <a:pt x="572252" y="426650"/>
                      </a:lnTo>
                      <a:lnTo>
                        <a:pt x="570543" y="426194"/>
                      </a:lnTo>
                      <a:lnTo>
                        <a:pt x="568952" y="427682"/>
                      </a:lnTo>
                      <a:lnTo>
                        <a:pt x="567203" y="429968"/>
                      </a:lnTo>
                      <a:lnTo>
                        <a:pt x="549002" y="443247"/>
                      </a:lnTo>
                      <a:lnTo>
                        <a:pt x="549978" y="447339"/>
                      </a:lnTo>
                      <a:lnTo>
                        <a:pt x="551798" y="448002"/>
                      </a:lnTo>
                      <a:lnTo>
                        <a:pt x="553947" y="447536"/>
                      </a:lnTo>
                      <a:lnTo>
                        <a:pt x="555893" y="448216"/>
                      </a:lnTo>
                      <a:lnTo>
                        <a:pt x="550449" y="453016"/>
                      </a:lnTo>
                      <a:lnTo>
                        <a:pt x="545098" y="452467"/>
                      </a:lnTo>
                      <a:lnTo>
                        <a:pt x="540161" y="447231"/>
                      </a:lnTo>
                      <a:lnTo>
                        <a:pt x="535966" y="437995"/>
                      </a:lnTo>
                      <a:lnTo>
                        <a:pt x="537736" y="434436"/>
                      </a:lnTo>
                      <a:lnTo>
                        <a:pt x="539772" y="433083"/>
                      </a:lnTo>
                      <a:lnTo>
                        <a:pt x="541946" y="432466"/>
                      </a:lnTo>
                      <a:lnTo>
                        <a:pt x="544102" y="431230"/>
                      </a:lnTo>
                      <a:lnTo>
                        <a:pt x="545975" y="423422"/>
                      </a:lnTo>
                      <a:lnTo>
                        <a:pt x="552643" y="415185"/>
                      </a:lnTo>
                      <a:lnTo>
                        <a:pt x="560616" y="408694"/>
                      </a:lnTo>
                      <a:lnTo>
                        <a:pt x="566413" y="406126"/>
                      </a:lnTo>
                      <a:lnTo>
                        <a:pt x="565502" y="411032"/>
                      </a:lnTo>
                      <a:lnTo>
                        <a:pt x="565607" y="415469"/>
                      </a:lnTo>
                      <a:lnTo>
                        <a:pt x="566626" y="418800"/>
                      </a:lnTo>
                      <a:lnTo>
                        <a:pt x="568595" y="420380"/>
                      </a:lnTo>
                      <a:lnTo>
                        <a:pt x="569264" y="419363"/>
                      </a:lnTo>
                      <a:lnTo>
                        <a:pt x="569626" y="414450"/>
                      </a:lnTo>
                      <a:lnTo>
                        <a:pt x="570109" y="413343"/>
                      </a:lnTo>
                      <a:lnTo>
                        <a:pt x="575867" y="413554"/>
                      </a:lnTo>
                      <a:lnTo>
                        <a:pt x="577215" y="412307"/>
                      </a:lnTo>
                      <a:lnTo>
                        <a:pt x="582191" y="405899"/>
                      </a:lnTo>
                      <a:lnTo>
                        <a:pt x="583330" y="403097"/>
                      </a:lnTo>
                      <a:lnTo>
                        <a:pt x="583391" y="395247"/>
                      </a:lnTo>
                      <a:lnTo>
                        <a:pt x="584396" y="394100"/>
                      </a:lnTo>
                      <a:lnTo>
                        <a:pt x="587209" y="394846"/>
                      </a:lnTo>
                      <a:lnTo>
                        <a:pt x="586773" y="396210"/>
                      </a:lnTo>
                      <a:lnTo>
                        <a:pt x="586522" y="397384"/>
                      </a:lnTo>
                      <a:lnTo>
                        <a:pt x="586355" y="398531"/>
                      </a:lnTo>
                      <a:lnTo>
                        <a:pt x="586092" y="399746"/>
                      </a:lnTo>
                      <a:lnTo>
                        <a:pt x="588484" y="401167"/>
                      </a:lnTo>
                      <a:lnTo>
                        <a:pt x="593471" y="402491"/>
                      </a:lnTo>
                      <a:lnTo>
                        <a:pt x="595675" y="404592"/>
                      </a:lnTo>
                      <a:lnTo>
                        <a:pt x="593513" y="407347"/>
                      </a:lnTo>
                      <a:lnTo>
                        <a:pt x="591121" y="409165"/>
                      </a:lnTo>
                      <a:lnTo>
                        <a:pt x="592804" y="410869"/>
                      </a:lnTo>
                      <a:lnTo>
                        <a:pt x="594614" y="413759"/>
                      </a:lnTo>
                      <a:lnTo>
                        <a:pt x="595667" y="417370"/>
                      </a:lnTo>
                      <a:lnTo>
                        <a:pt x="595101" y="421319"/>
                      </a:lnTo>
                      <a:lnTo>
                        <a:pt x="591924" y="423517"/>
                      </a:lnTo>
                      <a:lnTo>
                        <a:pt x="583577" y="419077"/>
                      </a:lnTo>
                      <a:lnTo>
                        <a:pt x="580047" y="420796"/>
                      </a:lnTo>
                      <a:lnTo>
                        <a:pt x="581192" y="423143"/>
                      </a:lnTo>
                      <a:lnTo>
                        <a:pt x="581301" y="425992"/>
                      </a:lnTo>
                      <a:lnTo>
                        <a:pt x="580681" y="429178"/>
                      </a:lnTo>
                      <a:lnTo>
                        <a:pt x="579622" y="432573"/>
                      </a:lnTo>
                      <a:lnTo>
                        <a:pt x="580989" y="434057"/>
                      </a:lnTo>
                      <a:lnTo>
                        <a:pt x="582494" y="434955"/>
                      </a:lnTo>
                      <a:lnTo>
                        <a:pt x="584103" y="435320"/>
                      </a:lnTo>
                      <a:lnTo>
                        <a:pt x="585783" y="435155"/>
                      </a:lnTo>
                      <a:lnTo>
                        <a:pt x="584900" y="429467"/>
                      </a:lnTo>
                      <a:lnTo>
                        <a:pt x="586524" y="427581"/>
                      </a:lnTo>
                      <a:lnTo>
                        <a:pt x="594940" y="427870"/>
                      </a:lnTo>
                      <a:lnTo>
                        <a:pt x="598469" y="426160"/>
                      </a:lnTo>
                      <a:lnTo>
                        <a:pt x="598853" y="425046"/>
                      </a:lnTo>
                      <a:lnTo>
                        <a:pt x="598864" y="423484"/>
                      </a:lnTo>
                      <a:lnTo>
                        <a:pt x="599249" y="422062"/>
                      </a:lnTo>
                      <a:lnTo>
                        <a:pt x="600823" y="421510"/>
                      </a:lnTo>
                      <a:lnTo>
                        <a:pt x="606734" y="421366"/>
                      </a:lnTo>
                      <a:lnTo>
                        <a:pt x="609393" y="420072"/>
                      </a:lnTo>
                      <a:lnTo>
                        <a:pt x="612072" y="417147"/>
                      </a:lnTo>
                      <a:lnTo>
                        <a:pt x="615811" y="410186"/>
                      </a:lnTo>
                      <a:lnTo>
                        <a:pt x="617817" y="407813"/>
                      </a:lnTo>
                      <a:lnTo>
                        <a:pt x="620204" y="407959"/>
                      </a:lnTo>
                      <a:lnTo>
                        <a:pt x="615823" y="400238"/>
                      </a:lnTo>
                      <a:lnTo>
                        <a:pt x="613795" y="394829"/>
                      </a:lnTo>
                      <a:lnTo>
                        <a:pt x="613788" y="388861"/>
                      </a:lnTo>
                      <a:lnTo>
                        <a:pt x="616148" y="387023"/>
                      </a:lnTo>
                      <a:lnTo>
                        <a:pt x="619665" y="389019"/>
                      </a:lnTo>
                      <a:lnTo>
                        <a:pt x="622936" y="389483"/>
                      </a:lnTo>
                      <a:lnTo>
                        <a:pt x="624577" y="383091"/>
                      </a:lnTo>
                      <a:lnTo>
                        <a:pt x="624368" y="380059"/>
                      </a:lnTo>
                      <a:lnTo>
                        <a:pt x="623962" y="376923"/>
                      </a:lnTo>
                      <a:lnTo>
                        <a:pt x="623806" y="373879"/>
                      </a:lnTo>
                      <a:lnTo>
                        <a:pt x="624463" y="371185"/>
                      </a:lnTo>
                      <a:lnTo>
                        <a:pt x="626407" y="368400"/>
                      </a:lnTo>
                      <a:lnTo>
                        <a:pt x="628439" y="367477"/>
                      </a:lnTo>
                      <a:lnTo>
                        <a:pt x="632918" y="367778"/>
                      </a:lnTo>
                      <a:lnTo>
                        <a:pt x="635823" y="370142"/>
                      </a:lnTo>
                      <a:lnTo>
                        <a:pt x="636642" y="375344"/>
                      </a:lnTo>
                      <a:lnTo>
                        <a:pt x="637042" y="380982"/>
                      </a:lnTo>
                      <a:lnTo>
                        <a:pt x="638649" y="384687"/>
                      </a:lnTo>
                      <a:lnTo>
                        <a:pt x="637663" y="387639"/>
                      </a:lnTo>
                      <a:lnTo>
                        <a:pt x="636508" y="389943"/>
                      </a:lnTo>
                      <a:lnTo>
                        <a:pt x="635253" y="391313"/>
                      </a:lnTo>
                      <a:lnTo>
                        <a:pt x="633905" y="391612"/>
                      </a:lnTo>
                      <a:lnTo>
                        <a:pt x="635601" y="398034"/>
                      </a:lnTo>
                      <a:lnTo>
                        <a:pt x="638130" y="397529"/>
                      </a:lnTo>
                      <a:lnTo>
                        <a:pt x="640754" y="394805"/>
                      </a:lnTo>
                      <a:lnTo>
                        <a:pt x="642743" y="394439"/>
                      </a:lnTo>
                      <a:lnTo>
                        <a:pt x="643494" y="398976"/>
                      </a:lnTo>
                      <a:lnTo>
                        <a:pt x="642791" y="405287"/>
                      </a:lnTo>
                      <a:lnTo>
                        <a:pt x="641395" y="410861"/>
                      </a:lnTo>
                      <a:lnTo>
                        <a:pt x="638601" y="415341"/>
                      </a:lnTo>
                      <a:lnTo>
                        <a:pt x="639092" y="420166"/>
                      </a:lnTo>
                      <a:lnTo>
                        <a:pt x="640825" y="428643"/>
                      </a:lnTo>
                      <a:lnTo>
                        <a:pt x="639859" y="434441"/>
                      </a:lnTo>
                      <a:lnTo>
                        <a:pt x="637918" y="437522"/>
                      </a:lnTo>
                      <a:lnTo>
                        <a:pt x="635784" y="439952"/>
                      </a:lnTo>
                      <a:lnTo>
                        <a:pt x="634197" y="443789"/>
                      </a:lnTo>
                      <a:lnTo>
                        <a:pt x="648914" y="454626"/>
                      </a:lnTo>
                      <a:lnTo>
                        <a:pt x="653268" y="461031"/>
                      </a:lnTo>
                      <a:lnTo>
                        <a:pt x="655360" y="468937"/>
                      </a:lnTo>
                      <a:lnTo>
                        <a:pt x="655561" y="477299"/>
                      </a:lnTo>
                      <a:lnTo>
                        <a:pt x="655265" y="485255"/>
                      </a:lnTo>
                      <a:lnTo>
                        <a:pt x="655982" y="491800"/>
                      </a:lnTo>
                      <a:lnTo>
                        <a:pt x="658081" y="495006"/>
                      </a:lnTo>
                      <a:lnTo>
                        <a:pt x="663905" y="497378"/>
                      </a:lnTo>
                      <a:lnTo>
                        <a:pt x="666090" y="500329"/>
                      </a:lnTo>
                      <a:lnTo>
                        <a:pt x="667445" y="502966"/>
                      </a:lnTo>
                      <a:lnTo>
                        <a:pt x="683586" y="521917"/>
                      </a:lnTo>
                      <a:lnTo>
                        <a:pt x="689699" y="525429"/>
                      </a:lnTo>
                      <a:lnTo>
                        <a:pt x="693700" y="523405"/>
                      </a:lnTo>
                      <a:lnTo>
                        <a:pt x="690378" y="521645"/>
                      </a:lnTo>
                      <a:lnTo>
                        <a:pt x="686663" y="518483"/>
                      </a:lnTo>
                      <a:lnTo>
                        <a:pt x="684583" y="513654"/>
                      </a:lnTo>
                      <a:lnTo>
                        <a:pt x="686032" y="506905"/>
                      </a:lnTo>
                      <a:lnTo>
                        <a:pt x="667661" y="498582"/>
                      </a:lnTo>
                      <a:lnTo>
                        <a:pt x="662264" y="493143"/>
                      </a:lnTo>
                      <a:lnTo>
                        <a:pt x="660540" y="489287"/>
                      </a:lnTo>
                      <a:lnTo>
                        <a:pt x="661019" y="486332"/>
                      </a:lnTo>
                      <a:lnTo>
                        <a:pt x="662425" y="483511"/>
                      </a:lnTo>
                      <a:lnTo>
                        <a:pt x="663484" y="480203"/>
                      </a:lnTo>
                      <a:lnTo>
                        <a:pt x="663650" y="475367"/>
                      </a:lnTo>
                      <a:lnTo>
                        <a:pt x="663282" y="467030"/>
                      </a:lnTo>
                      <a:lnTo>
                        <a:pt x="663911" y="463458"/>
                      </a:lnTo>
                      <a:lnTo>
                        <a:pt x="662083" y="459403"/>
                      </a:lnTo>
                      <a:lnTo>
                        <a:pt x="659924" y="456773"/>
                      </a:lnTo>
                      <a:lnTo>
                        <a:pt x="655298" y="453796"/>
                      </a:lnTo>
                      <a:lnTo>
                        <a:pt x="660250" y="451561"/>
                      </a:lnTo>
                      <a:lnTo>
                        <a:pt x="664032" y="452952"/>
                      </a:lnTo>
                      <a:lnTo>
                        <a:pt x="667405" y="457215"/>
                      </a:lnTo>
                      <a:lnTo>
                        <a:pt x="680388" y="483143"/>
                      </a:lnTo>
                      <a:lnTo>
                        <a:pt x="681150" y="487719"/>
                      </a:lnTo>
                      <a:lnTo>
                        <a:pt x="686300" y="490368"/>
                      </a:lnTo>
                      <a:lnTo>
                        <a:pt x="688116" y="490210"/>
                      </a:lnTo>
                      <a:lnTo>
                        <a:pt x="687659" y="487444"/>
                      </a:lnTo>
                      <a:lnTo>
                        <a:pt x="687140" y="485098"/>
                      </a:lnTo>
                      <a:lnTo>
                        <a:pt x="685662" y="480731"/>
                      </a:lnTo>
                      <a:lnTo>
                        <a:pt x="686352" y="479705"/>
                      </a:lnTo>
                      <a:lnTo>
                        <a:pt x="687714" y="477008"/>
                      </a:lnTo>
                      <a:lnTo>
                        <a:pt x="688433" y="476066"/>
                      </a:lnTo>
                      <a:lnTo>
                        <a:pt x="686588" y="473957"/>
                      </a:lnTo>
                      <a:lnTo>
                        <a:pt x="680653" y="470953"/>
                      </a:lnTo>
                      <a:lnTo>
                        <a:pt x="679440" y="469490"/>
                      </a:lnTo>
                      <a:lnTo>
                        <a:pt x="676386" y="463763"/>
                      </a:lnTo>
                      <a:lnTo>
                        <a:pt x="671778" y="457027"/>
                      </a:lnTo>
                      <a:lnTo>
                        <a:pt x="671677" y="454268"/>
                      </a:lnTo>
                      <a:lnTo>
                        <a:pt x="674835" y="451922"/>
                      </a:lnTo>
                      <a:lnTo>
                        <a:pt x="677803" y="452161"/>
                      </a:lnTo>
                      <a:lnTo>
                        <a:pt x="679919" y="454996"/>
                      </a:lnTo>
                      <a:lnTo>
                        <a:pt x="683478" y="463927"/>
                      </a:lnTo>
                      <a:lnTo>
                        <a:pt x="686652" y="468317"/>
                      </a:lnTo>
                      <a:lnTo>
                        <a:pt x="690537" y="470344"/>
                      </a:lnTo>
                      <a:lnTo>
                        <a:pt x="694634" y="470504"/>
                      </a:lnTo>
                      <a:lnTo>
                        <a:pt x="698414" y="469191"/>
                      </a:lnTo>
                      <a:lnTo>
                        <a:pt x="696085" y="466919"/>
                      </a:lnTo>
                      <a:lnTo>
                        <a:pt x="690548" y="466069"/>
                      </a:lnTo>
                      <a:lnTo>
                        <a:pt x="688315" y="462981"/>
                      </a:lnTo>
                      <a:lnTo>
                        <a:pt x="688387" y="459746"/>
                      </a:lnTo>
                      <a:lnTo>
                        <a:pt x="689923" y="456209"/>
                      </a:lnTo>
                      <a:lnTo>
                        <a:pt x="693445" y="450011"/>
                      </a:lnTo>
                      <a:lnTo>
                        <a:pt x="675953" y="444888"/>
                      </a:lnTo>
                      <a:lnTo>
                        <a:pt x="677248" y="439221"/>
                      </a:lnTo>
                      <a:lnTo>
                        <a:pt x="679353" y="434797"/>
                      </a:lnTo>
                      <a:lnTo>
                        <a:pt x="681820" y="431900"/>
                      </a:lnTo>
                      <a:lnTo>
                        <a:pt x="684241" y="430901"/>
                      </a:lnTo>
                      <a:lnTo>
                        <a:pt x="686395" y="429135"/>
                      </a:lnTo>
                      <a:lnTo>
                        <a:pt x="687675" y="425535"/>
                      </a:lnTo>
                      <a:lnTo>
                        <a:pt x="689248" y="422911"/>
                      </a:lnTo>
                      <a:lnTo>
                        <a:pt x="692249" y="424019"/>
                      </a:lnTo>
                      <a:lnTo>
                        <a:pt x="700205" y="432852"/>
                      </a:lnTo>
                      <a:lnTo>
                        <a:pt x="714653" y="438512"/>
                      </a:lnTo>
                      <a:lnTo>
                        <a:pt x="717736" y="436321"/>
                      </a:lnTo>
                      <a:lnTo>
                        <a:pt x="717016" y="435999"/>
                      </a:lnTo>
                      <a:lnTo>
                        <a:pt x="715053" y="434118"/>
                      </a:lnTo>
                      <a:lnTo>
                        <a:pt x="716600" y="432417"/>
                      </a:lnTo>
                      <a:lnTo>
                        <a:pt x="718173" y="431548"/>
                      </a:lnTo>
                      <a:lnTo>
                        <a:pt x="703809" y="426399"/>
                      </a:lnTo>
                      <a:lnTo>
                        <a:pt x="701018" y="423712"/>
                      </a:lnTo>
                      <a:lnTo>
                        <a:pt x="696814" y="416970"/>
                      </a:lnTo>
                      <a:lnTo>
                        <a:pt x="694220" y="414622"/>
                      </a:lnTo>
                      <a:lnTo>
                        <a:pt x="687021" y="415518"/>
                      </a:lnTo>
                      <a:lnTo>
                        <a:pt x="674025" y="426750"/>
                      </a:lnTo>
                      <a:lnTo>
                        <a:pt x="666699" y="423421"/>
                      </a:lnTo>
                      <a:lnTo>
                        <a:pt x="667352" y="421678"/>
                      </a:lnTo>
                      <a:lnTo>
                        <a:pt x="668641" y="416380"/>
                      </a:lnTo>
                      <a:lnTo>
                        <a:pt x="664403" y="414585"/>
                      </a:lnTo>
                      <a:lnTo>
                        <a:pt x="662402" y="412818"/>
                      </a:lnTo>
                      <a:lnTo>
                        <a:pt x="660894" y="409107"/>
                      </a:lnTo>
                      <a:lnTo>
                        <a:pt x="667565" y="411568"/>
                      </a:lnTo>
                      <a:lnTo>
                        <a:pt x="670985" y="411597"/>
                      </a:lnTo>
                      <a:lnTo>
                        <a:pt x="676308" y="405395"/>
                      </a:lnTo>
                      <a:lnTo>
                        <a:pt x="681656" y="407969"/>
                      </a:lnTo>
                      <a:lnTo>
                        <a:pt x="683080" y="404921"/>
                      </a:lnTo>
                      <a:lnTo>
                        <a:pt x="682192" y="403930"/>
                      </a:lnTo>
                      <a:lnTo>
                        <a:pt x="681376" y="402518"/>
                      </a:lnTo>
                      <a:lnTo>
                        <a:pt x="683655" y="400503"/>
                      </a:lnTo>
                      <a:lnTo>
                        <a:pt x="686032" y="401022"/>
                      </a:lnTo>
                      <a:lnTo>
                        <a:pt x="688484" y="402385"/>
                      </a:lnTo>
                      <a:lnTo>
                        <a:pt x="690959" y="402735"/>
                      </a:lnTo>
                      <a:lnTo>
                        <a:pt x="689897" y="398238"/>
                      </a:lnTo>
                      <a:lnTo>
                        <a:pt x="687855" y="395505"/>
                      </a:lnTo>
                      <a:lnTo>
                        <a:pt x="683361" y="392900"/>
                      </a:lnTo>
                      <a:lnTo>
                        <a:pt x="683411" y="390762"/>
                      </a:lnTo>
                      <a:lnTo>
                        <a:pt x="700287" y="398702"/>
                      </a:lnTo>
                      <a:lnTo>
                        <a:pt x="706081" y="398117"/>
                      </a:lnTo>
                      <a:lnTo>
                        <a:pt x="703877" y="395794"/>
                      </a:lnTo>
                      <a:lnTo>
                        <a:pt x="698814" y="394127"/>
                      </a:lnTo>
                      <a:lnTo>
                        <a:pt x="691694" y="386729"/>
                      </a:lnTo>
                      <a:lnTo>
                        <a:pt x="690487" y="386000"/>
                      </a:lnTo>
                      <a:lnTo>
                        <a:pt x="689642" y="384489"/>
                      </a:lnTo>
                      <a:lnTo>
                        <a:pt x="689851" y="378024"/>
                      </a:lnTo>
                      <a:lnTo>
                        <a:pt x="688945" y="376527"/>
                      </a:lnTo>
                      <a:lnTo>
                        <a:pt x="687395" y="377589"/>
                      </a:lnTo>
                      <a:lnTo>
                        <a:pt x="684275" y="382400"/>
                      </a:lnTo>
                      <a:lnTo>
                        <a:pt x="682703" y="383461"/>
                      </a:lnTo>
                      <a:lnTo>
                        <a:pt x="652655" y="384201"/>
                      </a:lnTo>
                      <a:lnTo>
                        <a:pt x="651451" y="381594"/>
                      </a:lnTo>
                      <a:lnTo>
                        <a:pt x="654271" y="378209"/>
                      </a:lnTo>
                      <a:lnTo>
                        <a:pt x="658213" y="376541"/>
                      </a:lnTo>
                      <a:lnTo>
                        <a:pt x="675374" y="376212"/>
                      </a:lnTo>
                      <a:lnTo>
                        <a:pt x="676529" y="375071"/>
                      </a:lnTo>
                      <a:lnTo>
                        <a:pt x="676527" y="372597"/>
                      </a:lnTo>
                      <a:lnTo>
                        <a:pt x="675753" y="370060"/>
                      </a:lnTo>
                      <a:lnTo>
                        <a:pt x="674634" y="368893"/>
                      </a:lnTo>
                      <a:lnTo>
                        <a:pt x="655589" y="365343"/>
                      </a:lnTo>
                      <a:lnTo>
                        <a:pt x="646627" y="359783"/>
                      </a:lnTo>
                      <a:lnTo>
                        <a:pt x="644614" y="356506"/>
                      </a:lnTo>
                      <a:lnTo>
                        <a:pt x="646981" y="354208"/>
                      </a:lnTo>
                      <a:lnTo>
                        <a:pt x="650824" y="346337"/>
                      </a:lnTo>
                      <a:lnTo>
                        <a:pt x="653771" y="344758"/>
                      </a:lnTo>
                      <a:lnTo>
                        <a:pt x="656310" y="345514"/>
                      </a:lnTo>
                      <a:lnTo>
                        <a:pt x="660690" y="348710"/>
                      </a:lnTo>
                      <a:lnTo>
                        <a:pt x="663256" y="349733"/>
                      </a:lnTo>
                      <a:lnTo>
                        <a:pt x="664917" y="349523"/>
                      </a:lnTo>
                      <a:lnTo>
                        <a:pt x="666276" y="348895"/>
                      </a:lnTo>
                      <a:lnTo>
                        <a:pt x="667654" y="348719"/>
                      </a:lnTo>
                      <a:lnTo>
                        <a:pt x="669436" y="349889"/>
                      </a:lnTo>
                      <a:lnTo>
                        <a:pt x="670291" y="351485"/>
                      </a:lnTo>
                      <a:lnTo>
                        <a:pt x="671205" y="355757"/>
                      </a:lnTo>
                      <a:lnTo>
                        <a:pt x="671940" y="357223"/>
                      </a:lnTo>
                      <a:lnTo>
                        <a:pt x="674765" y="358431"/>
                      </a:lnTo>
                      <a:lnTo>
                        <a:pt x="681102" y="357105"/>
                      </a:lnTo>
                      <a:lnTo>
                        <a:pt x="682387" y="359624"/>
                      </a:lnTo>
                      <a:lnTo>
                        <a:pt x="696226" y="367361"/>
                      </a:lnTo>
                      <a:lnTo>
                        <a:pt x="702663" y="375316"/>
                      </a:lnTo>
                      <a:lnTo>
                        <a:pt x="702760" y="388626"/>
                      </a:lnTo>
                      <a:lnTo>
                        <a:pt x="725124" y="408213"/>
                      </a:lnTo>
                      <a:lnTo>
                        <a:pt x="729237" y="410450"/>
                      </a:lnTo>
                      <a:lnTo>
                        <a:pt x="733261" y="410645"/>
                      </a:lnTo>
                      <a:lnTo>
                        <a:pt x="726500" y="401626"/>
                      </a:lnTo>
                      <a:lnTo>
                        <a:pt x="725581" y="397419"/>
                      </a:lnTo>
                      <a:lnTo>
                        <a:pt x="724303" y="395131"/>
                      </a:lnTo>
                      <a:lnTo>
                        <a:pt x="713214" y="386274"/>
                      </a:lnTo>
                      <a:lnTo>
                        <a:pt x="709279" y="380205"/>
                      </a:lnTo>
                      <a:lnTo>
                        <a:pt x="706916" y="373098"/>
                      </a:lnTo>
                      <a:lnTo>
                        <a:pt x="708460" y="367488"/>
                      </a:lnTo>
                      <a:lnTo>
                        <a:pt x="703947" y="360307"/>
                      </a:lnTo>
                      <a:lnTo>
                        <a:pt x="698331" y="355843"/>
                      </a:lnTo>
                      <a:lnTo>
                        <a:pt x="684219" y="352113"/>
                      </a:lnTo>
                      <a:lnTo>
                        <a:pt x="677408" y="347438"/>
                      </a:lnTo>
                      <a:lnTo>
                        <a:pt x="675239" y="344221"/>
                      </a:lnTo>
                      <a:lnTo>
                        <a:pt x="672441" y="341241"/>
                      </a:lnTo>
                      <a:lnTo>
                        <a:pt x="665578" y="342843"/>
                      </a:lnTo>
                      <a:lnTo>
                        <a:pt x="662691" y="340266"/>
                      </a:lnTo>
                      <a:lnTo>
                        <a:pt x="667960" y="335897"/>
                      </a:lnTo>
                      <a:lnTo>
                        <a:pt x="665977" y="335003"/>
                      </a:lnTo>
                      <a:lnTo>
                        <a:pt x="662045" y="335549"/>
                      </a:lnTo>
                      <a:lnTo>
                        <a:pt x="660171" y="333335"/>
                      </a:lnTo>
                      <a:lnTo>
                        <a:pt x="665864" y="329738"/>
                      </a:lnTo>
                      <a:lnTo>
                        <a:pt x="677695" y="327021"/>
                      </a:lnTo>
                      <a:lnTo>
                        <a:pt x="686350" y="320851"/>
                      </a:lnTo>
                      <a:lnTo>
                        <a:pt x="721071" y="315999"/>
                      </a:lnTo>
                      <a:lnTo>
                        <a:pt x="724536" y="317455"/>
                      </a:lnTo>
                      <a:lnTo>
                        <a:pt x="734716" y="325283"/>
                      </a:lnTo>
                      <a:lnTo>
                        <a:pt x="740572" y="325661"/>
                      </a:lnTo>
                      <a:lnTo>
                        <a:pt x="743205" y="327757"/>
                      </a:lnTo>
                      <a:lnTo>
                        <a:pt x="744231" y="333791"/>
                      </a:lnTo>
                      <a:lnTo>
                        <a:pt x="743259" y="335450"/>
                      </a:lnTo>
                      <a:lnTo>
                        <a:pt x="738650" y="341550"/>
                      </a:lnTo>
                      <a:lnTo>
                        <a:pt x="737083" y="344422"/>
                      </a:lnTo>
                      <a:lnTo>
                        <a:pt x="740074" y="344682"/>
                      </a:lnTo>
                      <a:lnTo>
                        <a:pt x="758997" y="337665"/>
                      </a:lnTo>
                      <a:lnTo>
                        <a:pt x="763496" y="333000"/>
                      </a:lnTo>
                      <a:lnTo>
                        <a:pt x="765728" y="331511"/>
                      </a:lnTo>
                      <a:lnTo>
                        <a:pt x="776026" y="328093"/>
                      </a:lnTo>
                      <a:lnTo>
                        <a:pt x="778271" y="329554"/>
                      </a:lnTo>
                      <a:lnTo>
                        <a:pt x="782049" y="338933"/>
                      </a:lnTo>
                      <a:lnTo>
                        <a:pt x="783011" y="340322"/>
                      </a:lnTo>
                      <a:lnTo>
                        <a:pt x="784178" y="350658"/>
                      </a:lnTo>
                      <a:lnTo>
                        <a:pt x="784619" y="353207"/>
                      </a:lnTo>
                      <a:lnTo>
                        <a:pt x="788017" y="358853"/>
                      </a:lnTo>
                      <a:lnTo>
                        <a:pt x="801600" y="368809"/>
                      </a:lnTo>
                      <a:lnTo>
                        <a:pt x="799205" y="375412"/>
                      </a:lnTo>
                      <a:lnTo>
                        <a:pt x="798899" y="376928"/>
                      </a:lnTo>
                      <a:lnTo>
                        <a:pt x="799268" y="380096"/>
                      </a:lnTo>
                      <a:lnTo>
                        <a:pt x="800129" y="382002"/>
                      </a:lnTo>
                      <a:lnTo>
                        <a:pt x="801004" y="383486"/>
                      </a:lnTo>
                      <a:lnTo>
                        <a:pt x="801459" y="385333"/>
                      </a:lnTo>
                      <a:lnTo>
                        <a:pt x="800971" y="391038"/>
                      </a:lnTo>
                      <a:lnTo>
                        <a:pt x="799991" y="395501"/>
                      </a:lnTo>
                      <a:lnTo>
                        <a:pt x="799808" y="398424"/>
                      </a:lnTo>
                      <a:lnTo>
                        <a:pt x="801778" y="399482"/>
                      </a:lnTo>
                      <a:lnTo>
                        <a:pt x="804492" y="397846"/>
                      </a:lnTo>
                      <a:lnTo>
                        <a:pt x="805687" y="393818"/>
                      </a:lnTo>
                      <a:lnTo>
                        <a:pt x="805601" y="388797"/>
                      </a:lnTo>
                      <a:lnTo>
                        <a:pt x="804519" y="384274"/>
                      </a:lnTo>
                      <a:lnTo>
                        <a:pt x="804268" y="379294"/>
                      </a:lnTo>
                      <a:lnTo>
                        <a:pt x="807107" y="376772"/>
                      </a:lnTo>
                      <a:lnTo>
                        <a:pt x="813003" y="375774"/>
                      </a:lnTo>
                      <a:lnTo>
                        <a:pt x="809242" y="365060"/>
                      </a:lnTo>
                      <a:lnTo>
                        <a:pt x="804456" y="358834"/>
                      </a:lnTo>
                      <a:lnTo>
                        <a:pt x="793833" y="349881"/>
                      </a:lnTo>
                      <a:lnTo>
                        <a:pt x="791676" y="347021"/>
                      </a:lnTo>
                      <a:lnTo>
                        <a:pt x="789734" y="343556"/>
                      </a:lnTo>
                      <a:lnTo>
                        <a:pt x="788110" y="339729"/>
                      </a:lnTo>
                      <a:lnTo>
                        <a:pt x="786988" y="335639"/>
                      </a:lnTo>
                      <a:lnTo>
                        <a:pt x="786070" y="328162"/>
                      </a:lnTo>
                      <a:lnTo>
                        <a:pt x="787426" y="326488"/>
                      </a:lnTo>
                      <a:lnTo>
                        <a:pt x="789933" y="325825"/>
                      </a:lnTo>
                      <a:lnTo>
                        <a:pt x="792447" y="321307"/>
                      </a:lnTo>
                      <a:lnTo>
                        <a:pt x="792106" y="320051"/>
                      </a:lnTo>
                      <a:lnTo>
                        <a:pt x="791516" y="316813"/>
                      </a:lnTo>
                      <a:lnTo>
                        <a:pt x="801719" y="316075"/>
                      </a:lnTo>
                      <a:lnTo>
                        <a:pt x="822994" y="331203"/>
                      </a:lnTo>
                      <a:lnTo>
                        <a:pt x="833334" y="333408"/>
                      </a:lnTo>
                      <a:lnTo>
                        <a:pt x="829368" y="327187"/>
                      </a:lnTo>
                      <a:lnTo>
                        <a:pt x="806395" y="314355"/>
                      </a:lnTo>
                      <a:lnTo>
                        <a:pt x="810325" y="311081"/>
                      </a:lnTo>
                      <a:lnTo>
                        <a:pt x="828734" y="309353"/>
                      </a:lnTo>
                      <a:lnTo>
                        <a:pt x="850292" y="315158"/>
                      </a:lnTo>
                      <a:lnTo>
                        <a:pt x="863929" y="324531"/>
                      </a:lnTo>
                      <a:lnTo>
                        <a:pt x="870960" y="321677"/>
                      </a:lnTo>
                      <a:lnTo>
                        <a:pt x="863807" y="320199"/>
                      </a:lnTo>
                      <a:lnTo>
                        <a:pt x="837957" y="301619"/>
                      </a:lnTo>
                      <a:lnTo>
                        <a:pt x="819583" y="302665"/>
                      </a:lnTo>
                      <a:lnTo>
                        <a:pt x="829431" y="278197"/>
                      </a:lnTo>
                      <a:lnTo>
                        <a:pt x="829761" y="274204"/>
                      </a:lnTo>
                      <a:lnTo>
                        <a:pt x="826996" y="274557"/>
                      </a:lnTo>
                      <a:lnTo>
                        <a:pt x="821434" y="277533"/>
                      </a:lnTo>
                      <a:lnTo>
                        <a:pt x="816020" y="282279"/>
                      </a:lnTo>
                      <a:lnTo>
                        <a:pt x="806643" y="283463"/>
                      </a:lnTo>
                      <a:lnTo>
                        <a:pt x="801924" y="287474"/>
                      </a:lnTo>
                      <a:lnTo>
                        <a:pt x="793235" y="299812"/>
                      </a:lnTo>
                      <a:lnTo>
                        <a:pt x="766021" y="306792"/>
                      </a:lnTo>
                      <a:lnTo>
                        <a:pt x="760363" y="302076"/>
                      </a:lnTo>
                      <a:lnTo>
                        <a:pt x="763126" y="300454"/>
                      </a:lnTo>
                      <a:lnTo>
                        <a:pt x="770534" y="298524"/>
                      </a:lnTo>
                      <a:lnTo>
                        <a:pt x="772594" y="294935"/>
                      </a:lnTo>
                      <a:lnTo>
                        <a:pt x="771985" y="290751"/>
                      </a:lnTo>
                      <a:lnTo>
                        <a:pt x="769429" y="287850"/>
                      </a:lnTo>
                      <a:lnTo>
                        <a:pt x="766323" y="286165"/>
                      </a:lnTo>
                      <a:lnTo>
                        <a:pt x="764060" y="285587"/>
                      </a:lnTo>
                      <a:lnTo>
                        <a:pt x="762811" y="284811"/>
                      </a:lnTo>
                      <a:lnTo>
                        <a:pt x="760320" y="281402"/>
                      </a:lnTo>
                      <a:lnTo>
                        <a:pt x="758928" y="280595"/>
                      </a:lnTo>
                      <a:lnTo>
                        <a:pt x="757580" y="281082"/>
                      </a:lnTo>
                      <a:lnTo>
                        <a:pt x="747671" y="292737"/>
                      </a:lnTo>
                      <a:lnTo>
                        <a:pt x="746082" y="295848"/>
                      </a:lnTo>
                      <a:lnTo>
                        <a:pt x="740927" y="301394"/>
                      </a:lnTo>
                      <a:lnTo>
                        <a:pt x="727031" y="299893"/>
                      </a:lnTo>
                      <a:lnTo>
                        <a:pt x="718005" y="304563"/>
                      </a:lnTo>
                      <a:lnTo>
                        <a:pt x="700977" y="304251"/>
                      </a:lnTo>
                      <a:lnTo>
                        <a:pt x="697969" y="303146"/>
                      </a:lnTo>
                      <a:lnTo>
                        <a:pt x="696738" y="299773"/>
                      </a:lnTo>
                      <a:lnTo>
                        <a:pt x="696785" y="294824"/>
                      </a:lnTo>
                      <a:lnTo>
                        <a:pt x="696566" y="292089"/>
                      </a:lnTo>
                      <a:lnTo>
                        <a:pt x="695290" y="286745"/>
                      </a:lnTo>
                      <a:lnTo>
                        <a:pt x="694062" y="283482"/>
                      </a:lnTo>
                      <a:lnTo>
                        <a:pt x="692927" y="281588"/>
                      </a:lnTo>
                      <a:lnTo>
                        <a:pt x="692608" y="279289"/>
                      </a:lnTo>
                      <a:lnTo>
                        <a:pt x="693825" y="274701"/>
                      </a:lnTo>
                      <a:lnTo>
                        <a:pt x="695321" y="272792"/>
                      </a:lnTo>
                      <a:lnTo>
                        <a:pt x="702663" y="267831"/>
                      </a:lnTo>
                      <a:lnTo>
                        <a:pt x="707508" y="271138"/>
                      </a:lnTo>
                      <a:lnTo>
                        <a:pt x="707509" y="271138"/>
                      </a:lnTo>
                      <a:lnTo>
                        <a:pt x="707324" y="271569"/>
                      </a:lnTo>
                      <a:lnTo>
                        <a:pt x="707634" y="274629"/>
                      </a:lnTo>
                      <a:lnTo>
                        <a:pt x="708287" y="277250"/>
                      </a:lnTo>
                      <a:lnTo>
                        <a:pt x="710324" y="279472"/>
                      </a:lnTo>
                      <a:lnTo>
                        <a:pt x="718521" y="280739"/>
                      </a:lnTo>
                      <a:lnTo>
                        <a:pt x="727799" y="275944"/>
                      </a:lnTo>
                      <a:lnTo>
                        <a:pt x="746142" y="260755"/>
                      </a:lnTo>
                      <a:lnTo>
                        <a:pt x="807533" y="258156"/>
                      </a:lnTo>
                      <a:lnTo>
                        <a:pt x="832603" y="247320"/>
                      </a:lnTo>
                      <a:lnTo>
                        <a:pt x="864800" y="245807"/>
                      </a:lnTo>
                      <a:close/>
                      <a:moveTo>
                        <a:pt x="501349" y="127151"/>
                      </a:moveTo>
                      <a:lnTo>
                        <a:pt x="508603" y="129137"/>
                      </a:lnTo>
                      <a:lnTo>
                        <a:pt x="511483" y="132141"/>
                      </a:lnTo>
                      <a:lnTo>
                        <a:pt x="512924" y="137809"/>
                      </a:lnTo>
                      <a:lnTo>
                        <a:pt x="511528" y="143599"/>
                      </a:lnTo>
                      <a:lnTo>
                        <a:pt x="507738" y="146663"/>
                      </a:lnTo>
                      <a:lnTo>
                        <a:pt x="500573" y="147372"/>
                      </a:lnTo>
                      <a:lnTo>
                        <a:pt x="499475" y="146953"/>
                      </a:lnTo>
                      <a:lnTo>
                        <a:pt x="495466" y="143299"/>
                      </a:lnTo>
                      <a:lnTo>
                        <a:pt x="493617" y="142493"/>
                      </a:lnTo>
                      <a:lnTo>
                        <a:pt x="493286" y="140323"/>
                      </a:lnTo>
                      <a:lnTo>
                        <a:pt x="495431" y="135063"/>
                      </a:lnTo>
                      <a:lnTo>
                        <a:pt x="495385" y="132878"/>
                      </a:lnTo>
                      <a:lnTo>
                        <a:pt x="495210" y="131041"/>
                      </a:lnTo>
                      <a:lnTo>
                        <a:pt x="495950" y="129598"/>
                      </a:lnTo>
                      <a:lnTo>
                        <a:pt x="498055" y="127587"/>
                      </a:lnTo>
                      <a:close/>
                      <a:moveTo>
                        <a:pt x="620850" y="118279"/>
                      </a:moveTo>
                      <a:lnTo>
                        <a:pt x="624143" y="119017"/>
                      </a:lnTo>
                      <a:lnTo>
                        <a:pt x="626914" y="122184"/>
                      </a:lnTo>
                      <a:lnTo>
                        <a:pt x="626949" y="122847"/>
                      </a:lnTo>
                      <a:lnTo>
                        <a:pt x="624882" y="124608"/>
                      </a:lnTo>
                      <a:lnTo>
                        <a:pt x="623474" y="127029"/>
                      </a:lnTo>
                      <a:lnTo>
                        <a:pt x="622516" y="130465"/>
                      </a:lnTo>
                      <a:lnTo>
                        <a:pt x="622383" y="133971"/>
                      </a:lnTo>
                      <a:lnTo>
                        <a:pt x="623326" y="141315"/>
                      </a:lnTo>
                      <a:lnTo>
                        <a:pt x="623522" y="144233"/>
                      </a:lnTo>
                      <a:lnTo>
                        <a:pt x="623369" y="147196"/>
                      </a:lnTo>
                      <a:lnTo>
                        <a:pt x="622715" y="150694"/>
                      </a:lnTo>
                      <a:lnTo>
                        <a:pt x="618024" y="164677"/>
                      </a:lnTo>
                      <a:lnTo>
                        <a:pt x="610566" y="180612"/>
                      </a:lnTo>
                      <a:lnTo>
                        <a:pt x="602430" y="191124"/>
                      </a:lnTo>
                      <a:lnTo>
                        <a:pt x="601376" y="193286"/>
                      </a:lnTo>
                      <a:lnTo>
                        <a:pt x="601052" y="195918"/>
                      </a:lnTo>
                      <a:lnTo>
                        <a:pt x="601511" y="199508"/>
                      </a:lnTo>
                      <a:lnTo>
                        <a:pt x="603134" y="202333"/>
                      </a:lnTo>
                      <a:lnTo>
                        <a:pt x="605446" y="204787"/>
                      </a:lnTo>
                      <a:lnTo>
                        <a:pt x="607286" y="207394"/>
                      </a:lnTo>
                      <a:lnTo>
                        <a:pt x="608438" y="210827"/>
                      </a:lnTo>
                      <a:lnTo>
                        <a:pt x="608188" y="215554"/>
                      </a:lnTo>
                      <a:lnTo>
                        <a:pt x="607183" y="220264"/>
                      </a:lnTo>
                      <a:lnTo>
                        <a:pt x="603786" y="226592"/>
                      </a:lnTo>
                      <a:lnTo>
                        <a:pt x="601815" y="229375"/>
                      </a:lnTo>
                      <a:lnTo>
                        <a:pt x="598923" y="232012"/>
                      </a:lnTo>
                      <a:lnTo>
                        <a:pt x="594459" y="239417"/>
                      </a:lnTo>
                      <a:lnTo>
                        <a:pt x="588860" y="263843"/>
                      </a:lnTo>
                      <a:lnTo>
                        <a:pt x="588548" y="267085"/>
                      </a:lnTo>
                      <a:lnTo>
                        <a:pt x="588919" y="269314"/>
                      </a:lnTo>
                      <a:lnTo>
                        <a:pt x="590367" y="274457"/>
                      </a:lnTo>
                      <a:lnTo>
                        <a:pt x="592482" y="279876"/>
                      </a:lnTo>
                      <a:lnTo>
                        <a:pt x="592484" y="280385"/>
                      </a:lnTo>
                      <a:lnTo>
                        <a:pt x="592422" y="281570"/>
                      </a:lnTo>
                      <a:lnTo>
                        <a:pt x="591896" y="283105"/>
                      </a:lnTo>
                      <a:lnTo>
                        <a:pt x="591018" y="284909"/>
                      </a:lnTo>
                      <a:lnTo>
                        <a:pt x="587970" y="289777"/>
                      </a:lnTo>
                      <a:lnTo>
                        <a:pt x="587452" y="291046"/>
                      </a:lnTo>
                      <a:lnTo>
                        <a:pt x="587429" y="292241"/>
                      </a:lnTo>
                      <a:lnTo>
                        <a:pt x="587944" y="293262"/>
                      </a:lnTo>
                      <a:lnTo>
                        <a:pt x="589673" y="292840"/>
                      </a:lnTo>
                      <a:lnTo>
                        <a:pt x="592386" y="290969"/>
                      </a:lnTo>
                      <a:lnTo>
                        <a:pt x="617982" y="263603"/>
                      </a:lnTo>
                      <a:lnTo>
                        <a:pt x="621559" y="258068"/>
                      </a:lnTo>
                      <a:lnTo>
                        <a:pt x="623906" y="253282"/>
                      </a:lnTo>
                      <a:lnTo>
                        <a:pt x="625003" y="250172"/>
                      </a:lnTo>
                      <a:lnTo>
                        <a:pt x="626315" y="247656"/>
                      </a:lnTo>
                      <a:lnTo>
                        <a:pt x="629865" y="245765"/>
                      </a:lnTo>
                      <a:lnTo>
                        <a:pt x="638425" y="249806"/>
                      </a:lnTo>
                      <a:lnTo>
                        <a:pt x="665953" y="237641"/>
                      </a:lnTo>
                      <a:lnTo>
                        <a:pt x="697126" y="255421"/>
                      </a:lnTo>
                      <a:lnTo>
                        <a:pt x="697746" y="256727"/>
                      </a:lnTo>
                      <a:lnTo>
                        <a:pt x="698296" y="259299"/>
                      </a:lnTo>
                      <a:lnTo>
                        <a:pt x="697119" y="264168"/>
                      </a:lnTo>
                      <a:lnTo>
                        <a:pt x="695031" y="266372"/>
                      </a:lnTo>
                      <a:lnTo>
                        <a:pt x="692243" y="265778"/>
                      </a:lnTo>
                      <a:lnTo>
                        <a:pt x="687266" y="262767"/>
                      </a:lnTo>
                      <a:lnTo>
                        <a:pt x="678064" y="261834"/>
                      </a:lnTo>
                      <a:lnTo>
                        <a:pt x="662232" y="265615"/>
                      </a:lnTo>
                      <a:lnTo>
                        <a:pt x="653584" y="273290"/>
                      </a:lnTo>
                      <a:lnTo>
                        <a:pt x="651831" y="273664"/>
                      </a:lnTo>
                      <a:lnTo>
                        <a:pt x="650343" y="272302"/>
                      </a:lnTo>
                      <a:lnTo>
                        <a:pt x="648918" y="269815"/>
                      </a:lnTo>
                      <a:lnTo>
                        <a:pt x="647446" y="268297"/>
                      </a:lnTo>
                      <a:lnTo>
                        <a:pt x="645821" y="269981"/>
                      </a:lnTo>
                      <a:lnTo>
                        <a:pt x="644232" y="276140"/>
                      </a:lnTo>
                      <a:lnTo>
                        <a:pt x="642358" y="285287"/>
                      </a:lnTo>
                      <a:lnTo>
                        <a:pt x="640050" y="293565"/>
                      </a:lnTo>
                      <a:lnTo>
                        <a:pt x="634618" y="299582"/>
                      </a:lnTo>
                      <a:lnTo>
                        <a:pt x="632265" y="305576"/>
                      </a:lnTo>
                      <a:lnTo>
                        <a:pt x="628238" y="318047"/>
                      </a:lnTo>
                      <a:lnTo>
                        <a:pt x="624869" y="322334"/>
                      </a:lnTo>
                      <a:lnTo>
                        <a:pt x="620048" y="325802"/>
                      </a:lnTo>
                      <a:lnTo>
                        <a:pt x="616502" y="325957"/>
                      </a:lnTo>
                      <a:lnTo>
                        <a:pt x="616933" y="320273"/>
                      </a:lnTo>
                      <a:lnTo>
                        <a:pt x="616157" y="315057"/>
                      </a:lnTo>
                      <a:lnTo>
                        <a:pt x="616685" y="310220"/>
                      </a:lnTo>
                      <a:lnTo>
                        <a:pt x="617722" y="305356"/>
                      </a:lnTo>
                      <a:lnTo>
                        <a:pt x="618356" y="300058"/>
                      </a:lnTo>
                      <a:lnTo>
                        <a:pt x="618150" y="295831"/>
                      </a:lnTo>
                      <a:lnTo>
                        <a:pt x="617489" y="292265"/>
                      </a:lnTo>
                      <a:lnTo>
                        <a:pt x="617000" y="288155"/>
                      </a:lnTo>
                      <a:lnTo>
                        <a:pt x="617209" y="282295"/>
                      </a:lnTo>
                      <a:lnTo>
                        <a:pt x="615559" y="285421"/>
                      </a:lnTo>
                      <a:lnTo>
                        <a:pt x="615595" y="288490"/>
                      </a:lnTo>
                      <a:lnTo>
                        <a:pt x="616133" y="291968"/>
                      </a:lnTo>
                      <a:lnTo>
                        <a:pt x="615958" y="296437"/>
                      </a:lnTo>
                      <a:lnTo>
                        <a:pt x="614877" y="301088"/>
                      </a:lnTo>
                      <a:lnTo>
                        <a:pt x="613806" y="303164"/>
                      </a:lnTo>
                      <a:lnTo>
                        <a:pt x="610343" y="306767"/>
                      </a:lnTo>
                      <a:lnTo>
                        <a:pt x="609014" y="305893"/>
                      </a:lnTo>
                      <a:lnTo>
                        <a:pt x="607031" y="303240"/>
                      </a:lnTo>
                      <a:lnTo>
                        <a:pt x="605167" y="301701"/>
                      </a:lnTo>
                      <a:lnTo>
                        <a:pt x="604245" y="304203"/>
                      </a:lnTo>
                      <a:lnTo>
                        <a:pt x="604869" y="308432"/>
                      </a:lnTo>
                      <a:lnTo>
                        <a:pt x="608117" y="313912"/>
                      </a:lnTo>
                      <a:lnTo>
                        <a:pt x="609120" y="317448"/>
                      </a:lnTo>
                      <a:lnTo>
                        <a:pt x="606142" y="317140"/>
                      </a:lnTo>
                      <a:lnTo>
                        <a:pt x="604745" y="314266"/>
                      </a:lnTo>
                      <a:lnTo>
                        <a:pt x="603876" y="310227"/>
                      </a:lnTo>
                      <a:lnTo>
                        <a:pt x="602519" y="306509"/>
                      </a:lnTo>
                      <a:lnTo>
                        <a:pt x="600808" y="305988"/>
                      </a:lnTo>
                      <a:lnTo>
                        <a:pt x="599732" y="309553"/>
                      </a:lnTo>
                      <a:lnTo>
                        <a:pt x="598639" y="314230"/>
                      </a:lnTo>
                      <a:lnTo>
                        <a:pt x="596862" y="317041"/>
                      </a:lnTo>
                      <a:lnTo>
                        <a:pt x="597055" y="318651"/>
                      </a:lnTo>
                      <a:lnTo>
                        <a:pt x="597272" y="322613"/>
                      </a:lnTo>
                      <a:lnTo>
                        <a:pt x="597488" y="324153"/>
                      </a:lnTo>
                      <a:lnTo>
                        <a:pt x="592996" y="323747"/>
                      </a:lnTo>
                      <a:lnTo>
                        <a:pt x="590795" y="324346"/>
                      </a:lnTo>
                      <a:lnTo>
                        <a:pt x="588696" y="326425"/>
                      </a:lnTo>
                      <a:lnTo>
                        <a:pt x="590052" y="327739"/>
                      </a:lnTo>
                      <a:lnTo>
                        <a:pt x="591518" y="328592"/>
                      </a:lnTo>
                      <a:lnTo>
                        <a:pt x="593084" y="328971"/>
                      </a:lnTo>
                      <a:lnTo>
                        <a:pt x="594721" y="328787"/>
                      </a:lnTo>
                      <a:lnTo>
                        <a:pt x="592610" y="334189"/>
                      </a:lnTo>
                      <a:lnTo>
                        <a:pt x="585773" y="342786"/>
                      </a:lnTo>
                      <a:lnTo>
                        <a:pt x="585328" y="347359"/>
                      </a:lnTo>
                      <a:lnTo>
                        <a:pt x="583545" y="348575"/>
                      </a:lnTo>
                      <a:lnTo>
                        <a:pt x="580224" y="347092"/>
                      </a:lnTo>
                      <a:lnTo>
                        <a:pt x="578276" y="347106"/>
                      </a:lnTo>
                      <a:lnTo>
                        <a:pt x="579196" y="345886"/>
                      </a:lnTo>
                      <a:lnTo>
                        <a:pt x="580101" y="345032"/>
                      </a:lnTo>
                      <a:lnTo>
                        <a:pt x="580196" y="342448"/>
                      </a:lnTo>
                      <a:lnTo>
                        <a:pt x="577523" y="341815"/>
                      </a:lnTo>
                      <a:lnTo>
                        <a:pt x="573721" y="336610"/>
                      </a:lnTo>
                      <a:lnTo>
                        <a:pt x="571671" y="335268"/>
                      </a:lnTo>
                      <a:lnTo>
                        <a:pt x="552173" y="338026"/>
                      </a:lnTo>
                      <a:lnTo>
                        <a:pt x="547436" y="336317"/>
                      </a:lnTo>
                      <a:lnTo>
                        <a:pt x="545695" y="329534"/>
                      </a:lnTo>
                      <a:lnTo>
                        <a:pt x="548193" y="330732"/>
                      </a:lnTo>
                      <a:lnTo>
                        <a:pt x="550269" y="328493"/>
                      </a:lnTo>
                      <a:lnTo>
                        <a:pt x="554447" y="319129"/>
                      </a:lnTo>
                      <a:lnTo>
                        <a:pt x="556876" y="315960"/>
                      </a:lnTo>
                      <a:lnTo>
                        <a:pt x="565590" y="311427"/>
                      </a:lnTo>
                      <a:lnTo>
                        <a:pt x="570167" y="305871"/>
                      </a:lnTo>
                      <a:lnTo>
                        <a:pt x="578682" y="292183"/>
                      </a:lnTo>
                      <a:lnTo>
                        <a:pt x="584068" y="288269"/>
                      </a:lnTo>
                      <a:lnTo>
                        <a:pt x="580325" y="283800"/>
                      </a:lnTo>
                      <a:lnTo>
                        <a:pt x="579794" y="282235"/>
                      </a:lnTo>
                      <a:lnTo>
                        <a:pt x="579531" y="278439"/>
                      </a:lnTo>
                      <a:lnTo>
                        <a:pt x="578590" y="276252"/>
                      </a:lnTo>
                      <a:lnTo>
                        <a:pt x="577225" y="275484"/>
                      </a:lnTo>
                      <a:lnTo>
                        <a:pt x="575691" y="275948"/>
                      </a:lnTo>
                      <a:lnTo>
                        <a:pt x="576821" y="283561"/>
                      </a:lnTo>
                      <a:lnTo>
                        <a:pt x="576795" y="287866"/>
                      </a:lnTo>
                      <a:lnTo>
                        <a:pt x="575181" y="290944"/>
                      </a:lnTo>
                      <a:lnTo>
                        <a:pt x="561482" y="306977"/>
                      </a:lnTo>
                      <a:lnTo>
                        <a:pt x="557917" y="308541"/>
                      </a:lnTo>
                      <a:lnTo>
                        <a:pt x="557072" y="308157"/>
                      </a:lnTo>
                      <a:lnTo>
                        <a:pt x="554481" y="306071"/>
                      </a:lnTo>
                      <a:lnTo>
                        <a:pt x="553476" y="307087"/>
                      </a:lnTo>
                      <a:lnTo>
                        <a:pt x="552636" y="308658"/>
                      </a:lnTo>
                      <a:lnTo>
                        <a:pt x="551685" y="310887"/>
                      </a:lnTo>
                      <a:lnTo>
                        <a:pt x="545511" y="314271"/>
                      </a:lnTo>
                      <a:lnTo>
                        <a:pt x="540406" y="321761"/>
                      </a:lnTo>
                      <a:lnTo>
                        <a:pt x="531776" y="323922"/>
                      </a:lnTo>
                      <a:lnTo>
                        <a:pt x="528199" y="328809"/>
                      </a:lnTo>
                      <a:lnTo>
                        <a:pt x="531972" y="328575"/>
                      </a:lnTo>
                      <a:lnTo>
                        <a:pt x="533433" y="329917"/>
                      </a:lnTo>
                      <a:lnTo>
                        <a:pt x="534100" y="333787"/>
                      </a:lnTo>
                      <a:lnTo>
                        <a:pt x="531938" y="334499"/>
                      </a:lnTo>
                      <a:lnTo>
                        <a:pt x="522470" y="341865"/>
                      </a:lnTo>
                      <a:lnTo>
                        <a:pt x="520993" y="343491"/>
                      </a:lnTo>
                      <a:lnTo>
                        <a:pt x="518080" y="350712"/>
                      </a:lnTo>
                      <a:lnTo>
                        <a:pt x="514259" y="355936"/>
                      </a:lnTo>
                      <a:lnTo>
                        <a:pt x="508289" y="360583"/>
                      </a:lnTo>
                      <a:lnTo>
                        <a:pt x="503062" y="361627"/>
                      </a:lnTo>
                      <a:lnTo>
                        <a:pt x="501571" y="355971"/>
                      </a:lnTo>
                      <a:lnTo>
                        <a:pt x="502351" y="355344"/>
                      </a:lnTo>
                      <a:lnTo>
                        <a:pt x="503060" y="354447"/>
                      </a:lnTo>
                      <a:lnTo>
                        <a:pt x="503766" y="353157"/>
                      </a:lnTo>
                      <a:lnTo>
                        <a:pt x="504411" y="351370"/>
                      </a:lnTo>
                      <a:lnTo>
                        <a:pt x="503116" y="346243"/>
                      </a:lnTo>
                      <a:lnTo>
                        <a:pt x="505146" y="340845"/>
                      </a:lnTo>
                      <a:lnTo>
                        <a:pt x="508526" y="336619"/>
                      </a:lnTo>
                      <a:lnTo>
                        <a:pt x="511370" y="334946"/>
                      </a:lnTo>
                      <a:lnTo>
                        <a:pt x="513056" y="332403"/>
                      </a:lnTo>
                      <a:lnTo>
                        <a:pt x="518222" y="319397"/>
                      </a:lnTo>
                      <a:lnTo>
                        <a:pt x="520928" y="314097"/>
                      </a:lnTo>
                      <a:lnTo>
                        <a:pt x="530354" y="300018"/>
                      </a:lnTo>
                      <a:lnTo>
                        <a:pt x="534342" y="297103"/>
                      </a:lnTo>
                      <a:lnTo>
                        <a:pt x="538259" y="292580"/>
                      </a:lnTo>
                      <a:lnTo>
                        <a:pt x="540330" y="291315"/>
                      </a:lnTo>
                      <a:lnTo>
                        <a:pt x="551587" y="291771"/>
                      </a:lnTo>
                      <a:lnTo>
                        <a:pt x="548341" y="290459"/>
                      </a:lnTo>
                      <a:lnTo>
                        <a:pt x="539394" y="289460"/>
                      </a:lnTo>
                      <a:lnTo>
                        <a:pt x="537060" y="286450"/>
                      </a:lnTo>
                      <a:lnTo>
                        <a:pt x="538195" y="282584"/>
                      </a:lnTo>
                      <a:lnTo>
                        <a:pt x="542127" y="281479"/>
                      </a:lnTo>
                      <a:lnTo>
                        <a:pt x="549452" y="282228"/>
                      </a:lnTo>
                      <a:lnTo>
                        <a:pt x="542557" y="279584"/>
                      </a:lnTo>
                      <a:lnTo>
                        <a:pt x="541735" y="278481"/>
                      </a:lnTo>
                      <a:lnTo>
                        <a:pt x="541796" y="276035"/>
                      </a:lnTo>
                      <a:lnTo>
                        <a:pt x="541981" y="273594"/>
                      </a:lnTo>
                      <a:lnTo>
                        <a:pt x="541553" y="272478"/>
                      </a:lnTo>
                      <a:lnTo>
                        <a:pt x="529899" y="269398"/>
                      </a:lnTo>
                      <a:lnTo>
                        <a:pt x="532746" y="262708"/>
                      </a:lnTo>
                      <a:lnTo>
                        <a:pt x="535296" y="258031"/>
                      </a:lnTo>
                      <a:lnTo>
                        <a:pt x="538119" y="255587"/>
                      </a:lnTo>
                      <a:lnTo>
                        <a:pt x="541820" y="255740"/>
                      </a:lnTo>
                      <a:lnTo>
                        <a:pt x="547253" y="257849"/>
                      </a:lnTo>
                      <a:lnTo>
                        <a:pt x="548770" y="256530"/>
                      </a:lnTo>
                      <a:lnTo>
                        <a:pt x="547185" y="251020"/>
                      </a:lnTo>
                      <a:lnTo>
                        <a:pt x="558100" y="249302"/>
                      </a:lnTo>
                      <a:lnTo>
                        <a:pt x="559408" y="250831"/>
                      </a:lnTo>
                      <a:lnTo>
                        <a:pt x="562792" y="257422"/>
                      </a:lnTo>
                      <a:lnTo>
                        <a:pt x="565005" y="259027"/>
                      </a:lnTo>
                      <a:lnTo>
                        <a:pt x="563620" y="253372"/>
                      </a:lnTo>
                      <a:lnTo>
                        <a:pt x="557991" y="242234"/>
                      </a:lnTo>
                      <a:lnTo>
                        <a:pt x="559995" y="242495"/>
                      </a:lnTo>
                      <a:lnTo>
                        <a:pt x="563502" y="244826"/>
                      </a:lnTo>
                      <a:lnTo>
                        <a:pt x="565548" y="245087"/>
                      </a:lnTo>
                      <a:lnTo>
                        <a:pt x="564550" y="241165"/>
                      </a:lnTo>
                      <a:lnTo>
                        <a:pt x="564027" y="240076"/>
                      </a:lnTo>
                      <a:lnTo>
                        <a:pt x="564127" y="237518"/>
                      </a:lnTo>
                      <a:lnTo>
                        <a:pt x="578085" y="235906"/>
                      </a:lnTo>
                      <a:lnTo>
                        <a:pt x="579046" y="236559"/>
                      </a:lnTo>
                      <a:lnTo>
                        <a:pt x="580279" y="239883"/>
                      </a:lnTo>
                      <a:lnTo>
                        <a:pt x="581180" y="241351"/>
                      </a:lnTo>
                      <a:lnTo>
                        <a:pt x="582916" y="242752"/>
                      </a:lnTo>
                      <a:lnTo>
                        <a:pt x="584675" y="243293"/>
                      </a:lnTo>
                      <a:lnTo>
                        <a:pt x="586419" y="242806"/>
                      </a:lnTo>
                      <a:lnTo>
                        <a:pt x="588212" y="240970"/>
                      </a:lnTo>
                      <a:lnTo>
                        <a:pt x="586384" y="240652"/>
                      </a:lnTo>
                      <a:lnTo>
                        <a:pt x="585051" y="238607"/>
                      </a:lnTo>
                      <a:lnTo>
                        <a:pt x="583845" y="235918"/>
                      </a:lnTo>
                      <a:lnTo>
                        <a:pt x="582448" y="233701"/>
                      </a:lnTo>
                      <a:lnTo>
                        <a:pt x="579960" y="232695"/>
                      </a:lnTo>
                      <a:lnTo>
                        <a:pt x="573812" y="232131"/>
                      </a:lnTo>
                      <a:lnTo>
                        <a:pt x="571866" y="229876"/>
                      </a:lnTo>
                      <a:lnTo>
                        <a:pt x="569595" y="225175"/>
                      </a:lnTo>
                      <a:lnTo>
                        <a:pt x="567113" y="221197"/>
                      </a:lnTo>
                      <a:lnTo>
                        <a:pt x="565394" y="215897"/>
                      </a:lnTo>
                      <a:lnTo>
                        <a:pt x="565319" y="207084"/>
                      </a:lnTo>
                      <a:lnTo>
                        <a:pt x="566076" y="201612"/>
                      </a:lnTo>
                      <a:lnTo>
                        <a:pt x="566967" y="199718"/>
                      </a:lnTo>
                      <a:lnTo>
                        <a:pt x="581965" y="200194"/>
                      </a:lnTo>
                      <a:lnTo>
                        <a:pt x="583549" y="199661"/>
                      </a:lnTo>
                      <a:lnTo>
                        <a:pt x="585028" y="198617"/>
                      </a:lnTo>
                      <a:lnTo>
                        <a:pt x="586526" y="198164"/>
                      </a:lnTo>
                      <a:lnTo>
                        <a:pt x="588118" y="199348"/>
                      </a:lnTo>
                      <a:lnTo>
                        <a:pt x="591065" y="202660"/>
                      </a:lnTo>
                      <a:lnTo>
                        <a:pt x="593569" y="204141"/>
                      </a:lnTo>
                      <a:lnTo>
                        <a:pt x="599759" y="210504"/>
                      </a:lnTo>
                      <a:lnTo>
                        <a:pt x="596492" y="207099"/>
                      </a:lnTo>
                      <a:lnTo>
                        <a:pt x="595561" y="205632"/>
                      </a:lnTo>
                      <a:lnTo>
                        <a:pt x="595244" y="204199"/>
                      </a:lnTo>
                      <a:lnTo>
                        <a:pt x="594492" y="199712"/>
                      </a:lnTo>
                      <a:lnTo>
                        <a:pt x="594168" y="198493"/>
                      </a:lnTo>
                      <a:lnTo>
                        <a:pt x="590987" y="195735"/>
                      </a:lnTo>
                      <a:lnTo>
                        <a:pt x="573632" y="195158"/>
                      </a:lnTo>
                      <a:lnTo>
                        <a:pt x="570511" y="193718"/>
                      </a:lnTo>
                      <a:lnTo>
                        <a:pt x="568614" y="190480"/>
                      </a:lnTo>
                      <a:lnTo>
                        <a:pt x="568258" y="185979"/>
                      </a:lnTo>
                      <a:lnTo>
                        <a:pt x="569070" y="176639"/>
                      </a:lnTo>
                      <a:lnTo>
                        <a:pt x="568419" y="171379"/>
                      </a:lnTo>
                      <a:lnTo>
                        <a:pt x="569877" y="171870"/>
                      </a:lnTo>
                      <a:lnTo>
                        <a:pt x="572526" y="173701"/>
                      </a:lnTo>
                      <a:lnTo>
                        <a:pt x="573915" y="174134"/>
                      </a:lnTo>
                      <a:lnTo>
                        <a:pt x="575271" y="173298"/>
                      </a:lnTo>
                      <a:lnTo>
                        <a:pt x="576167" y="171179"/>
                      </a:lnTo>
                      <a:lnTo>
                        <a:pt x="576971" y="168761"/>
                      </a:lnTo>
                      <a:lnTo>
                        <a:pt x="578137" y="167018"/>
                      </a:lnTo>
                      <a:lnTo>
                        <a:pt x="581611" y="166653"/>
                      </a:lnTo>
                      <a:lnTo>
                        <a:pt x="588638" y="169875"/>
                      </a:lnTo>
                      <a:lnTo>
                        <a:pt x="591788" y="167513"/>
                      </a:lnTo>
                      <a:lnTo>
                        <a:pt x="589409" y="165753"/>
                      </a:lnTo>
                      <a:lnTo>
                        <a:pt x="585924" y="164488"/>
                      </a:lnTo>
                      <a:lnTo>
                        <a:pt x="582670" y="162259"/>
                      </a:lnTo>
                      <a:lnTo>
                        <a:pt x="580980" y="157668"/>
                      </a:lnTo>
                      <a:lnTo>
                        <a:pt x="581817" y="150789"/>
                      </a:lnTo>
                      <a:lnTo>
                        <a:pt x="584743" y="147448"/>
                      </a:lnTo>
                      <a:lnTo>
                        <a:pt x="590841" y="146430"/>
                      </a:lnTo>
                      <a:lnTo>
                        <a:pt x="590458" y="143547"/>
                      </a:lnTo>
                      <a:lnTo>
                        <a:pt x="589758" y="141327"/>
                      </a:lnTo>
                      <a:lnTo>
                        <a:pt x="588819" y="139816"/>
                      </a:lnTo>
                      <a:lnTo>
                        <a:pt x="587641" y="139014"/>
                      </a:lnTo>
                      <a:lnTo>
                        <a:pt x="589429" y="134760"/>
                      </a:lnTo>
                      <a:lnTo>
                        <a:pt x="592357" y="126085"/>
                      </a:lnTo>
                      <a:lnTo>
                        <a:pt x="594249" y="122717"/>
                      </a:lnTo>
                      <a:lnTo>
                        <a:pt x="598298" y="120102"/>
                      </a:lnTo>
                      <a:lnTo>
                        <a:pt x="610854" y="123285"/>
                      </a:lnTo>
                      <a:close/>
                      <a:moveTo>
                        <a:pt x="530562" y="99257"/>
                      </a:moveTo>
                      <a:lnTo>
                        <a:pt x="532180" y="100101"/>
                      </a:lnTo>
                      <a:lnTo>
                        <a:pt x="534035" y="103841"/>
                      </a:lnTo>
                      <a:lnTo>
                        <a:pt x="535584" y="108834"/>
                      </a:lnTo>
                      <a:lnTo>
                        <a:pt x="535669" y="113845"/>
                      </a:lnTo>
                      <a:lnTo>
                        <a:pt x="533100" y="117762"/>
                      </a:lnTo>
                      <a:lnTo>
                        <a:pt x="537921" y="124694"/>
                      </a:lnTo>
                      <a:lnTo>
                        <a:pt x="539625" y="125568"/>
                      </a:lnTo>
                      <a:lnTo>
                        <a:pt x="538365" y="127301"/>
                      </a:lnTo>
                      <a:lnTo>
                        <a:pt x="537835" y="127617"/>
                      </a:lnTo>
                      <a:lnTo>
                        <a:pt x="537733" y="129977"/>
                      </a:lnTo>
                      <a:lnTo>
                        <a:pt x="539394" y="129992"/>
                      </a:lnTo>
                      <a:lnTo>
                        <a:pt x="540875" y="131152"/>
                      </a:lnTo>
                      <a:lnTo>
                        <a:pt x="543481" y="134934"/>
                      </a:lnTo>
                      <a:lnTo>
                        <a:pt x="539438" y="138395"/>
                      </a:lnTo>
                      <a:lnTo>
                        <a:pt x="537613" y="140513"/>
                      </a:lnTo>
                      <a:lnTo>
                        <a:pt x="536180" y="144294"/>
                      </a:lnTo>
                      <a:lnTo>
                        <a:pt x="539726" y="145880"/>
                      </a:lnTo>
                      <a:lnTo>
                        <a:pt x="547393" y="133027"/>
                      </a:lnTo>
                      <a:lnTo>
                        <a:pt x="550164" y="137574"/>
                      </a:lnTo>
                      <a:lnTo>
                        <a:pt x="547892" y="151666"/>
                      </a:lnTo>
                      <a:lnTo>
                        <a:pt x="546605" y="155708"/>
                      </a:lnTo>
                      <a:lnTo>
                        <a:pt x="542180" y="165602"/>
                      </a:lnTo>
                      <a:lnTo>
                        <a:pt x="550101" y="159679"/>
                      </a:lnTo>
                      <a:lnTo>
                        <a:pt x="552450" y="155482"/>
                      </a:lnTo>
                      <a:lnTo>
                        <a:pt x="553288" y="154376"/>
                      </a:lnTo>
                      <a:lnTo>
                        <a:pt x="554242" y="154414"/>
                      </a:lnTo>
                      <a:lnTo>
                        <a:pt x="554968" y="155541"/>
                      </a:lnTo>
                      <a:lnTo>
                        <a:pt x="555220" y="157860"/>
                      </a:lnTo>
                      <a:lnTo>
                        <a:pt x="555862" y="158561"/>
                      </a:lnTo>
                      <a:lnTo>
                        <a:pt x="560455" y="156886"/>
                      </a:lnTo>
                      <a:lnTo>
                        <a:pt x="558686" y="162668"/>
                      </a:lnTo>
                      <a:lnTo>
                        <a:pt x="557297" y="168848"/>
                      </a:lnTo>
                      <a:lnTo>
                        <a:pt x="555611" y="173762"/>
                      </a:lnTo>
                      <a:lnTo>
                        <a:pt x="552903" y="175680"/>
                      </a:lnTo>
                      <a:lnTo>
                        <a:pt x="549241" y="173547"/>
                      </a:lnTo>
                      <a:lnTo>
                        <a:pt x="547329" y="173216"/>
                      </a:lnTo>
                      <a:lnTo>
                        <a:pt x="546045" y="175401"/>
                      </a:lnTo>
                      <a:lnTo>
                        <a:pt x="546397" y="177231"/>
                      </a:lnTo>
                      <a:lnTo>
                        <a:pt x="549232" y="182624"/>
                      </a:lnTo>
                      <a:lnTo>
                        <a:pt x="546528" y="186313"/>
                      </a:lnTo>
                      <a:lnTo>
                        <a:pt x="545552" y="187201"/>
                      </a:lnTo>
                      <a:lnTo>
                        <a:pt x="550012" y="190930"/>
                      </a:lnTo>
                      <a:lnTo>
                        <a:pt x="555775" y="193357"/>
                      </a:lnTo>
                      <a:lnTo>
                        <a:pt x="560053" y="198774"/>
                      </a:lnTo>
                      <a:lnTo>
                        <a:pt x="559982" y="211605"/>
                      </a:lnTo>
                      <a:lnTo>
                        <a:pt x="556826" y="219813"/>
                      </a:lnTo>
                      <a:lnTo>
                        <a:pt x="551674" y="225489"/>
                      </a:lnTo>
                      <a:lnTo>
                        <a:pt x="516096" y="249711"/>
                      </a:lnTo>
                      <a:lnTo>
                        <a:pt x="492282" y="246561"/>
                      </a:lnTo>
                      <a:lnTo>
                        <a:pt x="488561" y="243934"/>
                      </a:lnTo>
                      <a:lnTo>
                        <a:pt x="489371" y="242930"/>
                      </a:lnTo>
                      <a:lnTo>
                        <a:pt x="490687" y="240404"/>
                      </a:lnTo>
                      <a:lnTo>
                        <a:pt x="491377" y="239339"/>
                      </a:lnTo>
                      <a:lnTo>
                        <a:pt x="484583" y="235730"/>
                      </a:lnTo>
                      <a:lnTo>
                        <a:pt x="484389" y="235286"/>
                      </a:lnTo>
                      <a:lnTo>
                        <a:pt x="484747" y="234062"/>
                      </a:lnTo>
                      <a:lnTo>
                        <a:pt x="485959" y="227815"/>
                      </a:lnTo>
                      <a:lnTo>
                        <a:pt x="488306" y="225605"/>
                      </a:lnTo>
                      <a:lnTo>
                        <a:pt x="493783" y="225276"/>
                      </a:lnTo>
                      <a:lnTo>
                        <a:pt x="503107" y="219505"/>
                      </a:lnTo>
                      <a:lnTo>
                        <a:pt x="506187" y="218760"/>
                      </a:lnTo>
                      <a:lnTo>
                        <a:pt x="513954" y="219113"/>
                      </a:lnTo>
                      <a:lnTo>
                        <a:pt x="515101" y="218236"/>
                      </a:lnTo>
                      <a:lnTo>
                        <a:pt x="516085" y="216211"/>
                      </a:lnTo>
                      <a:lnTo>
                        <a:pt x="516991" y="213857"/>
                      </a:lnTo>
                      <a:lnTo>
                        <a:pt x="517773" y="212190"/>
                      </a:lnTo>
                      <a:lnTo>
                        <a:pt x="521207" y="209639"/>
                      </a:lnTo>
                      <a:lnTo>
                        <a:pt x="527737" y="209925"/>
                      </a:lnTo>
                      <a:lnTo>
                        <a:pt x="530869" y="207851"/>
                      </a:lnTo>
                      <a:lnTo>
                        <a:pt x="529699" y="203718"/>
                      </a:lnTo>
                      <a:lnTo>
                        <a:pt x="528936" y="199421"/>
                      </a:lnTo>
                      <a:lnTo>
                        <a:pt x="528934" y="194565"/>
                      </a:lnTo>
                      <a:lnTo>
                        <a:pt x="529979" y="188910"/>
                      </a:lnTo>
                      <a:lnTo>
                        <a:pt x="514523" y="182992"/>
                      </a:lnTo>
                      <a:lnTo>
                        <a:pt x="510337" y="185674"/>
                      </a:lnTo>
                      <a:lnTo>
                        <a:pt x="512825" y="185745"/>
                      </a:lnTo>
                      <a:lnTo>
                        <a:pt x="519508" y="191027"/>
                      </a:lnTo>
                      <a:lnTo>
                        <a:pt x="516888" y="197413"/>
                      </a:lnTo>
                      <a:lnTo>
                        <a:pt x="512771" y="203338"/>
                      </a:lnTo>
                      <a:lnTo>
                        <a:pt x="508410" y="206460"/>
                      </a:lnTo>
                      <a:lnTo>
                        <a:pt x="505081" y="204533"/>
                      </a:lnTo>
                      <a:lnTo>
                        <a:pt x="505730" y="201607"/>
                      </a:lnTo>
                      <a:lnTo>
                        <a:pt x="505776" y="200625"/>
                      </a:lnTo>
                      <a:lnTo>
                        <a:pt x="505593" y="199730"/>
                      </a:lnTo>
                      <a:lnTo>
                        <a:pt x="505433" y="197033"/>
                      </a:lnTo>
                      <a:lnTo>
                        <a:pt x="503703" y="202078"/>
                      </a:lnTo>
                      <a:lnTo>
                        <a:pt x="500666" y="208707"/>
                      </a:lnTo>
                      <a:lnTo>
                        <a:pt x="497374" y="213296"/>
                      </a:lnTo>
                      <a:lnTo>
                        <a:pt x="494843" y="212221"/>
                      </a:lnTo>
                      <a:lnTo>
                        <a:pt x="492630" y="210102"/>
                      </a:lnTo>
                      <a:lnTo>
                        <a:pt x="488060" y="215555"/>
                      </a:lnTo>
                      <a:lnTo>
                        <a:pt x="485794" y="212855"/>
                      </a:lnTo>
                      <a:lnTo>
                        <a:pt x="487509" y="208406"/>
                      </a:lnTo>
                      <a:lnTo>
                        <a:pt x="487845" y="203874"/>
                      </a:lnTo>
                      <a:lnTo>
                        <a:pt x="487166" y="201236"/>
                      </a:lnTo>
                      <a:lnTo>
                        <a:pt x="485842" y="202341"/>
                      </a:lnTo>
                      <a:lnTo>
                        <a:pt x="484582" y="205870"/>
                      </a:lnTo>
                      <a:lnTo>
                        <a:pt x="482836" y="211951"/>
                      </a:lnTo>
                      <a:lnTo>
                        <a:pt x="481382" y="215005"/>
                      </a:lnTo>
                      <a:lnTo>
                        <a:pt x="478219" y="217159"/>
                      </a:lnTo>
                      <a:lnTo>
                        <a:pt x="474746" y="215057"/>
                      </a:lnTo>
                      <a:lnTo>
                        <a:pt x="471751" y="209880"/>
                      </a:lnTo>
                      <a:lnTo>
                        <a:pt x="469962" y="202834"/>
                      </a:lnTo>
                      <a:lnTo>
                        <a:pt x="468981" y="209951"/>
                      </a:lnTo>
                      <a:lnTo>
                        <a:pt x="467246" y="214354"/>
                      </a:lnTo>
                      <a:lnTo>
                        <a:pt x="462911" y="221384"/>
                      </a:lnTo>
                      <a:lnTo>
                        <a:pt x="462166" y="224050"/>
                      </a:lnTo>
                      <a:lnTo>
                        <a:pt x="461461" y="229674"/>
                      </a:lnTo>
                      <a:lnTo>
                        <a:pt x="460697" y="230720"/>
                      </a:lnTo>
                      <a:lnTo>
                        <a:pt x="453337" y="229800"/>
                      </a:lnTo>
                      <a:lnTo>
                        <a:pt x="451571" y="231313"/>
                      </a:lnTo>
                      <a:lnTo>
                        <a:pt x="448264" y="235840"/>
                      </a:lnTo>
                      <a:lnTo>
                        <a:pt x="444600" y="236463"/>
                      </a:lnTo>
                      <a:lnTo>
                        <a:pt x="437536" y="234193"/>
                      </a:lnTo>
                      <a:lnTo>
                        <a:pt x="435433" y="231514"/>
                      </a:lnTo>
                      <a:lnTo>
                        <a:pt x="435256" y="225661"/>
                      </a:lnTo>
                      <a:lnTo>
                        <a:pt x="436357" y="219341"/>
                      </a:lnTo>
                      <a:lnTo>
                        <a:pt x="438180" y="215343"/>
                      </a:lnTo>
                      <a:lnTo>
                        <a:pt x="436912" y="213259"/>
                      </a:lnTo>
                      <a:lnTo>
                        <a:pt x="436019" y="214549"/>
                      </a:lnTo>
                      <a:lnTo>
                        <a:pt x="435097" y="216737"/>
                      </a:lnTo>
                      <a:lnTo>
                        <a:pt x="433703" y="217252"/>
                      </a:lnTo>
                      <a:lnTo>
                        <a:pt x="432603" y="216008"/>
                      </a:lnTo>
                      <a:lnTo>
                        <a:pt x="431974" y="214072"/>
                      </a:lnTo>
                      <a:lnTo>
                        <a:pt x="430787" y="207838"/>
                      </a:lnTo>
                      <a:lnTo>
                        <a:pt x="432400" y="204307"/>
                      </a:lnTo>
                      <a:lnTo>
                        <a:pt x="434162" y="203039"/>
                      </a:lnTo>
                      <a:lnTo>
                        <a:pt x="437987" y="203320"/>
                      </a:lnTo>
                      <a:lnTo>
                        <a:pt x="438390" y="198835"/>
                      </a:lnTo>
                      <a:lnTo>
                        <a:pt x="443327" y="195610"/>
                      </a:lnTo>
                      <a:lnTo>
                        <a:pt x="453265" y="192313"/>
                      </a:lnTo>
                      <a:lnTo>
                        <a:pt x="453391" y="189954"/>
                      </a:lnTo>
                      <a:lnTo>
                        <a:pt x="450243" y="189758"/>
                      </a:lnTo>
                      <a:lnTo>
                        <a:pt x="440676" y="184553"/>
                      </a:lnTo>
                      <a:lnTo>
                        <a:pt x="443205" y="177775"/>
                      </a:lnTo>
                      <a:lnTo>
                        <a:pt x="447712" y="171330"/>
                      </a:lnTo>
                      <a:lnTo>
                        <a:pt x="452364" y="167523"/>
                      </a:lnTo>
                      <a:lnTo>
                        <a:pt x="455314" y="168778"/>
                      </a:lnTo>
                      <a:lnTo>
                        <a:pt x="455788" y="172111"/>
                      </a:lnTo>
                      <a:lnTo>
                        <a:pt x="455570" y="180379"/>
                      </a:lnTo>
                      <a:lnTo>
                        <a:pt x="456150" y="185381"/>
                      </a:lnTo>
                      <a:lnTo>
                        <a:pt x="457286" y="188807"/>
                      </a:lnTo>
                      <a:lnTo>
                        <a:pt x="459029" y="191403"/>
                      </a:lnTo>
                      <a:lnTo>
                        <a:pt x="461180" y="192867"/>
                      </a:lnTo>
                      <a:lnTo>
                        <a:pt x="463543" y="192849"/>
                      </a:lnTo>
                      <a:lnTo>
                        <a:pt x="462688" y="191030"/>
                      </a:lnTo>
                      <a:lnTo>
                        <a:pt x="461719" y="189629"/>
                      </a:lnTo>
                      <a:lnTo>
                        <a:pt x="460637" y="188643"/>
                      </a:lnTo>
                      <a:lnTo>
                        <a:pt x="459498" y="188133"/>
                      </a:lnTo>
                      <a:lnTo>
                        <a:pt x="460870" y="181699"/>
                      </a:lnTo>
                      <a:lnTo>
                        <a:pt x="462418" y="178091"/>
                      </a:lnTo>
                      <a:lnTo>
                        <a:pt x="464418" y="175969"/>
                      </a:lnTo>
                      <a:lnTo>
                        <a:pt x="467085" y="174120"/>
                      </a:lnTo>
                      <a:lnTo>
                        <a:pt x="463776" y="170896"/>
                      </a:lnTo>
                      <a:lnTo>
                        <a:pt x="462817" y="168000"/>
                      </a:lnTo>
                      <a:lnTo>
                        <a:pt x="463812" y="163223"/>
                      </a:lnTo>
                      <a:lnTo>
                        <a:pt x="465828" y="160328"/>
                      </a:lnTo>
                      <a:lnTo>
                        <a:pt x="468411" y="159404"/>
                      </a:lnTo>
                      <a:lnTo>
                        <a:pt x="470967" y="160197"/>
                      </a:lnTo>
                      <a:lnTo>
                        <a:pt x="472899" y="162407"/>
                      </a:lnTo>
                      <a:lnTo>
                        <a:pt x="471915" y="164918"/>
                      </a:lnTo>
                      <a:lnTo>
                        <a:pt x="473439" y="167165"/>
                      </a:lnTo>
                      <a:lnTo>
                        <a:pt x="471114" y="182253"/>
                      </a:lnTo>
                      <a:lnTo>
                        <a:pt x="471794" y="185693"/>
                      </a:lnTo>
                      <a:lnTo>
                        <a:pt x="476077" y="184036"/>
                      </a:lnTo>
                      <a:lnTo>
                        <a:pt x="486706" y="175396"/>
                      </a:lnTo>
                      <a:lnTo>
                        <a:pt x="492113" y="173263"/>
                      </a:lnTo>
                      <a:lnTo>
                        <a:pt x="497038" y="175596"/>
                      </a:lnTo>
                      <a:lnTo>
                        <a:pt x="495511" y="178902"/>
                      </a:lnTo>
                      <a:lnTo>
                        <a:pt x="495252" y="182775"/>
                      </a:lnTo>
                      <a:lnTo>
                        <a:pt x="496065" y="186024"/>
                      </a:lnTo>
                      <a:lnTo>
                        <a:pt x="497753" y="187455"/>
                      </a:lnTo>
                      <a:lnTo>
                        <a:pt x="499453" y="186086"/>
                      </a:lnTo>
                      <a:lnTo>
                        <a:pt x="502502" y="179725"/>
                      </a:lnTo>
                      <a:lnTo>
                        <a:pt x="504629" y="178106"/>
                      </a:lnTo>
                      <a:lnTo>
                        <a:pt x="504302" y="175092"/>
                      </a:lnTo>
                      <a:lnTo>
                        <a:pt x="504527" y="172062"/>
                      </a:lnTo>
                      <a:lnTo>
                        <a:pt x="505203" y="169180"/>
                      </a:lnTo>
                      <a:lnTo>
                        <a:pt x="506090" y="166574"/>
                      </a:lnTo>
                      <a:lnTo>
                        <a:pt x="500514" y="156659"/>
                      </a:lnTo>
                      <a:lnTo>
                        <a:pt x="505346" y="151915"/>
                      </a:lnTo>
                      <a:lnTo>
                        <a:pt x="506876" y="149875"/>
                      </a:lnTo>
                      <a:lnTo>
                        <a:pt x="509509" y="156175"/>
                      </a:lnTo>
                      <a:lnTo>
                        <a:pt x="511280" y="158341"/>
                      </a:lnTo>
                      <a:lnTo>
                        <a:pt x="511357" y="161060"/>
                      </a:lnTo>
                      <a:lnTo>
                        <a:pt x="511126" y="164272"/>
                      </a:lnTo>
                      <a:lnTo>
                        <a:pt x="511212" y="166809"/>
                      </a:lnTo>
                      <a:lnTo>
                        <a:pt x="511692" y="173152"/>
                      </a:lnTo>
                      <a:lnTo>
                        <a:pt x="512379" y="175055"/>
                      </a:lnTo>
                      <a:lnTo>
                        <a:pt x="513929" y="172831"/>
                      </a:lnTo>
                      <a:lnTo>
                        <a:pt x="514883" y="170257"/>
                      </a:lnTo>
                      <a:lnTo>
                        <a:pt x="515401" y="168084"/>
                      </a:lnTo>
                      <a:lnTo>
                        <a:pt x="515367" y="166153"/>
                      </a:lnTo>
                      <a:lnTo>
                        <a:pt x="514745" y="164410"/>
                      </a:lnTo>
                      <a:lnTo>
                        <a:pt x="518778" y="154964"/>
                      </a:lnTo>
                      <a:lnTo>
                        <a:pt x="523106" y="157774"/>
                      </a:lnTo>
                      <a:lnTo>
                        <a:pt x="527527" y="164750"/>
                      </a:lnTo>
                      <a:lnTo>
                        <a:pt x="531845" y="167724"/>
                      </a:lnTo>
                      <a:lnTo>
                        <a:pt x="530578" y="159029"/>
                      </a:lnTo>
                      <a:lnTo>
                        <a:pt x="527624" y="154059"/>
                      </a:lnTo>
                      <a:lnTo>
                        <a:pt x="524196" y="150488"/>
                      </a:lnTo>
                      <a:lnTo>
                        <a:pt x="521542" y="146022"/>
                      </a:lnTo>
                      <a:lnTo>
                        <a:pt x="522847" y="139155"/>
                      </a:lnTo>
                      <a:lnTo>
                        <a:pt x="521640" y="134204"/>
                      </a:lnTo>
                      <a:lnTo>
                        <a:pt x="517329" y="126719"/>
                      </a:lnTo>
                      <a:lnTo>
                        <a:pt x="516445" y="123035"/>
                      </a:lnTo>
                      <a:lnTo>
                        <a:pt x="515488" y="116573"/>
                      </a:lnTo>
                      <a:lnTo>
                        <a:pt x="515568" y="110454"/>
                      </a:lnTo>
                      <a:lnTo>
                        <a:pt x="525561" y="100460"/>
                      </a:lnTo>
                      <a:lnTo>
                        <a:pt x="528070" y="99444"/>
                      </a:lnTo>
                      <a:close/>
                      <a:moveTo>
                        <a:pt x="654531" y="0"/>
                      </a:moveTo>
                      <a:lnTo>
                        <a:pt x="658149" y="1578"/>
                      </a:lnTo>
                      <a:lnTo>
                        <a:pt x="660204" y="8595"/>
                      </a:lnTo>
                      <a:lnTo>
                        <a:pt x="659608" y="16047"/>
                      </a:lnTo>
                      <a:lnTo>
                        <a:pt x="657556" y="23079"/>
                      </a:lnTo>
                      <a:lnTo>
                        <a:pt x="655269" y="28753"/>
                      </a:lnTo>
                      <a:lnTo>
                        <a:pt x="653185" y="35965"/>
                      </a:lnTo>
                      <a:lnTo>
                        <a:pt x="651592" y="49620"/>
                      </a:lnTo>
                      <a:lnTo>
                        <a:pt x="649816" y="55617"/>
                      </a:lnTo>
                      <a:lnTo>
                        <a:pt x="647828" y="58796"/>
                      </a:lnTo>
                      <a:lnTo>
                        <a:pt x="641944" y="62705"/>
                      </a:lnTo>
                      <a:lnTo>
                        <a:pt x="636317" y="70779"/>
                      </a:lnTo>
                      <a:lnTo>
                        <a:pt x="634545" y="71907"/>
                      </a:lnTo>
                      <a:lnTo>
                        <a:pt x="633291" y="73134"/>
                      </a:lnTo>
                      <a:lnTo>
                        <a:pt x="631713" y="76040"/>
                      </a:lnTo>
                      <a:lnTo>
                        <a:pt x="629094" y="82247"/>
                      </a:lnTo>
                      <a:lnTo>
                        <a:pt x="628494" y="83085"/>
                      </a:lnTo>
                      <a:lnTo>
                        <a:pt x="626328" y="85355"/>
                      </a:lnTo>
                      <a:lnTo>
                        <a:pt x="624296" y="86557"/>
                      </a:lnTo>
                      <a:lnTo>
                        <a:pt x="623832" y="88454"/>
                      </a:lnTo>
                      <a:lnTo>
                        <a:pt x="623697" y="90771"/>
                      </a:lnTo>
                      <a:lnTo>
                        <a:pt x="623310" y="92797"/>
                      </a:lnTo>
                      <a:lnTo>
                        <a:pt x="621584" y="96287"/>
                      </a:lnTo>
                      <a:lnTo>
                        <a:pt x="620314" y="97837"/>
                      </a:lnTo>
                      <a:lnTo>
                        <a:pt x="616321" y="99649"/>
                      </a:lnTo>
                      <a:lnTo>
                        <a:pt x="609209" y="105618"/>
                      </a:lnTo>
                      <a:lnTo>
                        <a:pt x="593081" y="111647"/>
                      </a:lnTo>
                      <a:lnTo>
                        <a:pt x="588765" y="108369"/>
                      </a:lnTo>
                      <a:lnTo>
                        <a:pt x="585302" y="102364"/>
                      </a:lnTo>
                      <a:lnTo>
                        <a:pt x="583161" y="101045"/>
                      </a:lnTo>
                      <a:lnTo>
                        <a:pt x="580542" y="103341"/>
                      </a:lnTo>
                      <a:lnTo>
                        <a:pt x="582532" y="106538"/>
                      </a:lnTo>
                      <a:lnTo>
                        <a:pt x="584185" y="110115"/>
                      </a:lnTo>
                      <a:lnTo>
                        <a:pt x="585146" y="114443"/>
                      </a:lnTo>
                      <a:lnTo>
                        <a:pt x="585017" y="119827"/>
                      </a:lnTo>
                      <a:lnTo>
                        <a:pt x="584111" y="123522"/>
                      </a:lnTo>
                      <a:lnTo>
                        <a:pt x="579295" y="136345"/>
                      </a:lnTo>
                      <a:lnTo>
                        <a:pt x="575677" y="142415"/>
                      </a:lnTo>
                      <a:lnTo>
                        <a:pt x="570832" y="146988"/>
                      </a:lnTo>
                      <a:lnTo>
                        <a:pt x="566807" y="146087"/>
                      </a:lnTo>
                      <a:lnTo>
                        <a:pt x="565628" y="135826"/>
                      </a:lnTo>
                      <a:lnTo>
                        <a:pt x="566920" y="132119"/>
                      </a:lnTo>
                      <a:lnTo>
                        <a:pt x="567190" y="128613"/>
                      </a:lnTo>
                      <a:lnTo>
                        <a:pt x="567028" y="124496"/>
                      </a:lnTo>
                      <a:lnTo>
                        <a:pt x="567067" y="119152"/>
                      </a:lnTo>
                      <a:lnTo>
                        <a:pt x="568003" y="113870"/>
                      </a:lnTo>
                      <a:lnTo>
                        <a:pt x="571230" y="106029"/>
                      </a:lnTo>
                      <a:lnTo>
                        <a:pt x="572064" y="101727"/>
                      </a:lnTo>
                      <a:lnTo>
                        <a:pt x="579755" y="87893"/>
                      </a:lnTo>
                      <a:lnTo>
                        <a:pt x="583124" y="78674"/>
                      </a:lnTo>
                      <a:lnTo>
                        <a:pt x="586855" y="70314"/>
                      </a:lnTo>
                      <a:lnTo>
                        <a:pt x="592168" y="63543"/>
                      </a:lnTo>
                      <a:lnTo>
                        <a:pt x="598393" y="59332"/>
                      </a:lnTo>
                      <a:lnTo>
                        <a:pt x="610581" y="56766"/>
                      </a:lnTo>
                      <a:lnTo>
                        <a:pt x="614843" y="52012"/>
                      </a:lnTo>
                      <a:lnTo>
                        <a:pt x="621878" y="31846"/>
                      </a:lnTo>
                      <a:lnTo>
                        <a:pt x="625371" y="28919"/>
                      </a:lnTo>
                      <a:lnTo>
                        <a:pt x="625161" y="27351"/>
                      </a:lnTo>
                      <a:lnTo>
                        <a:pt x="624989" y="23422"/>
                      </a:lnTo>
                      <a:lnTo>
                        <a:pt x="624830" y="21842"/>
                      </a:lnTo>
                      <a:lnTo>
                        <a:pt x="626976" y="20306"/>
                      </a:lnTo>
                      <a:lnTo>
                        <a:pt x="631247" y="18765"/>
                      </a:lnTo>
                      <a:lnTo>
                        <a:pt x="633265" y="17393"/>
                      </a:lnTo>
                      <a:lnTo>
                        <a:pt x="638782" y="9248"/>
                      </a:lnTo>
                      <a:close/>
                    </a:path>
                  </a:pathLst>
                </a:custGeom>
                <a:solidFill>
                  <a:srgbClr val="1E4B50"/>
                </a:solidFill>
                <a:ln w="3175" cap="rnd">
                  <a:solidFill>
                    <a:srgbClr val="1E4B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Freeform 38">
                  <a:extLst>
                    <a:ext uri="{FF2B5EF4-FFF2-40B4-BE49-F238E27FC236}">
                      <a16:creationId xmlns:a16="http://schemas.microsoft.com/office/drawing/2014/main" id="{10DB67CA-B3B0-4170-853A-A09E2CF2A5D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6"/>
                  </p:custDataLst>
                </p:nvPr>
              </p:nvSpPr>
              <p:spPr>
                <a:xfrm>
                  <a:off x="3582989" y="718503"/>
                  <a:ext cx="826964" cy="6200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2330" h="669036">
                      <a:moveTo>
                        <a:pt x="176659" y="496500"/>
                      </a:moveTo>
                      <a:lnTo>
                        <a:pt x="177398" y="500364"/>
                      </a:lnTo>
                      <a:lnTo>
                        <a:pt x="178020" y="501019"/>
                      </a:lnTo>
                      <a:lnTo>
                        <a:pt x="181118" y="511239"/>
                      </a:lnTo>
                      <a:lnTo>
                        <a:pt x="183658" y="513156"/>
                      </a:lnTo>
                      <a:lnTo>
                        <a:pt x="190817" y="523155"/>
                      </a:lnTo>
                      <a:lnTo>
                        <a:pt x="192528" y="527689"/>
                      </a:lnTo>
                      <a:lnTo>
                        <a:pt x="187378" y="531876"/>
                      </a:lnTo>
                      <a:lnTo>
                        <a:pt x="154101" y="542683"/>
                      </a:lnTo>
                      <a:lnTo>
                        <a:pt x="151105" y="539119"/>
                      </a:lnTo>
                      <a:lnTo>
                        <a:pt x="151999" y="537615"/>
                      </a:lnTo>
                      <a:lnTo>
                        <a:pt x="152887" y="535154"/>
                      </a:lnTo>
                      <a:lnTo>
                        <a:pt x="153552" y="532014"/>
                      </a:lnTo>
                      <a:lnTo>
                        <a:pt x="153856" y="528449"/>
                      </a:lnTo>
                      <a:lnTo>
                        <a:pt x="154781" y="526157"/>
                      </a:lnTo>
                      <a:lnTo>
                        <a:pt x="159079" y="521302"/>
                      </a:lnTo>
                      <a:lnTo>
                        <a:pt x="163266" y="518063"/>
                      </a:lnTo>
                      <a:lnTo>
                        <a:pt x="171428" y="501464"/>
                      </a:lnTo>
                      <a:lnTo>
                        <a:pt x="174824" y="496968"/>
                      </a:lnTo>
                      <a:close/>
                      <a:moveTo>
                        <a:pt x="188023" y="474177"/>
                      </a:moveTo>
                      <a:lnTo>
                        <a:pt x="191304" y="477532"/>
                      </a:lnTo>
                      <a:lnTo>
                        <a:pt x="196316" y="487826"/>
                      </a:lnTo>
                      <a:lnTo>
                        <a:pt x="199290" y="492358"/>
                      </a:lnTo>
                      <a:lnTo>
                        <a:pt x="202903" y="496332"/>
                      </a:lnTo>
                      <a:lnTo>
                        <a:pt x="206620" y="498435"/>
                      </a:lnTo>
                      <a:lnTo>
                        <a:pt x="209921" y="497411"/>
                      </a:lnTo>
                      <a:lnTo>
                        <a:pt x="207782" y="493848"/>
                      </a:lnTo>
                      <a:lnTo>
                        <a:pt x="202298" y="489125"/>
                      </a:lnTo>
                      <a:lnTo>
                        <a:pt x="200583" y="485298"/>
                      </a:lnTo>
                      <a:lnTo>
                        <a:pt x="200524" y="478380"/>
                      </a:lnTo>
                      <a:lnTo>
                        <a:pt x="202994" y="475693"/>
                      </a:lnTo>
                      <a:lnTo>
                        <a:pt x="214774" y="476731"/>
                      </a:lnTo>
                      <a:lnTo>
                        <a:pt x="220299" y="479924"/>
                      </a:lnTo>
                      <a:lnTo>
                        <a:pt x="225393" y="485855"/>
                      </a:lnTo>
                      <a:lnTo>
                        <a:pt x="229681" y="494995"/>
                      </a:lnTo>
                      <a:lnTo>
                        <a:pt x="218182" y="505540"/>
                      </a:lnTo>
                      <a:lnTo>
                        <a:pt x="211943" y="516369"/>
                      </a:lnTo>
                      <a:lnTo>
                        <a:pt x="207206" y="519785"/>
                      </a:lnTo>
                      <a:lnTo>
                        <a:pt x="202376" y="519948"/>
                      </a:lnTo>
                      <a:lnTo>
                        <a:pt x="198627" y="516155"/>
                      </a:lnTo>
                      <a:lnTo>
                        <a:pt x="196776" y="512297"/>
                      </a:lnTo>
                      <a:lnTo>
                        <a:pt x="196170" y="500901"/>
                      </a:lnTo>
                      <a:lnTo>
                        <a:pt x="194534" y="494682"/>
                      </a:lnTo>
                      <a:lnTo>
                        <a:pt x="188497" y="487597"/>
                      </a:lnTo>
                      <a:lnTo>
                        <a:pt x="185751" y="483316"/>
                      </a:lnTo>
                      <a:lnTo>
                        <a:pt x="185361" y="478038"/>
                      </a:lnTo>
                      <a:close/>
                      <a:moveTo>
                        <a:pt x="39520" y="459756"/>
                      </a:moveTo>
                      <a:lnTo>
                        <a:pt x="39523" y="459811"/>
                      </a:lnTo>
                      <a:lnTo>
                        <a:pt x="39683" y="462433"/>
                      </a:lnTo>
                      <a:lnTo>
                        <a:pt x="38671" y="466904"/>
                      </a:lnTo>
                      <a:lnTo>
                        <a:pt x="37852" y="473559"/>
                      </a:lnTo>
                      <a:lnTo>
                        <a:pt x="38524" y="478264"/>
                      </a:lnTo>
                      <a:lnTo>
                        <a:pt x="39985" y="481124"/>
                      </a:lnTo>
                      <a:lnTo>
                        <a:pt x="40766" y="484368"/>
                      </a:lnTo>
                      <a:lnTo>
                        <a:pt x="39425" y="490235"/>
                      </a:lnTo>
                      <a:lnTo>
                        <a:pt x="34285" y="507981"/>
                      </a:lnTo>
                      <a:lnTo>
                        <a:pt x="33912" y="510404"/>
                      </a:lnTo>
                      <a:lnTo>
                        <a:pt x="33636" y="514869"/>
                      </a:lnTo>
                      <a:lnTo>
                        <a:pt x="33056" y="517382"/>
                      </a:lnTo>
                      <a:lnTo>
                        <a:pt x="32037" y="519882"/>
                      </a:lnTo>
                      <a:lnTo>
                        <a:pt x="30001" y="523236"/>
                      </a:lnTo>
                      <a:lnTo>
                        <a:pt x="28981" y="525427"/>
                      </a:lnTo>
                      <a:lnTo>
                        <a:pt x="26814" y="528957"/>
                      </a:lnTo>
                      <a:lnTo>
                        <a:pt x="18741" y="535811"/>
                      </a:lnTo>
                      <a:lnTo>
                        <a:pt x="24296" y="534995"/>
                      </a:lnTo>
                      <a:lnTo>
                        <a:pt x="30419" y="532028"/>
                      </a:lnTo>
                      <a:lnTo>
                        <a:pt x="36287" y="526684"/>
                      </a:lnTo>
                      <a:lnTo>
                        <a:pt x="41127" y="518718"/>
                      </a:lnTo>
                      <a:lnTo>
                        <a:pt x="43681" y="517218"/>
                      </a:lnTo>
                      <a:lnTo>
                        <a:pt x="46239" y="520869"/>
                      </a:lnTo>
                      <a:lnTo>
                        <a:pt x="47642" y="527072"/>
                      </a:lnTo>
                      <a:lnTo>
                        <a:pt x="46710" y="533248"/>
                      </a:lnTo>
                      <a:lnTo>
                        <a:pt x="45008" y="537797"/>
                      </a:lnTo>
                      <a:lnTo>
                        <a:pt x="42541" y="547218"/>
                      </a:lnTo>
                      <a:lnTo>
                        <a:pt x="40949" y="552065"/>
                      </a:lnTo>
                      <a:lnTo>
                        <a:pt x="39713" y="554264"/>
                      </a:lnTo>
                      <a:lnTo>
                        <a:pt x="38606" y="554948"/>
                      </a:lnTo>
                      <a:lnTo>
                        <a:pt x="37438" y="555292"/>
                      </a:lnTo>
                      <a:lnTo>
                        <a:pt x="36081" y="556431"/>
                      </a:lnTo>
                      <a:lnTo>
                        <a:pt x="34807" y="558459"/>
                      </a:lnTo>
                      <a:lnTo>
                        <a:pt x="32578" y="563116"/>
                      </a:lnTo>
                      <a:lnTo>
                        <a:pt x="31531" y="564772"/>
                      </a:lnTo>
                      <a:lnTo>
                        <a:pt x="28599" y="566295"/>
                      </a:lnTo>
                      <a:lnTo>
                        <a:pt x="21662" y="567927"/>
                      </a:lnTo>
                      <a:lnTo>
                        <a:pt x="19163" y="571448"/>
                      </a:lnTo>
                      <a:lnTo>
                        <a:pt x="17879" y="577243"/>
                      </a:lnTo>
                      <a:lnTo>
                        <a:pt x="18165" y="581558"/>
                      </a:lnTo>
                      <a:lnTo>
                        <a:pt x="19030" y="585470"/>
                      </a:lnTo>
                      <a:lnTo>
                        <a:pt x="19480" y="590128"/>
                      </a:lnTo>
                      <a:lnTo>
                        <a:pt x="18775" y="595773"/>
                      </a:lnTo>
                      <a:lnTo>
                        <a:pt x="17258" y="598622"/>
                      </a:lnTo>
                      <a:lnTo>
                        <a:pt x="15394" y="601346"/>
                      </a:lnTo>
                      <a:lnTo>
                        <a:pt x="13665" y="606690"/>
                      </a:lnTo>
                      <a:lnTo>
                        <a:pt x="18934" y="603025"/>
                      </a:lnTo>
                      <a:lnTo>
                        <a:pt x="21819" y="599617"/>
                      </a:lnTo>
                      <a:lnTo>
                        <a:pt x="23644" y="595202"/>
                      </a:lnTo>
                      <a:lnTo>
                        <a:pt x="24227" y="588468"/>
                      </a:lnTo>
                      <a:lnTo>
                        <a:pt x="23896" y="583519"/>
                      </a:lnTo>
                      <a:lnTo>
                        <a:pt x="24247" y="579128"/>
                      </a:lnTo>
                      <a:lnTo>
                        <a:pt x="26920" y="574065"/>
                      </a:lnTo>
                      <a:lnTo>
                        <a:pt x="29783" y="571229"/>
                      </a:lnTo>
                      <a:lnTo>
                        <a:pt x="39255" y="565012"/>
                      </a:lnTo>
                      <a:lnTo>
                        <a:pt x="45248" y="558792"/>
                      </a:lnTo>
                      <a:lnTo>
                        <a:pt x="48699" y="556813"/>
                      </a:lnTo>
                      <a:lnTo>
                        <a:pt x="51519" y="558078"/>
                      </a:lnTo>
                      <a:lnTo>
                        <a:pt x="53414" y="568894"/>
                      </a:lnTo>
                      <a:lnTo>
                        <a:pt x="55285" y="573337"/>
                      </a:lnTo>
                      <a:lnTo>
                        <a:pt x="58107" y="570505"/>
                      </a:lnTo>
                      <a:lnTo>
                        <a:pt x="59161" y="564500"/>
                      </a:lnTo>
                      <a:lnTo>
                        <a:pt x="58197" y="558831"/>
                      </a:lnTo>
                      <a:lnTo>
                        <a:pt x="55220" y="551319"/>
                      </a:lnTo>
                      <a:lnTo>
                        <a:pt x="54605" y="550613"/>
                      </a:lnTo>
                      <a:lnTo>
                        <a:pt x="53209" y="547999"/>
                      </a:lnTo>
                      <a:lnTo>
                        <a:pt x="52575" y="545237"/>
                      </a:lnTo>
                      <a:lnTo>
                        <a:pt x="54145" y="544004"/>
                      </a:lnTo>
                      <a:lnTo>
                        <a:pt x="57158" y="538491"/>
                      </a:lnTo>
                      <a:lnTo>
                        <a:pt x="58211" y="537030"/>
                      </a:lnTo>
                      <a:lnTo>
                        <a:pt x="62181" y="535370"/>
                      </a:lnTo>
                      <a:lnTo>
                        <a:pt x="75401" y="537499"/>
                      </a:lnTo>
                      <a:lnTo>
                        <a:pt x="74104" y="528773"/>
                      </a:lnTo>
                      <a:lnTo>
                        <a:pt x="71433" y="524917"/>
                      </a:lnTo>
                      <a:lnTo>
                        <a:pt x="64663" y="520471"/>
                      </a:lnTo>
                      <a:lnTo>
                        <a:pt x="62821" y="517846"/>
                      </a:lnTo>
                      <a:lnTo>
                        <a:pt x="61170" y="514268"/>
                      </a:lnTo>
                      <a:lnTo>
                        <a:pt x="60589" y="509682"/>
                      </a:lnTo>
                      <a:lnTo>
                        <a:pt x="61787" y="504074"/>
                      </a:lnTo>
                      <a:lnTo>
                        <a:pt x="63116" y="502410"/>
                      </a:lnTo>
                      <a:lnTo>
                        <a:pt x="73840" y="495431"/>
                      </a:lnTo>
                      <a:lnTo>
                        <a:pt x="75762" y="495031"/>
                      </a:lnTo>
                      <a:lnTo>
                        <a:pt x="77932" y="495931"/>
                      </a:lnTo>
                      <a:lnTo>
                        <a:pt x="81429" y="500536"/>
                      </a:lnTo>
                      <a:lnTo>
                        <a:pt x="83179" y="502087"/>
                      </a:lnTo>
                      <a:lnTo>
                        <a:pt x="85206" y="501547"/>
                      </a:lnTo>
                      <a:lnTo>
                        <a:pt x="86507" y="499146"/>
                      </a:lnTo>
                      <a:lnTo>
                        <a:pt x="86736" y="496535"/>
                      </a:lnTo>
                      <a:lnTo>
                        <a:pt x="82749" y="492371"/>
                      </a:lnTo>
                      <a:lnTo>
                        <a:pt x="81293" y="486284"/>
                      </a:lnTo>
                      <a:lnTo>
                        <a:pt x="81100" y="480823"/>
                      </a:lnTo>
                      <a:lnTo>
                        <a:pt x="82103" y="479723"/>
                      </a:lnTo>
                      <a:lnTo>
                        <a:pt x="89284" y="491353"/>
                      </a:lnTo>
                      <a:lnTo>
                        <a:pt x="98674" y="496992"/>
                      </a:lnTo>
                      <a:lnTo>
                        <a:pt x="103528" y="497948"/>
                      </a:lnTo>
                      <a:lnTo>
                        <a:pt x="104606" y="498816"/>
                      </a:lnTo>
                      <a:lnTo>
                        <a:pt x="104752" y="501309"/>
                      </a:lnTo>
                      <a:lnTo>
                        <a:pt x="104557" y="506241"/>
                      </a:lnTo>
                      <a:lnTo>
                        <a:pt x="106430" y="510684"/>
                      </a:lnTo>
                      <a:lnTo>
                        <a:pt x="115868" y="507205"/>
                      </a:lnTo>
                      <a:lnTo>
                        <a:pt x="119043" y="507639"/>
                      </a:lnTo>
                      <a:lnTo>
                        <a:pt x="116957" y="511026"/>
                      </a:lnTo>
                      <a:lnTo>
                        <a:pt x="112584" y="515025"/>
                      </a:lnTo>
                      <a:lnTo>
                        <a:pt x="111101" y="519465"/>
                      </a:lnTo>
                      <a:lnTo>
                        <a:pt x="113296" y="519259"/>
                      </a:lnTo>
                      <a:lnTo>
                        <a:pt x="115614" y="519984"/>
                      </a:lnTo>
                      <a:lnTo>
                        <a:pt x="117584" y="522219"/>
                      </a:lnTo>
                      <a:lnTo>
                        <a:pt x="118645" y="526503"/>
                      </a:lnTo>
                      <a:lnTo>
                        <a:pt x="114845" y="529658"/>
                      </a:lnTo>
                      <a:lnTo>
                        <a:pt x="114731" y="532538"/>
                      </a:lnTo>
                      <a:lnTo>
                        <a:pt x="115646" y="536537"/>
                      </a:lnTo>
                      <a:lnTo>
                        <a:pt x="114861" y="543131"/>
                      </a:lnTo>
                      <a:lnTo>
                        <a:pt x="120836" y="548205"/>
                      </a:lnTo>
                      <a:lnTo>
                        <a:pt x="119538" y="551105"/>
                      </a:lnTo>
                      <a:lnTo>
                        <a:pt x="115343" y="557317"/>
                      </a:lnTo>
                      <a:lnTo>
                        <a:pt x="118551" y="560591"/>
                      </a:lnTo>
                      <a:lnTo>
                        <a:pt x="118185" y="566279"/>
                      </a:lnTo>
                      <a:lnTo>
                        <a:pt x="115961" y="572520"/>
                      </a:lnTo>
                      <a:lnTo>
                        <a:pt x="113629" y="577449"/>
                      </a:lnTo>
                      <a:lnTo>
                        <a:pt x="112138" y="579443"/>
                      </a:lnTo>
                      <a:lnTo>
                        <a:pt x="110564" y="580983"/>
                      </a:lnTo>
                      <a:lnTo>
                        <a:pt x="109262" y="583178"/>
                      </a:lnTo>
                      <a:lnTo>
                        <a:pt x="108674" y="587005"/>
                      </a:lnTo>
                      <a:lnTo>
                        <a:pt x="109206" y="591278"/>
                      </a:lnTo>
                      <a:lnTo>
                        <a:pt x="109697" y="592330"/>
                      </a:lnTo>
                      <a:lnTo>
                        <a:pt x="78524" y="574550"/>
                      </a:lnTo>
                      <a:lnTo>
                        <a:pt x="50996" y="586715"/>
                      </a:lnTo>
                      <a:lnTo>
                        <a:pt x="42436" y="582674"/>
                      </a:lnTo>
                      <a:lnTo>
                        <a:pt x="38886" y="584565"/>
                      </a:lnTo>
                      <a:lnTo>
                        <a:pt x="37574" y="587081"/>
                      </a:lnTo>
                      <a:lnTo>
                        <a:pt x="36477" y="590191"/>
                      </a:lnTo>
                      <a:lnTo>
                        <a:pt x="34130" y="594977"/>
                      </a:lnTo>
                      <a:lnTo>
                        <a:pt x="30553" y="600512"/>
                      </a:lnTo>
                      <a:lnTo>
                        <a:pt x="4957" y="627878"/>
                      </a:lnTo>
                      <a:lnTo>
                        <a:pt x="2244" y="629749"/>
                      </a:lnTo>
                      <a:lnTo>
                        <a:pt x="515" y="630171"/>
                      </a:lnTo>
                      <a:lnTo>
                        <a:pt x="0" y="629150"/>
                      </a:lnTo>
                      <a:lnTo>
                        <a:pt x="23" y="627955"/>
                      </a:lnTo>
                      <a:lnTo>
                        <a:pt x="541" y="626686"/>
                      </a:lnTo>
                      <a:lnTo>
                        <a:pt x="3589" y="621818"/>
                      </a:lnTo>
                      <a:lnTo>
                        <a:pt x="4467" y="620014"/>
                      </a:lnTo>
                      <a:lnTo>
                        <a:pt x="4993" y="618479"/>
                      </a:lnTo>
                      <a:lnTo>
                        <a:pt x="5055" y="617294"/>
                      </a:lnTo>
                      <a:lnTo>
                        <a:pt x="5053" y="616785"/>
                      </a:lnTo>
                      <a:lnTo>
                        <a:pt x="2938" y="611366"/>
                      </a:lnTo>
                      <a:lnTo>
                        <a:pt x="1490" y="606223"/>
                      </a:lnTo>
                      <a:lnTo>
                        <a:pt x="1119" y="603994"/>
                      </a:lnTo>
                      <a:lnTo>
                        <a:pt x="1431" y="600752"/>
                      </a:lnTo>
                      <a:lnTo>
                        <a:pt x="7030" y="576326"/>
                      </a:lnTo>
                      <a:lnTo>
                        <a:pt x="11494" y="568921"/>
                      </a:lnTo>
                      <a:lnTo>
                        <a:pt x="14386" y="566284"/>
                      </a:lnTo>
                      <a:lnTo>
                        <a:pt x="16357" y="563501"/>
                      </a:lnTo>
                      <a:lnTo>
                        <a:pt x="19754" y="557173"/>
                      </a:lnTo>
                      <a:lnTo>
                        <a:pt x="20759" y="552463"/>
                      </a:lnTo>
                      <a:lnTo>
                        <a:pt x="21009" y="547736"/>
                      </a:lnTo>
                      <a:lnTo>
                        <a:pt x="19857" y="544303"/>
                      </a:lnTo>
                      <a:lnTo>
                        <a:pt x="18017" y="541696"/>
                      </a:lnTo>
                      <a:lnTo>
                        <a:pt x="15705" y="539242"/>
                      </a:lnTo>
                      <a:lnTo>
                        <a:pt x="14082" y="536417"/>
                      </a:lnTo>
                      <a:lnTo>
                        <a:pt x="13623" y="532827"/>
                      </a:lnTo>
                      <a:lnTo>
                        <a:pt x="13947" y="530195"/>
                      </a:lnTo>
                      <a:lnTo>
                        <a:pt x="15001" y="528033"/>
                      </a:lnTo>
                      <a:lnTo>
                        <a:pt x="23137" y="517521"/>
                      </a:lnTo>
                      <a:lnTo>
                        <a:pt x="30595" y="501586"/>
                      </a:lnTo>
                      <a:lnTo>
                        <a:pt x="35286" y="487603"/>
                      </a:lnTo>
                      <a:lnTo>
                        <a:pt x="35940" y="484105"/>
                      </a:lnTo>
                      <a:lnTo>
                        <a:pt x="36093" y="481142"/>
                      </a:lnTo>
                      <a:lnTo>
                        <a:pt x="35897" y="478224"/>
                      </a:lnTo>
                      <a:lnTo>
                        <a:pt x="34954" y="470880"/>
                      </a:lnTo>
                      <a:lnTo>
                        <a:pt x="35087" y="467374"/>
                      </a:lnTo>
                      <a:lnTo>
                        <a:pt x="36045" y="463938"/>
                      </a:lnTo>
                      <a:lnTo>
                        <a:pt x="37453" y="461517"/>
                      </a:lnTo>
                      <a:close/>
                      <a:moveTo>
                        <a:pt x="89337" y="448078"/>
                      </a:moveTo>
                      <a:lnTo>
                        <a:pt x="95873" y="450023"/>
                      </a:lnTo>
                      <a:lnTo>
                        <a:pt x="102634" y="456285"/>
                      </a:lnTo>
                      <a:lnTo>
                        <a:pt x="108978" y="460002"/>
                      </a:lnTo>
                      <a:lnTo>
                        <a:pt x="115648" y="460147"/>
                      </a:lnTo>
                      <a:lnTo>
                        <a:pt x="121363" y="458128"/>
                      </a:lnTo>
                      <a:lnTo>
                        <a:pt x="123610" y="460410"/>
                      </a:lnTo>
                      <a:lnTo>
                        <a:pt x="125346" y="465520"/>
                      </a:lnTo>
                      <a:lnTo>
                        <a:pt x="125537" y="471038"/>
                      </a:lnTo>
                      <a:lnTo>
                        <a:pt x="123147" y="474478"/>
                      </a:lnTo>
                      <a:lnTo>
                        <a:pt x="123465" y="482669"/>
                      </a:lnTo>
                      <a:lnTo>
                        <a:pt x="120888" y="486089"/>
                      </a:lnTo>
                      <a:lnTo>
                        <a:pt x="109559" y="486396"/>
                      </a:lnTo>
                      <a:lnTo>
                        <a:pt x="104431" y="484383"/>
                      </a:lnTo>
                      <a:lnTo>
                        <a:pt x="99551" y="480571"/>
                      </a:lnTo>
                      <a:lnTo>
                        <a:pt x="93436" y="469456"/>
                      </a:lnTo>
                      <a:lnTo>
                        <a:pt x="86333" y="462940"/>
                      </a:lnTo>
                      <a:lnTo>
                        <a:pt x="83566" y="457258"/>
                      </a:lnTo>
                      <a:close/>
                      <a:moveTo>
                        <a:pt x="243388" y="416918"/>
                      </a:moveTo>
                      <a:lnTo>
                        <a:pt x="244774" y="416967"/>
                      </a:lnTo>
                      <a:lnTo>
                        <a:pt x="246469" y="417819"/>
                      </a:lnTo>
                      <a:lnTo>
                        <a:pt x="245779" y="419081"/>
                      </a:lnTo>
                      <a:lnTo>
                        <a:pt x="243882" y="420674"/>
                      </a:lnTo>
                      <a:lnTo>
                        <a:pt x="243206" y="422962"/>
                      </a:lnTo>
                      <a:lnTo>
                        <a:pt x="243354" y="425551"/>
                      </a:lnTo>
                      <a:lnTo>
                        <a:pt x="242980" y="427840"/>
                      </a:lnTo>
                      <a:lnTo>
                        <a:pt x="242307" y="429524"/>
                      </a:lnTo>
                      <a:lnTo>
                        <a:pt x="240562" y="432172"/>
                      </a:lnTo>
                      <a:lnTo>
                        <a:pt x="237614" y="435079"/>
                      </a:lnTo>
                      <a:lnTo>
                        <a:pt x="234763" y="436736"/>
                      </a:lnTo>
                      <a:lnTo>
                        <a:pt x="232217" y="439293"/>
                      </a:lnTo>
                      <a:lnTo>
                        <a:pt x="230258" y="442865"/>
                      </a:lnTo>
                      <a:lnTo>
                        <a:pt x="227323" y="449889"/>
                      </a:lnTo>
                      <a:lnTo>
                        <a:pt x="225095" y="452319"/>
                      </a:lnTo>
                      <a:lnTo>
                        <a:pt x="222056" y="452297"/>
                      </a:lnTo>
                      <a:lnTo>
                        <a:pt x="219005" y="450050"/>
                      </a:lnTo>
                      <a:lnTo>
                        <a:pt x="218057" y="447457"/>
                      </a:lnTo>
                      <a:lnTo>
                        <a:pt x="218731" y="445353"/>
                      </a:lnTo>
                      <a:lnTo>
                        <a:pt x="218922" y="442950"/>
                      </a:lnTo>
                      <a:lnTo>
                        <a:pt x="218702" y="440320"/>
                      </a:lnTo>
                      <a:lnTo>
                        <a:pt x="219196" y="436584"/>
                      </a:lnTo>
                      <a:lnTo>
                        <a:pt x="220702" y="432322"/>
                      </a:lnTo>
                      <a:lnTo>
                        <a:pt x="223474" y="426663"/>
                      </a:lnTo>
                      <a:lnTo>
                        <a:pt x="227618" y="421294"/>
                      </a:lnTo>
                      <a:lnTo>
                        <a:pt x="231563" y="419339"/>
                      </a:lnTo>
                      <a:close/>
                      <a:moveTo>
                        <a:pt x="259570" y="240320"/>
                      </a:moveTo>
                      <a:lnTo>
                        <a:pt x="261245" y="241688"/>
                      </a:lnTo>
                      <a:lnTo>
                        <a:pt x="262623" y="244293"/>
                      </a:lnTo>
                      <a:lnTo>
                        <a:pt x="263599" y="246586"/>
                      </a:lnTo>
                      <a:lnTo>
                        <a:pt x="266994" y="258219"/>
                      </a:lnTo>
                      <a:lnTo>
                        <a:pt x="269094" y="262060"/>
                      </a:lnTo>
                      <a:lnTo>
                        <a:pt x="271411" y="259575"/>
                      </a:lnTo>
                      <a:lnTo>
                        <a:pt x="274756" y="250147"/>
                      </a:lnTo>
                      <a:lnTo>
                        <a:pt x="276922" y="246003"/>
                      </a:lnTo>
                      <a:lnTo>
                        <a:pt x="279300" y="244275"/>
                      </a:lnTo>
                      <a:lnTo>
                        <a:pt x="281922" y="246131"/>
                      </a:lnTo>
                      <a:lnTo>
                        <a:pt x="283701" y="250825"/>
                      </a:lnTo>
                      <a:lnTo>
                        <a:pt x="285998" y="263364"/>
                      </a:lnTo>
                      <a:lnTo>
                        <a:pt x="284818" y="266751"/>
                      </a:lnTo>
                      <a:lnTo>
                        <a:pt x="282188" y="270463"/>
                      </a:lnTo>
                      <a:lnTo>
                        <a:pt x="280975" y="272782"/>
                      </a:lnTo>
                      <a:lnTo>
                        <a:pt x="280156" y="275228"/>
                      </a:lnTo>
                      <a:lnTo>
                        <a:pt x="279880" y="276872"/>
                      </a:lnTo>
                      <a:lnTo>
                        <a:pt x="279731" y="278812"/>
                      </a:lnTo>
                      <a:lnTo>
                        <a:pt x="279315" y="282228"/>
                      </a:lnTo>
                      <a:lnTo>
                        <a:pt x="277742" y="287920"/>
                      </a:lnTo>
                      <a:lnTo>
                        <a:pt x="277503" y="290774"/>
                      </a:lnTo>
                      <a:lnTo>
                        <a:pt x="278481" y="294006"/>
                      </a:lnTo>
                      <a:lnTo>
                        <a:pt x="280201" y="295019"/>
                      </a:lnTo>
                      <a:lnTo>
                        <a:pt x="281743" y="292560"/>
                      </a:lnTo>
                      <a:lnTo>
                        <a:pt x="283877" y="285644"/>
                      </a:lnTo>
                      <a:lnTo>
                        <a:pt x="284813" y="279727"/>
                      </a:lnTo>
                      <a:lnTo>
                        <a:pt x="285828" y="276534"/>
                      </a:lnTo>
                      <a:lnTo>
                        <a:pt x="289022" y="274044"/>
                      </a:lnTo>
                      <a:lnTo>
                        <a:pt x="291057" y="269150"/>
                      </a:lnTo>
                      <a:lnTo>
                        <a:pt x="292208" y="268052"/>
                      </a:lnTo>
                      <a:lnTo>
                        <a:pt x="295669" y="269172"/>
                      </a:lnTo>
                      <a:lnTo>
                        <a:pt x="305125" y="277470"/>
                      </a:lnTo>
                      <a:lnTo>
                        <a:pt x="303746" y="281325"/>
                      </a:lnTo>
                      <a:lnTo>
                        <a:pt x="301577" y="282625"/>
                      </a:lnTo>
                      <a:lnTo>
                        <a:pt x="296857" y="282214"/>
                      </a:lnTo>
                      <a:lnTo>
                        <a:pt x="298284" y="288916"/>
                      </a:lnTo>
                      <a:lnTo>
                        <a:pt x="297137" y="293486"/>
                      </a:lnTo>
                      <a:lnTo>
                        <a:pt x="291838" y="300861"/>
                      </a:lnTo>
                      <a:lnTo>
                        <a:pt x="296905" y="306083"/>
                      </a:lnTo>
                      <a:lnTo>
                        <a:pt x="299343" y="307174"/>
                      </a:lnTo>
                      <a:lnTo>
                        <a:pt x="300978" y="303417"/>
                      </a:lnTo>
                      <a:lnTo>
                        <a:pt x="300265" y="299201"/>
                      </a:lnTo>
                      <a:lnTo>
                        <a:pt x="302039" y="296498"/>
                      </a:lnTo>
                      <a:lnTo>
                        <a:pt x="304944" y="295773"/>
                      </a:lnTo>
                      <a:lnTo>
                        <a:pt x="307650" y="297493"/>
                      </a:lnTo>
                      <a:lnTo>
                        <a:pt x="308616" y="301960"/>
                      </a:lnTo>
                      <a:lnTo>
                        <a:pt x="308959" y="314864"/>
                      </a:lnTo>
                      <a:lnTo>
                        <a:pt x="309832" y="317546"/>
                      </a:lnTo>
                      <a:lnTo>
                        <a:pt x="311116" y="318833"/>
                      </a:lnTo>
                      <a:lnTo>
                        <a:pt x="311008" y="321773"/>
                      </a:lnTo>
                      <a:lnTo>
                        <a:pt x="310207" y="324981"/>
                      </a:lnTo>
                      <a:lnTo>
                        <a:pt x="309449" y="326994"/>
                      </a:lnTo>
                      <a:lnTo>
                        <a:pt x="307755" y="328194"/>
                      </a:lnTo>
                      <a:lnTo>
                        <a:pt x="301038" y="327020"/>
                      </a:lnTo>
                      <a:lnTo>
                        <a:pt x="293664" y="330435"/>
                      </a:lnTo>
                      <a:lnTo>
                        <a:pt x="289733" y="334011"/>
                      </a:lnTo>
                      <a:lnTo>
                        <a:pt x="287640" y="338821"/>
                      </a:lnTo>
                      <a:lnTo>
                        <a:pt x="289253" y="340928"/>
                      </a:lnTo>
                      <a:lnTo>
                        <a:pt x="289514" y="343795"/>
                      </a:lnTo>
                      <a:lnTo>
                        <a:pt x="289498" y="347212"/>
                      </a:lnTo>
                      <a:lnTo>
                        <a:pt x="290159" y="350825"/>
                      </a:lnTo>
                      <a:lnTo>
                        <a:pt x="291257" y="352874"/>
                      </a:lnTo>
                      <a:lnTo>
                        <a:pt x="294153" y="356302"/>
                      </a:lnTo>
                      <a:lnTo>
                        <a:pt x="295192" y="357916"/>
                      </a:lnTo>
                      <a:lnTo>
                        <a:pt x="293144" y="362179"/>
                      </a:lnTo>
                      <a:lnTo>
                        <a:pt x="290232" y="363406"/>
                      </a:lnTo>
                      <a:lnTo>
                        <a:pt x="284315" y="362637"/>
                      </a:lnTo>
                      <a:lnTo>
                        <a:pt x="284315" y="364999"/>
                      </a:lnTo>
                      <a:lnTo>
                        <a:pt x="288619" y="367962"/>
                      </a:lnTo>
                      <a:lnTo>
                        <a:pt x="290919" y="370321"/>
                      </a:lnTo>
                      <a:lnTo>
                        <a:pt x="291932" y="373230"/>
                      </a:lnTo>
                      <a:lnTo>
                        <a:pt x="292968" y="377952"/>
                      </a:lnTo>
                      <a:lnTo>
                        <a:pt x="295409" y="378961"/>
                      </a:lnTo>
                      <a:lnTo>
                        <a:pt x="298188" y="378660"/>
                      </a:lnTo>
                      <a:lnTo>
                        <a:pt x="300330" y="379330"/>
                      </a:lnTo>
                      <a:lnTo>
                        <a:pt x="297819" y="384059"/>
                      </a:lnTo>
                      <a:lnTo>
                        <a:pt x="294111" y="386470"/>
                      </a:lnTo>
                      <a:lnTo>
                        <a:pt x="277182" y="390273"/>
                      </a:lnTo>
                      <a:lnTo>
                        <a:pt x="263225" y="389071"/>
                      </a:lnTo>
                      <a:lnTo>
                        <a:pt x="251373" y="395584"/>
                      </a:lnTo>
                      <a:lnTo>
                        <a:pt x="240047" y="394154"/>
                      </a:lnTo>
                      <a:lnTo>
                        <a:pt x="236251" y="395509"/>
                      </a:lnTo>
                      <a:lnTo>
                        <a:pt x="236973" y="390354"/>
                      </a:lnTo>
                      <a:lnTo>
                        <a:pt x="238247" y="386579"/>
                      </a:lnTo>
                      <a:lnTo>
                        <a:pt x="241449" y="379245"/>
                      </a:lnTo>
                      <a:lnTo>
                        <a:pt x="237633" y="378633"/>
                      </a:lnTo>
                      <a:lnTo>
                        <a:pt x="234367" y="379542"/>
                      </a:lnTo>
                      <a:lnTo>
                        <a:pt x="231250" y="382039"/>
                      </a:lnTo>
                      <a:lnTo>
                        <a:pt x="227899" y="386247"/>
                      </a:lnTo>
                      <a:lnTo>
                        <a:pt x="222722" y="395417"/>
                      </a:lnTo>
                      <a:lnTo>
                        <a:pt x="204847" y="411767"/>
                      </a:lnTo>
                      <a:lnTo>
                        <a:pt x="199047" y="419552"/>
                      </a:lnTo>
                      <a:lnTo>
                        <a:pt x="195258" y="430983"/>
                      </a:lnTo>
                      <a:lnTo>
                        <a:pt x="196931" y="432618"/>
                      </a:lnTo>
                      <a:lnTo>
                        <a:pt x="200294" y="431739"/>
                      </a:lnTo>
                      <a:lnTo>
                        <a:pt x="202062" y="433192"/>
                      </a:lnTo>
                      <a:lnTo>
                        <a:pt x="198422" y="439960"/>
                      </a:lnTo>
                      <a:lnTo>
                        <a:pt x="191475" y="444324"/>
                      </a:lnTo>
                      <a:lnTo>
                        <a:pt x="184470" y="445421"/>
                      </a:lnTo>
                      <a:lnTo>
                        <a:pt x="180667" y="442377"/>
                      </a:lnTo>
                      <a:lnTo>
                        <a:pt x="180912" y="437572"/>
                      </a:lnTo>
                      <a:lnTo>
                        <a:pt x="182784" y="434657"/>
                      </a:lnTo>
                      <a:lnTo>
                        <a:pt x="185320" y="433312"/>
                      </a:lnTo>
                      <a:lnTo>
                        <a:pt x="187620" y="433030"/>
                      </a:lnTo>
                      <a:lnTo>
                        <a:pt x="186432" y="431328"/>
                      </a:lnTo>
                      <a:lnTo>
                        <a:pt x="185955" y="430874"/>
                      </a:lnTo>
                      <a:lnTo>
                        <a:pt x="187000" y="426935"/>
                      </a:lnTo>
                      <a:lnTo>
                        <a:pt x="188761" y="425353"/>
                      </a:lnTo>
                      <a:lnTo>
                        <a:pt x="190832" y="424703"/>
                      </a:lnTo>
                      <a:lnTo>
                        <a:pt x="192788" y="423447"/>
                      </a:lnTo>
                      <a:lnTo>
                        <a:pt x="189362" y="419021"/>
                      </a:lnTo>
                      <a:lnTo>
                        <a:pt x="153782" y="428976"/>
                      </a:lnTo>
                      <a:lnTo>
                        <a:pt x="152181" y="425432"/>
                      </a:lnTo>
                      <a:lnTo>
                        <a:pt x="148482" y="423458"/>
                      </a:lnTo>
                      <a:lnTo>
                        <a:pt x="147787" y="417203"/>
                      </a:lnTo>
                      <a:lnTo>
                        <a:pt x="149555" y="410344"/>
                      </a:lnTo>
                      <a:lnTo>
                        <a:pt x="153346" y="406582"/>
                      </a:lnTo>
                      <a:lnTo>
                        <a:pt x="160138" y="411810"/>
                      </a:lnTo>
                      <a:lnTo>
                        <a:pt x="163080" y="411913"/>
                      </a:lnTo>
                      <a:lnTo>
                        <a:pt x="162719" y="404159"/>
                      </a:lnTo>
                      <a:lnTo>
                        <a:pt x="174642" y="399850"/>
                      </a:lnTo>
                      <a:lnTo>
                        <a:pt x="180091" y="402552"/>
                      </a:lnTo>
                      <a:lnTo>
                        <a:pt x="182924" y="402293"/>
                      </a:lnTo>
                      <a:lnTo>
                        <a:pt x="184692" y="397394"/>
                      </a:lnTo>
                      <a:lnTo>
                        <a:pt x="184013" y="396360"/>
                      </a:lnTo>
                      <a:lnTo>
                        <a:pt x="183667" y="395259"/>
                      </a:lnTo>
                      <a:lnTo>
                        <a:pt x="183442" y="394088"/>
                      </a:lnTo>
                      <a:lnTo>
                        <a:pt x="183087" y="392876"/>
                      </a:lnTo>
                      <a:lnTo>
                        <a:pt x="194042" y="384742"/>
                      </a:lnTo>
                      <a:lnTo>
                        <a:pt x="197530" y="378889"/>
                      </a:lnTo>
                      <a:lnTo>
                        <a:pt x="186386" y="385507"/>
                      </a:lnTo>
                      <a:lnTo>
                        <a:pt x="182338" y="385794"/>
                      </a:lnTo>
                      <a:lnTo>
                        <a:pt x="173161" y="380735"/>
                      </a:lnTo>
                      <a:lnTo>
                        <a:pt x="163859" y="380598"/>
                      </a:lnTo>
                      <a:lnTo>
                        <a:pt x="163893" y="378447"/>
                      </a:lnTo>
                      <a:lnTo>
                        <a:pt x="165144" y="377749"/>
                      </a:lnTo>
                      <a:lnTo>
                        <a:pt x="165608" y="376870"/>
                      </a:lnTo>
                      <a:lnTo>
                        <a:pt x="165867" y="375596"/>
                      </a:lnTo>
                      <a:lnTo>
                        <a:pt x="166488" y="373552"/>
                      </a:lnTo>
                      <a:lnTo>
                        <a:pt x="164100" y="371604"/>
                      </a:lnTo>
                      <a:lnTo>
                        <a:pt x="162848" y="371105"/>
                      </a:lnTo>
                      <a:lnTo>
                        <a:pt x="161559" y="371143"/>
                      </a:lnTo>
                      <a:lnTo>
                        <a:pt x="169754" y="366303"/>
                      </a:lnTo>
                      <a:lnTo>
                        <a:pt x="187131" y="369151"/>
                      </a:lnTo>
                      <a:lnTo>
                        <a:pt x="194472" y="359777"/>
                      </a:lnTo>
                      <a:lnTo>
                        <a:pt x="191763" y="361855"/>
                      </a:lnTo>
                      <a:lnTo>
                        <a:pt x="191012" y="362099"/>
                      </a:lnTo>
                      <a:lnTo>
                        <a:pt x="189944" y="361298"/>
                      </a:lnTo>
                      <a:lnTo>
                        <a:pt x="189725" y="359638"/>
                      </a:lnTo>
                      <a:lnTo>
                        <a:pt x="189985" y="357967"/>
                      </a:lnTo>
                      <a:lnTo>
                        <a:pt x="190231" y="357379"/>
                      </a:lnTo>
                      <a:lnTo>
                        <a:pt x="190113" y="355620"/>
                      </a:lnTo>
                      <a:lnTo>
                        <a:pt x="188992" y="351109"/>
                      </a:lnTo>
                      <a:lnTo>
                        <a:pt x="187653" y="348225"/>
                      </a:lnTo>
                      <a:lnTo>
                        <a:pt x="186956" y="351422"/>
                      </a:lnTo>
                      <a:lnTo>
                        <a:pt x="185317" y="355619"/>
                      </a:lnTo>
                      <a:lnTo>
                        <a:pt x="181620" y="355500"/>
                      </a:lnTo>
                      <a:lnTo>
                        <a:pt x="174405" y="352450"/>
                      </a:lnTo>
                      <a:lnTo>
                        <a:pt x="174439" y="350076"/>
                      </a:lnTo>
                      <a:lnTo>
                        <a:pt x="175583" y="349514"/>
                      </a:lnTo>
                      <a:lnTo>
                        <a:pt x="176291" y="348694"/>
                      </a:lnTo>
                      <a:lnTo>
                        <a:pt x="177774" y="345200"/>
                      </a:lnTo>
                      <a:lnTo>
                        <a:pt x="167687" y="346604"/>
                      </a:lnTo>
                      <a:lnTo>
                        <a:pt x="165321" y="345021"/>
                      </a:lnTo>
                      <a:lnTo>
                        <a:pt x="164370" y="340240"/>
                      </a:lnTo>
                      <a:lnTo>
                        <a:pt x="166560" y="338249"/>
                      </a:lnTo>
                      <a:lnTo>
                        <a:pt x="192999" y="340879"/>
                      </a:lnTo>
                      <a:lnTo>
                        <a:pt x="192075" y="339927"/>
                      </a:lnTo>
                      <a:lnTo>
                        <a:pt x="189657" y="335905"/>
                      </a:lnTo>
                      <a:lnTo>
                        <a:pt x="191353" y="333787"/>
                      </a:lnTo>
                      <a:lnTo>
                        <a:pt x="186429" y="334051"/>
                      </a:lnTo>
                      <a:lnTo>
                        <a:pt x="184110" y="332715"/>
                      </a:lnTo>
                      <a:lnTo>
                        <a:pt x="182172" y="328949"/>
                      </a:lnTo>
                      <a:lnTo>
                        <a:pt x="184199" y="327346"/>
                      </a:lnTo>
                      <a:lnTo>
                        <a:pt x="186285" y="326613"/>
                      </a:lnTo>
                      <a:lnTo>
                        <a:pt x="190607" y="326498"/>
                      </a:lnTo>
                      <a:lnTo>
                        <a:pt x="187449" y="323267"/>
                      </a:lnTo>
                      <a:lnTo>
                        <a:pt x="183928" y="322295"/>
                      </a:lnTo>
                      <a:lnTo>
                        <a:pt x="173606" y="324897"/>
                      </a:lnTo>
                      <a:lnTo>
                        <a:pt x="162314" y="323746"/>
                      </a:lnTo>
                      <a:lnTo>
                        <a:pt x="162352" y="321384"/>
                      </a:lnTo>
                      <a:lnTo>
                        <a:pt x="164136" y="321552"/>
                      </a:lnTo>
                      <a:lnTo>
                        <a:pt x="165848" y="320608"/>
                      </a:lnTo>
                      <a:lnTo>
                        <a:pt x="169161" y="316764"/>
                      </a:lnTo>
                      <a:lnTo>
                        <a:pt x="168814" y="315409"/>
                      </a:lnTo>
                      <a:lnTo>
                        <a:pt x="168330" y="312028"/>
                      </a:lnTo>
                      <a:lnTo>
                        <a:pt x="169812" y="310376"/>
                      </a:lnTo>
                      <a:lnTo>
                        <a:pt x="171197" y="310523"/>
                      </a:lnTo>
                      <a:lnTo>
                        <a:pt x="174717" y="312555"/>
                      </a:lnTo>
                      <a:lnTo>
                        <a:pt x="176159" y="314346"/>
                      </a:lnTo>
                      <a:lnTo>
                        <a:pt x="177026" y="314738"/>
                      </a:lnTo>
                      <a:lnTo>
                        <a:pt x="177770" y="313960"/>
                      </a:lnTo>
                      <a:lnTo>
                        <a:pt x="179066" y="310604"/>
                      </a:lnTo>
                      <a:lnTo>
                        <a:pt x="179958" y="309843"/>
                      </a:lnTo>
                      <a:lnTo>
                        <a:pt x="182060" y="310546"/>
                      </a:lnTo>
                      <a:lnTo>
                        <a:pt x="184872" y="313774"/>
                      </a:lnTo>
                      <a:lnTo>
                        <a:pt x="186583" y="314863"/>
                      </a:lnTo>
                      <a:lnTo>
                        <a:pt x="188820" y="314440"/>
                      </a:lnTo>
                      <a:lnTo>
                        <a:pt x="192501" y="310886"/>
                      </a:lnTo>
                      <a:lnTo>
                        <a:pt x="194593" y="310025"/>
                      </a:lnTo>
                      <a:lnTo>
                        <a:pt x="210900" y="312542"/>
                      </a:lnTo>
                      <a:lnTo>
                        <a:pt x="222077" y="321845"/>
                      </a:lnTo>
                      <a:lnTo>
                        <a:pt x="225856" y="322114"/>
                      </a:lnTo>
                      <a:lnTo>
                        <a:pt x="224673" y="317184"/>
                      </a:lnTo>
                      <a:lnTo>
                        <a:pt x="222400" y="314889"/>
                      </a:lnTo>
                      <a:lnTo>
                        <a:pt x="217541" y="312601"/>
                      </a:lnTo>
                      <a:lnTo>
                        <a:pt x="213414" y="306408"/>
                      </a:lnTo>
                      <a:lnTo>
                        <a:pt x="211720" y="305478"/>
                      </a:lnTo>
                      <a:lnTo>
                        <a:pt x="231724" y="305538"/>
                      </a:lnTo>
                      <a:lnTo>
                        <a:pt x="237733" y="300739"/>
                      </a:lnTo>
                      <a:lnTo>
                        <a:pt x="217054" y="296740"/>
                      </a:lnTo>
                      <a:lnTo>
                        <a:pt x="207078" y="291361"/>
                      </a:lnTo>
                      <a:lnTo>
                        <a:pt x="200410" y="274706"/>
                      </a:lnTo>
                      <a:lnTo>
                        <a:pt x="205137" y="275374"/>
                      </a:lnTo>
                      <a:lnTo>
                        <a:pt x="207645" y="277099"/>
                      </a:lnTo>
                      <a:lnTo>
                        <a:pt x="209648" y="283204"/>
                      </a:lnTo>
                      <a:lnTo>
                        <a:pt x="211822" y="286164"/>
                      </a:lnTo>
                      <a:lnTo>
                        <a:pt x="214281" y="288392"/>
                      </a:lnTo>
                      <a:lnTo>
                        <a:pt x="216005" y="288998"/>
                      </a:lnTo>
                      <a:lnTo>
                        <a:pt x="215045" y="283705"/>
                      </a:lnTo>
                      <a:lnTo>
                        <a:pt x="214488" y="281928"/>
                      </a:lnTo>
                      <a:lnTo>
                        <a:pt x="222903" y="283938"/>
                      </a:lnTo>
                      <a:lnTo>
                        <a:pt x="225268" y="282016"/>
                      </a:lnTo>
                      <a:lnTo>
                        <a:pt x="222389" y="279042"/>
                      </a:lnTo>
                      <a:lnTo>
                        <a:pt x="217437" y="269695"/>
                      </a:lnTo>
                      <a:lnTo>
                        <a:pt x="214616" y="267760"/>
                      </a:lnTo>
                      <a:lnTo>
                        <a:pt x="216337" y="263727"/>
                      </a:lnTo>
                      <a:lnTo>
                        <a:pt x="219505" y="262867"/>
                      </a:lnTo>
                      <a:lnTo>
                        <a:pt x="222941" y="264160"/>
                      </a:lnTo>
                      <a:lnTo>
                        <a:pt x="226911" y="268070"/>
                      </a:lnTo>
                      <a:lnTo>
                        <a:pt x="228854" y="269167"/>
                      </a:lnTo>
                      <a:lnTo>
                        <a:pt x="232416" y="270048"/>
                      </a:lnTo>
                      <a:lnTo>
                        <a:pt x="233749" y="271195"/>
                      </a:lnTo>
                      <a:lnTo>
                        <a:pt x="235729" y="276225"/>
                      </a:lnTo>
                      <a:lnTo>
                        <a:pt x="236994" y="277372"/>
                      </a:lnTo>
                      <a:lnTo>
                        <a:pt x="239832" y="277923"/>
                      </a:lnTo>
                      <a:lnTo>
                        <a:pt x="242123" y="279396"/>
                      </a:lnTo>
                      <a:lnTo>
                        <a:pt x="248404" y="287088"/>
                      </a:lnTo>
                      <a:lnTo>
                        <a:pt x="250621" y="288573"/>
                      </a:lnTo>
                      <a:lnTo>
                        <a:pt x="255954" y="289239"/>
                      </a:lnTo>
                      <a:lnTo>
                        <a:pt x="255962" y="286878"/>
                      </a:lnTo>
                      <a:lnTo>
                        <a:pt x="252475" y="284308"/>
                      </a:lnTo>
                      <a:lnTo>
                        <a:pt x="250835" y="282206"/>
                      </a:lnTo>
                      <a:lnTo>
                        <a:pt x="249366" y="279586"/>
                      </a:lnTo>
                      <a:lnTo>
                        <a:pt x="248657" y="277010"/>
                      </a:lnTo>
                      <a:lnTo>
                        <a:pt x="247103" y="269539"/>
                      </a:lnTo>
                      <a:lnTo>
                        <a:pt x="246480" y="267976"/>
                      </a:lnTo>
                      <a:lnTo>
                        <a:pt x="237885" y="261943"/>
                      </a:lnTo>
                      <a:lnTo>
                        <a:pt x="235450" y="257656"/>
                      </a:lnTo>
                      <a:lnTo>
                        <a:pt x="234708" y="255260"/>
                      </a:lnTo>
                      <a:lnTo>
                        <a:pt x="233731" y="251177"/>
                      </a:lnTo>
                      <a:lnTo>
                        <a:pt x="234810" y="248569"/>
                      </a:lnTo>
                      <a:lnTo>
                        <a:pt x="235386" y="246029"/>
                      </a:lnTo>
                      <a:lnTo>
                        <a:pt x="235380" y="243668"/>
                      </a:lnTo>
                      <a:lnTo>
                        <a:pt x="234687" y="241555"/>
                      </a:lnTo>
                      <a:lnTo>
                        <a:pt x="240622" y="242475"/>
                      </a:lnTo>
                      <a:lnTo>
                        <a:pt x="245062" y="250144"/>
                      </a:lnTo>
                      <a:lnTo>
                        <a:pt x="252709" y="270153"/>
                      </a:lnTo>
                      <a:lnTo>
                        <a:pt x="254418" y="271606"/>
                      </a:lnTo>
                      <a:lnTo>
                        <a:pt x="257538" y="273122"/>
                      </a:lnTo>
                      <a:lnTo>
                        <a:pt x="260536" y="272865"/>
                      </a:lnTo>
                      <a:lnTo>
                        <a:pt x="261878" y="269100"/>
                      </a:lnTo>
                      <a:lnTo>
                        <a:pt x="261355" y="265809"/>
                      </a:lnTo>
                      <a:lnTo>
                        <a:pt x="259042" y="265017"/>
                      </a:lnTo>
                      <a:lnTo>
                        <a:pt x="258530" y="262034"/>
                      </a:lnTo>
                      <a:lnTo>
                        <a:pt x="258413" y="258521"/>
                      </a:lnTo>
                      <a:lnTo>
                        <a:pt x="257843" y="252136"/>
                      </a:lnTo>
                      <a:lnTo>
                        <a:pt x="257745" y="249157"/>
                      </a:lnTo>
                      <a:lnTo>
                        <a:pt x="257517" y="246808"/>
                      </a:lnTo>
                      <a:lnTo>
                        <a:pt x="257119" y="245107"/>
                      </a:lnTo>
                      <a:lnTo>
                        <a:pt x="257047" y="243531"/>
                      </a:lnTo>
                      <a:lnTo>
                        <a:pt x="257769" y="241664"/>
                      </a:lnTo>
                      <a:close/>
                      <a:moveTo>
                        <a:pt x="394091" y="141435"/>
                      </a:moveTo>
                      <a:lnTo>
                        <a:pt x="396538" y="141862"/>
                      </a:lnTo>
                      <a:lnTo>
                        <a:pt x="398917" y="144608"/>
                      </a:lnTo>
                      <a:lnTo>
                        <a:pt x="400952" y="148764"/>
                      </a:lnTo>
                      <a:lnTo>
                        <a:pt x="399901" y="150299"/>
                      </a:lnTo>
                      <a:lnTo>
                        <a:pt x="399373" y="151883"/>
                      </a:lnTo>
                      <a:lnTo>
                        <a:pt x="398622" y="155872"/>
                      </a:lnTo>
                      <a:lnTo>
                        <a:pt x="401189" y="156182"/>
                      </a:lnTo>
                      <a:lnTo>
                        <a:pt x="405855" y="154828"/>
                      </a:lnTo>
                      <a:lnTo>
                        <a:pt x="416386" y="159581"/>
                      </a:lnTo>
                      <a:lnTo>
                        <a:pt x="417973" y="161353"/>
                      </a:lnTo>
                      <a:lnTo>
                        <a:pt x="420534" y="166295"/>
                      </a:lnTo>
                      <a:lnTo>
                        <a:pt x="423539" y="170385"/>
                      </a:lnTo>
                      <a:lnTo>
                        <a:pt x="425624" y="175562"/>
                      </a:lnTo>
                      <a:lnTo>
                        <a:pt x="425375" y="183735"/>
                      </a:lnTo>
                      <a:lnTo>
                        <a:pt x="422641" y="190590"/>
                      </a:lnTo>
                      <a:lnTo>
                        <a:pt x="415089" y="194270"/>
                      </a:lnTo>
                      <a:lnTo>
                        <a:pt x="408659" y="206274"/>
                      </a:lnTo>
                      <a:lnTo>
                        <a:pt x="404223" y="208709"/>
                      </a:lnTo>
                      <a:lnTo>
                        <a:pt x="399586" y="209752"/>
                      </a:lnTo>
                      <a:lnTo>
                        <a:pt x="395414" y="212528"/>
                      </a:lnTo>
                      <a:lnTo>
                        <a:pt x="394321" y="214598"/>
                      </a:lnTo>
                      <a:lnTo>
                        <a:pt x="393003" y="218047"/>
                      </a:lnTo>
                      <a:lnTo>
                        <a:pt x="391912" y="221718"/>
                      </a:lnTo>
                      <a:lnTo>
                        <a:pt x="391485" y="224621"/>
                      </a:lnTo>
                      <a:lnTo>
                        <a:pt x="392473" y="228500"/>
                      </a:lnTo>
                      <a:lnTo>
                        <a:pt x="394453" y="229778"/>
                      </a:lnTo>
                      <a:lnTo>
                        <a:pt x="396749" y="230532"/>
                      </a:lnTo>
                      <a:lnTo>
                        <a:pt x="398657" y="232751"/>
                      </a:lnTo>
                      <a:lnTo>
                        <a:pt x="399798" y="239144"/>
                      </a:lnTo>
                      <a:lnTo>
                        <a:pt x="398242" y="243862"/>
                      </a:lnTo>
                      <a:lnTo>
                        <a:pt x="391867" y="250536"/>
                      </a:lnTo>
                      <a:lnTo>
                        <a:pt x="387387" y="252793"/>
                      </a:lnTo>
                      <a:lnTo>
                        <a:pt x="374531" y="248632"/>
                      </a:lnTo>
                      <a:lnTo>
                        <a:pt x="373099" y="249717"/>
                      </a:lnTo>
                      <a:lnTo>
                        <a:pt x="368996" y="254489"/>
                      </a:lnTo>
                      <a:lnTo>
                        <a:pt x="366687" y="255569"/>
                      </a:lnTo>
                      <a:lnTo>
                        <a:pt x="357646" y="255483"/>
                      </a:lnTo>
                      <a:lnTo>
                        <a:pt x="330678" y="265374"/>
                      </a:lnTo>
                      <a:lnTo>
                        <a:pt x="322453" y="265379"/>
                      </a:lnTo>
                      <a:lnTo>
                        <a:pt x="319373" y="262035"/>
                      </a:lnTo>
                      <a:lnTo>
                        <a:pt x="314443" y="253597"/>
                      </a:lnTo>
                      <a:lnTo>
                        <a:pt x="311651" y="251273"/>
                      </a:lnTo>
                      <a:lnTo>
                        <a:pt x="304720" y="251186"/>
                      </a:lnTo>
                      <a:lnTo>
                        <a:pt x="301452" y="249593"/>
                      </a:lnTo>
                      <a:lnTo>
                        <a:pt x="298364" y="244258"/>
                      </a:lnTo>
                      <a:lnTo>
                        <a:pt x="299584" y="241303"/>
                      </a:lnTo>
                      <a:lnTo>
                        <a:pt x="302056" y="236617"/>
                      </a:lnTo>
                      <a:lnTo>
                        <a:pt x="303414" y="234800"/>
                      </a:lnTo>
                      <a:lnTo>
                        <a:pt x="303038" y="233494"/>
                      </a:lnTo>
                      <a:lnTo>
                        <a:pt x="302440" y="230080"/>
                      </a:lnTo>
                      <a:lnTo>
                        <a:pt x="303794" y="230371"/>
                      </a:lnTo>
                      <a:lnTo>
                        <a:pt x="304932" y="230971"/>
                      </a:lnTo>
                      <a:lnTo>
                        <a:pt x="307283" y="233059"/>
                      </a:lnTo>
                      <a:lnTo>
                        <a:pt x="308648" y="233645"/>
                      </a:lnTo>
                      <a:lnTo>
                        <a:pt x="309862" y="232881"/>
                      </a:lnTo>
                      <a:lnTo>
                        <a:pt x="312380" y="230046"/>
                      </a:lnTo>
                      <a:lnTo>
                        <a:pt x="315148" y="228714"/>
                      </a:lnTo>
                      <a:lnTo>
                        <a:pt x="327426" y="231291"/>
                      </a:lnTo>
                      <a:lnTo>
                        <a:pt x="330463" y="233916"/>
                      </a:lnTo>
                      <a:lnTo>
                        <a:pt x="331335" y="235386"/>
                      </a:lnTo>
                      <a:lnTo>
                        <a:pt x="333011" y="239381"/>
                      </a:lnTo>
                      <a:lnTo>
                        <a:pt x="332572" y="239806"/>
                      </a:lnTo>
                      <a:lnTo>
                        <a:pt x="332220" y="241495"/>
                      </a:lnTo>
                      <a:lnTo>
                        <a:pt x="332478" y="243307"/>
                      </a:lnTo>
                      <a:lnTo>
                        <a:pt x="333947" y="244098"/>
                      </a:lnTo>
                      <a:lnTo>
                        <a:pt x="334803" y="242954"/>
                      </a:lnTo>
                      <a:lnTo>
                        <a:pt x="336712" y="238061"/>
                      </a:lnTo>
                      <a:lnTo>
                        <a:pt x="337999" y="236985"/>
                      </a:lnTo>
                      <a:lnTo>
                        <a:pt x="337749" y="235004"/>
                      </a:lnTo>
                      <a:lnTo>
                        <a:pt x="340307" y="234817"/>
                      </a:lnTo>
                      <a:lnTo>
                        <a:pt x="341640" y="233415"/>
                      </a:lnTo>
                      <a:lnTo>
                        <a:pt x="342812" y="231550"/>
                      </a:lnTo>
                      <a:lnTo>
                        <a:pt x="345764" y="229333"/>
                      </a:lnTo>
                      <a:lnTo>
                        <a:pt x="347059" y="227255"/>
                      </a:lnTo>
                      <a:lnTo>
                        <a:pt x="337946" y="229900"/>
                      </a:lnTo>
                      <a:lnTo>
                        <a:pt x="335570" y="229525"/>
                      </a:lnTo>
                      <a:lnTo>
                        <a:pt x="333932" y="227905"/>
                      </a:lnTo>
                      <a:lnTo>
                        <a:pt x="321221" y="203862"/>
                      </a:lnTo>
                      <a:lnTo>
                        <a:pt x="324551" y="201988"/>
                      </a:lnTo>
                      <a:lnTo>
                        <a:pt x="336869" y="203764"/>
                      </a:lnTo>
                      <a:lnTo>
                        <a:pt x="336127" y="203769"/>
                      </a:lnTo>
                      <a:lnTo>
                        <a:pt x="341237" y="205109"/>
                      </a:lnTo>
                      <a:lnTo>
                        <a:pt x="356268" y="203598"/>
                      </a:lnTo>
                      <a:lnTo>
                        <a:pt x="372218" y="208948"/>
                      </a:lnTo>
                      <a:lnTo>
                        <a:pt x="374817" y="205754"/>
                      </a:lnTo>
                      <a:lnTo>
                        <a:pt x="370110" y="202719"/>
                      </a:lnTo>
                      <a:lnTo>
                        <a:pt x="345510" y="199859"/>
                      </a:lnTo>
                      <a:lnTo>
                        <a:pt x="341001" y="196438"/>
                      </a:lnTo>
                      <a:lnTo>
                        <a:pt x="340098" y="189571"/>
                      </a:lnTo>
                      <a:lnTo>
                        <a:pt x="337922" y="184190"/>
                      </a:lnTo>
                      <a:lnTo>
                        <a:pt x="338816" y="178829"/>
                      </a:lnTo>
                      <a:lnTo>
                        <a:pt x="341421" y="174689"/>
                      </a:lnTo>
                      <a:lnTo>
                        <a:pt x="344462" y="173036"/>
                      </a:lnTo>
                      <a:lnTo>
                        <a:pt x="345964" y="173542"/>
                      </a:lnTo>
                      <a:lnTo>
                        <a:pt x="346960" y="174954"/>
                      </a:lnTo>
                      <a:lnTo>
                        <a:pt x="349010" y="178900"/>
                      </a:lnTo>
                      <a:lnTo>
                        <a:pt x="351009" y="180329"/>
                      </a:lnTo>
                      <a:lnTo>
                        <a:pt x="354580" y="179017"/>
                      </a:lnTo>
                      <a:lnTo>
                        <a:pt x="356440" y="180011"/>
                      </a:lnTo>
                      <a:lnTo>
                        <a:pt x="356965" y="182802"/>
                      </a:lnTo>
                      <a:lnTo>
                        <a:pt x="356504" y="186306"/>
                      </a:lnTo>
                      <a:lnTo>
                        <a:pt x="356668" y="189033"/>
                      </a:lnTo>
                      <a:lnTo>
                        <a:pt x="358992" y="189402"/>
                      </a:lnTo>
                      <a:lnTo>
                        <a:pt x="360322" y="187912"/>
                      </a:lnTo>
                      <a:lnTo>
                        <a:pt x="361169" y="185120"/>
                      </a:lnTo>
                      <a:lnTo>
                        <a:pt x="362561" y="178767"/>
                      </a:lnTo>
                      <a:lnTo>
                        <a:pt x="365332" y="173255"/>
                      </a:lnTo>
                      <a:lnTo>
                        <a:pt x="368679" y="170827"/>
                      </a:lnTo>
                      <a:lnTo>
                        <a:pt x="376804" y="170349"/>
                      </a:lnTo>
                      <a:lnTo>
                        <a:pt x="375598" y="187218"/>
                      </a:lnTo>
                      <a:lnTo>
                        <a:pt x="378422" y="201913"/>
                      </a:lnTo>
                      <a:lnTo>
                        <a:pt x="383839" y="210867"/>
                      </a:lnTo>
                      <a:lnTo>
                        <a:pt x="390454" y="210466"/>
                      </a:lnTo>
                      <a:lnTo>
                        <a:pt x="387986" y="208140"/>
                      </a:lnTo>
                      <a:lnTo>
                        <a:pt x="387284" y="204199"/>
                      </a:lnTo>
                      <a:lnTo>
                        <a:pt x="387702" y="199259"/>
                      </a:lnTo>
                      <a:lnTo>
                        <a:pt x="389437" y="188312"/>
                      </a:lnTo>
                      <a:lnTo>
                        <a:pt x="393237" y="177208"/>
                      </a:lnTo>
                      <a:lnTo>
                        <a:pt x="391337" y="173187"/>
                      </a:lnTo>
                      <a:lnTo>
                        <a:pt x="380898" y="159543"/>
                      </a:lnTo>
                      <a:lnTo>
                        <a:pt x="379107" y="155547"/>
                      </a:lnTo>
                      <a:lnTo>
                        <a:pt x="378186" y="151229"/>
                      </a:lnTo>
                      <a:lnTo>
                        <a:pt x="379500" y="142104"/>
                      </a:lnTo>
                      <a:lnTo>
                        <a:pt x="384171" y="143559"/>
                      </a:lnTo>
                      <a:lnTo>
                        <a:pt x="389695" y="147572"/>
                      </a:lnTo>
                      <a:lnTo>
                        <a:pt x="393584" y="146321"/>
                      </a:lnTo>
                      <a:lnTo>
                        <a:pt x="391923" y="144180"/>
                      </a:lnTo>
                      <a:close/>
                      <a:moveTo>
                        <a:pt x="621152" y="126892"/>
                      </a:moveTo>
                      <a:lnTo>
                        <a:pt x="622293" y="128739"/>
                      </a:lnTo>
                      <a:lnTo>
                        <a:pt x="622458" y="131011"/>
                      </a:lnTo>
                      <a:lnTo>
                        <a:pt x="621805" y="132180"/>
                      </a:lnTo>
                      <a:lnTo>
                        <a:pt x="621415" y="132549"/>
                      </a:lnTo>
                      <a:lnTo>
                        <a:pt x="620266" y="134121"/>
                      </a:lnTo>
                      <a:lnTo>
                        <a:pt x="619791" y="135804"/>
                      </a:lnTo>
                      <a:lnTo>
                        <a:pt x="619695" y="137932"/>
                      </a:lnTo>
                      <a:lnTo>
                        <a:pt x="620894" y="143703"/>
                      </a:lnTo>
                      <a:lnTo>
                        <a:pt x="623217" y="151871"/>
                      </a:lnTo>
                      <a:lnTo>
                        <a:pt x="621865" y="158784"/>
                      </a:lnTo>
                      <a:lnTo>
                        <a:pt x="616619" y="163832"/>
                      </a:lnTo>
                      <a:lnTo>
                        <a:pt x="610239" y="167435"/>
                      </a:lnTo>
                      <a:lnTo>
                        <a:pt x="603897" y="165389"/>
                      </a:lnTo>
                      <a:lnTo>
                        <a:pt x="601154" y="161412"/>
                      </a:lnTo>
                      <a:lnTo>
                        <a:pt x="600332" y="158408"/>
                      </a:lnTo>
                      <a:lnTo>
                        <a:pt x="599573" y="152110"/>
                      </a:lnTo>
                      <a:lnTo>
                        <a:pt x="600147" y="146979"/>
                      </a:lnTo>
                      <a:lnTo>
                        <a:pt x="602203" y="140265"/>
                      </a:lnTo>
                      <a:lnTo>
                        <a:pt x="602792" y="137340"/>
                      </a:lnTo>
                      <a:lnTo>
                        <a:pt x="603034" y="134447"/>
                      </a:lnTo>
                      <a:lnTo>
                        <a:pt x="603496" y="132388"/>
                      </a:lnTo>
                      <a:lnTo>
                        <a:pt x="605099" y="130517"/>
                      </a:lnTo>
                      <a:lnTo>
                        <a:pt x="607657" y="129224"/>
                      </a:lnTo>
                      <a:close/>
                      <a:moveTo>
                        <a:pt x="737574" y="105050"/>
                      </a:moveTo>
                      <a:lnTo>
                        <a:pt x="739632" y="105473"/>
                      </a:lnTo>
                      <a:lnTo>
                        <a:pt x="741760" y="107003"/>
                      </a:lnTo>
                      <a:lnTo>
                        <a:pt x="741216" y="110474"/>
                      </a:lnTo>
                      <a:lnTo>
                        <a:pt x="740142" y="112032"/>
                      </a:lnTo>
                      <a:lnTo>
                        <a:pt x="738784" y="112919"/>
                      </a:lnTo>
                      <a:lnTo>
                        <a:pt x="737421" y="114354"/>
                      </a:lnTo>
                      <a:lnTo>
                        <a:pt x="736194" y="113627"/>
                      </a:lnTo>
                      <a:lnTo>
                        <a:pt x="735159" y="112253"/>
                      </a:lnTo>
                      <a:lnTo>
                        <a:pt x="734297" y="110222"/>
                      </a:lnTo>
                      <a:lnTo>
                        <a:pt x="733683" y="107498"/>
                      </a:lnTo>
                      <a:lnTo>
                        <a:pt x="735606" y="105749"/>
                      </a:lnTo>
                      <a:close/>
                      <a:moveTo>
                        <a:pt x="508576" y="98259"/>
                      </a:moveTo>
                      <a:lnTo>
                        <a:pt x="511663" y="98333"/>
                      </a:lnTo>
                      <a:lnTo>
                        <a:pt x="513222" y="98889"/>
                      </a:lnTo>
                      <a:lnTo>
                        <a:pt x="515784" y="101495"/>
                      </a:lnTo>
                      <a:lnTo>
                        <a:pt x="518657" y="108900"/>
                      </a:lnTo>
                      <a:lnTo>
                        <a:pt x="516343" y="117085"/>
                      </a:lnTo>
                      <a:lnTo>
                        <a:pt x="511580" y="125684"/>
                      </a:lnTo>
                      <a:lnTo>
                        <a:pt x="507867" y="137343"/>
                      </a:lnTo>
                      <a:lnTo>
                        <a:pt x="503688" y="146833"/>
                      </a:lnTo>
                      <a:lnTo>
                        <a:pt x="498609" y="150259"/>
                      </a:lnTo>
                      <a:lnTo>
                        <a:pt x="475713" y="156721"/>
                      </a:lnTo>
                      <a:lnTo>
                        <a:pt x="469802" y="156112"/>
                      </a:lnTo>
                      <a:lnTo>
                        <a:pt x="470651" y="149890"/>
                      </a:lnTo>
                      <a:lnTo>
                        <a:pt x="478333" y="137503"/>
                      </a:lnTo>
                      <a:lnTo>
                        <a:pt x="480832" y="128579"/>
                      </a:lnTo>
                      <a:lnTo>
                        <a:pt x="482427" y="126428"/>
                      </a:lnTo>
                      <a:lnTo>
                        <a:pt x="488062" y="123195"/>
                      </a:lnTo>
                      <a:lnTo>
                        <a:pt x="499345" y="112779"/>
                      </a:lnTo>
                      <a:lnTo>
                        <a:pt x="503165" y="107281"/>
                      </a:lnTo>
                      <a:lnTo>
                        <a:pt x="505772" y="101706"/>
                      </a:lnTo>
                      <a:close/>
                      <a:moveTo>
                        <a:pt x="528864" y="90019"/>
                      </a:moveTo>
                      <a:lnTo>
                        <a:pt x="532220" y="90750"/>
                      </a:lnTo>
                      <a:lnTo>
                        <a:pt x="534649" y="93296"/>
                      </a:lnTo>
                      <a:lnTo>
                        <a:pt x="529305" y="95910"/>
                      </a:lnTo>
                      <a:lnTo>
                        <a:pt x="525310" y="95439"/>
                      </a:lnTo>
                      <a:lnTo>
                        <a:pt x="524323" y="94725"/>
                      </a:lnTo>
                      <a:lnTo>
                        <a:pt x="523334" y="93673"/>
                      </a:lnTo>
                      <a:lnTo>
                        <a:pt x="525566" y="91014"/>
                      </a:lnTo>
                      <a:close/>
                      <a:moveTo>
                        <a:pt x="636310" y="79709"/>
                      </a:moveTo>
                      <a:lnTo>
                        <a:pt x="639531" y="81779"/>
                      </a:lnTo>
                      <a:lnTo>
                        <a:pt x="645810" y="91209"/>
                      </a:lnTo>
                      <a:lnTo>
                        <a:pt x="648701" y="93262"/>
                      </a:lnTo>
                      <a:lnTo>
                        <a:pt x="665180" y="89869"/>
                      </a:lnTo>
                      <a:lnTo>
                        <a:pt x="651665" y="100532"/>
                      </a:lnTo>
                      <a:lnTo>
                        <a:pt x="651361" y="107091"/>
                      </a:lnTo>
                      <a:lnTo>
                        <a:pt x="647498" y="112728"/>
                      </a:lnTo>
                      <a:lnTo>
                        <a:pt x="641902" y="116111"/>
                      </a:lnTo>
                      <a:lnTo>
                        <a:pt x="636056" y="116447"/>
                      </a:lnTo>
                      <a:lnTo>
                        <a:pt x="631441" y="113006"/>
                      </a:lnTo>
                      <a:lnTo>
                        <a:pt x="627540" y="104986"/>
                      </a:lnTo>
                      <a:lnTo>
                        <a:pt x="625649" y="99713"/>
                      </a:lnTo>
                      <a:lnTo>
                        <a:pt x="625308" y="95563"/>
                      </a:lnTo>
                      <a:lnTo>
                        <a:pt x="627627" y="86958"/>
                      </a:lnTo>
                      <a:lnTo>
                        <a:pt x="629590" y="82278"/>
                      </a:lnTo>
                      <a:lnTo>
                        <a:pt x="632141" y="80275"/>
                      </a:lnTo>
                      <a:close/>
                      <a:moveTo>
                        <a:pt x="654918" y="72041"/>
                      </a:moveTo>
                      <a:lnTo>
                        <a:pt x="657375" y="72676"/>
                      </a:lnTo>
                      <a:lnTo>
                        <a:pt x="658435" y="80306"/>
                      </a:lnTo>
                      <a:lnTo>
                        <a:pt x="655490" y="84255"/>
                      </a:lnTo>
                      <a:lnTo>
                        <a:pt x="647920" y="86026"/>
                      </a:lnTo>
                      <a:lnTo>
                        <a:pt x="649028" y="82214"/>
                      </a:lnTo>
                      <a:lnTo>
                        <a:pt x="651754" y="76379"/>
                      </a:lnTo>
                      <a:close/>
                      <a:moveTo>
                        <a:pt x="440884" y="67629"/>
                      </a:moveTo>
                      <a:lnTo>
                        <a:pt x="443108" y="69310"/>
                      </a:lnTo>
                      <a:lnTo>
                        <a:pt x="443122" y="72543"/>
                      </a:lnTo>
                      <a:lnTo>
                        <a:pt x="442868" y="76189"/>
                      </a:lnTo>
                      <a:lnTo>
                        <a:pt x="444288" y="79110"/>
                      </a:lnTo>
                      <a:lnTo>
                        <a:pt x="446747" y="78296"/>
                      </a:lnTo>
                      <a:lnTo>
                        <a:pt x="449120" y="74532"/>
                      </a:lnTo>
                      <a:lnTo>
                        <a:pt x="451696" y="71787"/>
                      </a:lnTo>
                      <a:lnTo>
                        <a:pt x="454795" y="74149"/>
                      </a:lnTo>
                      <a:lnTo>
                        <a:pt x="452962" y="78675"/>
                      </a:lnTo>
                      <a:lnTo>
                        <a:pt x="451430" y="85023"/>
                      </a:lnTo>
                      <a:lnTo>
                        <a:pt x="451340" y="90676"/>
                      </a:lnTo>
                      <a:lnTo>
                        <a:pt x="457050" y="95196"/>
                      </a:lnTo>
                      <a:lnTo>
                        <a:pt x="463529" y="103968"/>
                      </a:lnTo>
                      <a:lnTo>
                        <a:pt x="466846" y="104743"/>
                      </a:lnTo>
                      <a:lnTo>
                        <a:pt x="466421" y="96376"/>
                      </a:lnTo>
                      <a:lnTo>
                        <a:pt x="468594" y="89502"/>
                      </a:lnTo>
                      <a:lnTo>
                        <a:pt x="471975" y="84848"/>
                      </a:lnTo>
                      <a:lnTo>
                        <a:pt x="479850" y="80944"/>
                      </a:lnTo>
                      <a:lnTo>
                        <a:pt x="482360" y="80961"/>
                      </a:lnTo>
                      <a:lnTo>
                        <a:pt x="484582" y="84119"/>
                      </a:lnTo>
                      <a:lnTo>
                        <a:pt x="485611" y="88899"/>
                      </a:lnTo>
                      <a:lnTo>
                        <a:pt x="485190" y="92454"/>
                      </a:lnTo>
                      <a:lnTo>
                        <a:pt x="484473" y="95708"/>
                      </a:lnTo>
                      <a:lnTo>
                        <a:pt x="484580" y="99556"/>
                      </a:lnTo>
                      <a:lnTo>
                        <a:pt x="485975" y="102922"/>
                      </a:lnTo>
                      <a:lnTo>
                        <a:pt x="487374" y="101251"/>
                      </a:lnTo>
                      <a:lnTo>
                        <a:pt x="488761" y="97488"/>
                      </a:lnTo>
                      <a:lnTo>
                        <a:pt x="490107" y="94680"/>
                      </a:lnTo>
                      <a:lnTo>
                        <a:pt x="491973" y="93251"/>
                      </a:lnTo>
                      <a:lnTo>
                        <a:pt x="494015" y="92953"/>
                      </a:lnTo>
                      <a:lnTo>
                        <a:pt x="496048" y="94315"/>
                      </a:lnTo>
                      <a:lnTo>
                        <a:pt x="497975" y="97900"/>
                      </a:lnTo>
                      <a:lnTo>
                        <a:pt x="497988" y="105155"/>
                      </a:lnTo>
                      <a:lnTo>
                        <a:pt x="493926" y="110742"/>
                      </a:lnTo>
                      <a:lnTo>
                        <a:pt x="481388" y="117429"/>
                      </a:lnTo>
                      <a:lnTo>
                        <a:pt x="480569" y="119294"/>
                      </a:lnTo>
                      <a:lnTo>
                        <a:pt x="479557" y="123298"/>
                      </a:lnTo>
                      <a:lnTo>
                        <a:pt x="479365" y="124780"/>
                      </a:lnTo>
                      <a:lnTo>
                        <a:pt x="479215" y="128538"/>
                      </a:lnTo>
                      <a:lnTo>
                        <a:pt x="478936" y="130401"/>
                      </a:lnTo>
                      <a:lnTo>
                        <a:pt x="478049" y="132660"/>
                      </a:lnTo>
                      <a:lnTo>
                        <a:pt x="476150" y="134789"/>
                      </a:lnTo>
                      <a:lnTo>
                        <a:pt x="475408" y="136385"/>
                      </a:lnTo>
                      <a:lnTo>
                        <a:pt x="474041" y="140061"/>
                      </a:lnTo>
                      <a:lnTo>
                        <a:pt x="469525" y="146081"/>
                      </a:lnTo>
                      <a:lnTo>
                        <a:pt x="468261" y="148993"/>
                      </a:lnTo>
                      <a:lnTo>
                        <a:pt x="467674" y="151850"/>
                      </a:lnTo>
                      <a:lnTo>
                        <a:pt x="467265" y="154475"/>
                      </a:lnTo>
                      <a:lnTo>
                        <a:pt x="466539" y="156868"/>
                      </a:lnTo>
                      <a:lnTo>
                        <a:pt x="462854" y="162230"/>
                      </a:lnTo>
                      <a:lnTo>
                        <a:pt x="458077" y="166027"/>
                      </a:lnTo>
                      <a:lnTo>
                        <a:pt x="432887" y="175153"/>
                      </a:lnTo>
                      <a:lnTo>
                        <a:pt x="428827" y="170679"/>
                      </a:lnTo>
                      <a:lnTo>
                        <a:pt x="424714" y="160270"/>
                      </a:lnTo>
                      <a:lnTo>
                        <a:pt x="423228" y="157810"/>
                      </a:lnTo>
                      <a:lnTo>
                        <a:pt x="398942" y="135866"/>
                      </a:lnTo>
                      <a:lnTo>
                        <a:pt x="389524" y="131986"/>
                      </a:lnTo>
                      <a:lnTo>
                        <a:pt x="385768" y="126375"/>
                      </a:lnTo>
                      <a:lnTo>
                        <a:pt x="385146" y="120691"/>
                      </a:lnTo>
                      <a:lnTo>
                        <a:pt x="389908" y="118051"/>
                      </a:lnTo>
                      <a:lnTo>
                        <a:pt x="401364" y="122389"/>
                      </a:lnTo>
                      <a:lnTo>
                        <a:pt x="403529" y="121257"/>
                      </a:lnTo>
                      <a:lnTo>
                        <a:pt x="407072" y="115435"/>
                      </a:lnTo>
                      <a:lnTo>
                        <a:pt x="409333" y="112811"/>
                      </a:lnTo>
                      <a:lnTo>
                        <a:pt x="402424" y="111690"/>
                      </a:lnTo>
                      <a:lnTo>
                        <a:pt x="398709" y="108642"/>
                      </a:lnTo>
                      <a:lnTo>
                        <a:pt x="397031" y="102609"/>
                      </a:lnTo>
                      <a:lnTo>
                        <a:pt x="398546" y="97272"/>
                      </a:lnTo>
                      <a:lnTo>
                        <a:pt x="402151" y="94039"/>
                      </a:lnTo>
                      <a:lnTo>
                        <a:pt x="408966" y="91817"/>
                      </a:lnTo>
                      <a:lnTo>
                        <a:pt x="415133" y="93860"/>
                      </a:lnTo>
                      <a:lnTo>
                        <a:pt x="416621" y="93116"/>
                      </a:lnTo>
                      <a:lnTo>
                        <a:pt x="418871" y="89983"/>
                      </a:lnTo>
                      <a:lnTo>
                        <a:pt x="420301" y="89253"/>
                      </a:lnTo>
                      <a:lnTo>
                        <a:pt x="421908" y="90290"/>
                      </a:lnTo>
                      <a:lnTo>
                        <a:pt x="422820" y="92664"/>
                      </a:lnTo>
                      <a:lnTo>
                        <a:pt x="423348" y="95071"/>
                      </a:lnTo>
                      <a:lnTo>
                        <a:pt x="423669" y="96245"/>
                      </a:lnTo>
                      <a:lnTo>
                        <a:pt x="425626" y="96376"/>
                      </a:lnTo>
                      <a:lnTo>
                        <a:pt x="430907" y="91409"/>
                      </a:lnTo>
                      <a:lnTo>
                        <a:pt x="428780" y="87572"/>
                      </a:lnTo>
                      <a:lnTo>
                        <a:pt x="426411" y="84540"/>
                      </a:lnTo>
                      <a:lnTo>
                        <a:pt x="424569" y="80781"/>
                      </a:lnTo>
                      <a:lnTo>
                        <a:pt x="424057" y="74802"/>
                      </a:lnTo>
                      <a:lnTo>
                        <a:pt x="426588" y="77017"/>
                      </a:lnTo>
                      <a:lnTo>
                        <a:pt x="428578" y="77595"/>
                      </a:lnTo>
                      <a:lnTo>
                        <a:pt x="430521" y="76771"/>
                      </a:lnTo>
                      <a:close/>
                      <a:moveTo>
                        <a:pt x="383442" y="62610"/>
                      </a:moveTo>
                      <a:lnTo>
                        <a:pt x="387266" y="63962"/>
                      </a:lnTo>
                      <a:lnTo>
                        <a:pt x="390567" y="67358"/>
                      </a:lnTo>
                      <a:lnTo>
                        <a:pt x="392367" y="73474"/>
                      </a:lnTo>
                      <a:lnTo>
                        <a:pt x="392858" y="79876"/>
                      </a:lnTo>
                      <a:lnTo>
                        <a:pt x="393766" y="82055"/>
                      </a:lnTo>
                      <a:lnTo>
                        <a:pt x="395141" y="80277"/>
                      </a:lnTo>
                      <a:lnTo>
                        <a:pt x="396284" y="77236"/>
                      </a:lnTo>
                      <a:lnTo>
                        <a:pt x="403331" y="65726"/>
                      </a:lnTo>
                      <a:lnTo>
                        <a:pt x="405406" y="65945"/>
                      </a:lnTo>
                      <a:lnTo>
                        <a:pt x="407017" y="68687"/>
                      </a:lnTo>
                      <a:lnTo>
                        <a:pt x="412804" y="73112"/>
                      </a:lnTo>
                      <a:lnTo>
                        <a:pt x="413638" y="76779"/>
                      </a:lnTo>
                      <a:lnTo>
                        <a:pt x="411827" y="80171"/>
                      </a:lnTo>
                      <a:lnTo>
                        <a:pt x="409297" y="83842"/>
                      </a:lnTo>
                      <a:lnTo>
                        <a:pt x="406124" y="86608"/>
                      </a:lnTo>
                      <a:lnTo>
                        <a:pt x="397445" y="89222"/>
                      </a:lnTo>
                      <a:lnTo>
                        <a:pt x="389090" y="95981"/>
                      </a:lnTo>
                      <a:lnTo>
                        <a:pt x="385065" y="102687"/>
                      </a:lnTo>
                      <a:lnTo>
                        <a:pt x="383741" y="105897"/>
                      </a:lnTo>
                      <a:lnTo>
                        <a:pt x="383093" y="106438"/>
                      </a:lnTo>
                      <a:lnTo>
                        <a:pt x="382460" y="107348"/>
                      </a:lnTo>
                      <a:lnTo>
                        <a:pt x="381746" y="108003"/>
                      </a:lnTo>
                      <a:lnTo>
                        <a:pt x="380090" y="106802"/>
                      </a:lnTo>
                      <a:lnTo>
                        <a:pt x="377940" y="103107"/>
                      </a:lnTo>
                      <a:lnTo>
                        <a:pt x="377918" y="98566"/>
                      </a:lnTo>
                      <a:lnTo>
                        <a:pt x="379894" y="95083"/>
                      </a:lnTo>
                      <a:lnTo>
                        <a:pt x="380163" y="93604"/>
                      </a:lnTo>
                      <a:lnTo>
                        <a:pt x="377415" y="93247"/>
                      </a:lnTo>
                      <a:lnTo>
                        <a:pt x="376609" y="91175"/>
                      </a:lnTo>
                      <a:lnTo>
                        <a:pt x="376196" y="86094"/>
                      </a:lnTo>
                      <a:lnTo>
                        <a:pt x="378257" y="80557"/>
                      </a:lnTo>
                      <a:lnTo>
                        <a:pt x="381349" y="76271"/>
                      </a:lnTo>
                      <a:lnTo>
                        <a:pt x="382544" y="73839"/>
                      </a:lnTo>
                      <a:lnTo>
                        <a:pt x="382041" y="72833"/>
                      </a:lnTo>
                      <a:lnTo>
                        <a:pt x="382233" y="70090"/>
                      </a:lnTo>
                      <a:lnTo>
                        <a:pt x="381448" y="67389"/>
                      </a:lnTo>
                      <a:lnTo>
                        <a:pt x="381232" y="64243"/>
                      </a:lnTo>
                      <a:close/>
                      <a:moveTo>
                        <a:pt x="463867" y="45169"/>
                      </a:moveTo>
                      <a:lnTo>
                        <a:pt x="468466" y="47345"/>
                      </a:lnTo>
                      <a:lnTo>
                        <a:pt x="481185" y="58934"/>
                      </a:lnTo>
                      <a:lnTo>
                        <a:pt x="483763" y="62041"/>
                      </a:lnTo>
                      <a:lnTo>
                        <a:pt x="483365" y="65623"/>
                      </a:lnTo>
                      <a:lnTo>
                        <a:pt x="481222" y="67917"/>
                      </a:lnTo>
                      <a:lnTo>
                        <a:pt x="479872" y="68375"/>
                      </a:lnTo>
                      <a:lnTo>
                        <a:pt x="474193" y="68440"/>
                      </a:lnTo>
                      <a:lnTo>
                        <a:pt x="465473" y="65106"/>
                      </a:lnTo>
                      <a:lnTo>
                        <a:pt x="458488" y="62211"/>
                      </a:lnTo>
                      <a:lnTo>
                        <a:pt x="456614" y="60429"/>
                      </a:lnTo>
                      <a:lnTo>
                        <a:pt x="455577" y="57164"/>
                      </a:lnTo>
                      <a:lnTo>
                        <a:pt x="456136" y="52947"/>
                      </a:lnTo>
                      <a:lnTo>
                        <a:pt x="459068" y="47998"/>
                      </a:lnTo>
                      <a:close/>
                      <a:moveTo>
                        <a:pt x="631208" y="42976"/>
                      </a:moveTo>
                      <a:lnTo>
                        <a:pt x="634262" y="44912"/>
                      </a:lnTo>
                      <a:lnTo>
                        <a:pt x="641694" y="57359"/>
                      </a:lnTo>
                      <a:lnTo>
                        <a:pt x="641954" y="61623"/>
                      </a:lnTo>
                      <a:lnTo>
                        <a:pt x="639755" y="67247"/>
                      </a:lnTo>
                      <a:lnTo>
                        <a:pt x="636099" y="71079"/>
                      </a:lnTo>
                      <a:lnTo>
                        <a:pt x="631773" y="69879"/>
                      </a:lnTo>
                      <a:lnTo>
                        <a:pt x="629596" y="67394"/>
                      </a:lnTo>
                      <a:lnTo>
                        <a:pt x="628292" y="63036"/>
                      </a:lnTo>
                      <a:lnTo>
                        <a:pt x="627177" y="54195"/>
                      </a:lnTo>
                      <a:lnTo>
                        <a:pt x="628519" y="46606"/>
                      </a:lnTo>
                      <a:close/>
                      <a:moveTo>
                        <a:pt x="677017" y="15295"/>
                      </a:moveTo>
                      <a:lnTo>
                        <a:pt x="712202" y="26909"/>
                      </a:lnTo>
                      <a:lnTo>
                        <a:pt x="719136" y="25159"/>
                      </a:lnTo>
                      <a:lnTo>
                        <a:pt x="722608" y="25514"/>
                      </a:lnTo>
                      <a:lnTo>
                        <a:pt x="726359" y="27524"/>
                      </a:lnTo>
                      <a:lnTo>
                        <a:pt x="738845" y="41386"/>
                      </a:lnTo>
                      <a:lnTo>
                        <a:pt x="752928" y="52321"/>
                      </a:lnTo>
                      <a:lnTo>
                        <a:pt x="754665" y="52872"/>
                      </a:lnTo>
                      <a:lnTo>
                        <a:pt x="758424" y="50378"/>
                      </a:lnTo>
                      <a:lnTo>
                        <a:pt x="761045" y="47702"/>
                      </a:lnTo>
                      <a:lnTo>
                        <a:pt x="761160" y="46408"/>
                      </a:lnTo>
                      <a:lnTo>
                        <a:pt x="760604" y="45192"/>
                      </a:lnTo>
                      <a:lnTo>
                        <a:pt x="760818" y="43729"/>
                      </a:lnTo>
                      <a:lnTo>
                        <a:pt x="761898" y="42103"/>
                      </a:lnTo>
                      <a:lnTo>
                        <a:pt x="764241" y="39623"/>
                      </a:lnTo>
                      <a:lnTo>
                        <a:pt x="765616" y="38603"/>
                      </a:lnTo>
                      <a:lnTo>
                        <a:pt x="766596" y="38224"/>
                      </a:lnTo>
                      <a:lnTo>
                        <a:pt x="772514" y="38915"/>
                      </a:lnTo>
                      <a:lnTo>
                        <a:pt x="773959" y="38140"/>
                      </a:lnTo>
                      <a:lnTo>
                        <a:pt x="777538" y="33515"/>
                      </a:lnTo>
                      <a:lnTo>
                        <a:pt x="779512" y="31950"/>
                      </a:lnTo>
                      <a:lnTo>
                        <a:pt x="781269" y="31752"/>
                      </a:lnTo>
                      <a:lnTo>
                        <a:pt x="783506" y="34418"/>
                      </a:lnTo>
                      <a:lnTo>
                        <a:pt x="785420" y="38025"/>
                      </a:lnTo>
                      <a:lnTo>
                        <a:pt x="787160" y="43543"/>
                      </a:lnTo>
                      <a:lnTo>
                        <a:pt x="789162" y="48863"/>
                      </a:lnTo>
                      <a:lnTo>
                        <a:pt x="792001" y="54500"/>
                      </a:lnTo>
                      <a:lnTo>
                        <a:pt x="798366" y="69911"/>
                      </a:lnTo>
                      <a:lnTo>
                        <a:pt x="799162" y="75662"/>
                      </a:lnTo>
                      <a:lnTo>
                        <a:pt x="799167" y="77533"/>
                      </a:lnTo>
                      <a:lnTo>
                        <a:pt x="799457" y="79282"/>
                      </a:lnTo>
                      <a:lnTo>
                        <a:pt x="800301" y="81318"/>
                      </a:lnTo>
                      <a:lnTo>
                        <a:pt x="807615" y="94619"/>
                      </a:lnTo>
                      <a:lnTo>
                        <a:pt x="809570" y="98953"/>
                      </a:lnTo>
                      <a:lnTo>
                        <a:pt x="810975" y="101287"/>
                      </a:lnTo>
                      <a:lnTo>
                        <a:pt x="812995" y="102934"/>
                      </a:lnTo>
                      <a:lnTo>
                        <a:pt x="830752" y="109403"/>
                      </a:lnTo>
                      <a:lnTo>
                        <a:pt x="837570" y="109586"/>
                      </a:lnTo>
                      <a:lnTo>
                        <a:pt x="839788" y="111048"/>
                      </a:lnTo>
                      <a:lnTo>
                        <a:pt x="840882" y="113509"/>
                      </a:lnTo>
                      <a:lnTo>
                        <a:pt x="840494" y="117360"/>
                      </a:lnTo>
                      <a:lnTo>
                        <a:pt x="839268" y="121881"/>
                      </a:lnTo>
                      <a:lnTo>
                        <a:pt x="838570" y="125587"/>
                      </a:lnTo>
                      <a:lnTo>
                        <a:pt x="838901" y="128480"/>
                      </a:lnTo>
                      <a:lnTo>
                        <a:pt x="841075" y="130984"/>
                      </a:lnTo>
                      <a:lnTo>
                        <a:pt x="843399" y="132940"/>
                      </a:lnTo>
                      <a:lnTo>
                        <a:pt x="844964" y="135203"/>
                      </a:lnTo>
                      <a:lnTo>
                        <a:pt x="845025" y="137205"/>
                      </a:lnTo>
                      <a:lnTo>
                        <a:pt x="844188" y="139578"/>
                      </a:lnTo>
                      <a:lnTo>
                        <a:pt x="840277" y="147230"/>
                      </a:lnTo>
                      <a:lnTo>
                        <a:pt x="839544" y="149558"/>
                      </a:lnTo>
                      <a:lnTo>
                        <a:pt x="839208" y="151732"/>
                      </a:lnTo>
                      <a:lnTo>
                        <a:pt x="839944" y="154809"/>
                      </a:lnTo>
                      <a:lnTo>
                        <a:pt x="841813" y="158600"/>
                      </a:lnTo>
                      <a:lnTo>
                        <a:pt x="846395" y="165372"/>
                      </a:lnTo>
                      <a:lnTo>
                        <a:pt x="849050" y="171079"/>
                      </a:lnTo>
                      <a:lnTo>
                        <a:pt x="852284" y="179859"/>
                      </a:lnTo>
                      <a:lnTo>
                        <a:pt x="853915" y="183246"/>
                      </a:lnTo>
                      <a:lnTo>
                        <a:pt x="858706" y="189843"/>
                      </a:lnTo>
                      <a:lnTo>
                        <a:pt x="865945" y="195302"/>
                      </a:lnTo>
                      <a:lnTo>
                        <a:pt x="874676" y="199159"/>
                      </a:lnTo>
                      <a:lnTo>
                        <a:pt x="883372" y="197557"/>
                      </a:lnTo>
                      <a:lnTo>
                        <a:pt x="886102" y="198224"/>
                      </a:lnTo>
                      <a:lnTo>
                        <a:pt x="889865" y="200429"/>
                      </a:lnTo>
                      <a:lnTo>
                        <a:pt x="891436" y="201772"/>
                      </a:lnTo>
                      <a:lnTo>
                        <a:pt x="892256" y="203084"/>
                      </a:lnTo>
                      <a:lnTo>
                        <a:pt x="892330" y="204654"/>
                      </a:lnTo>
                      <a:lnTo>
                        <a:pt x="890937" y="207528"/>
                      </a:lnTo>
                      <a:lnTo>
                        <a:pt x="883425" y="218698"/>
                      </a:lnTo>
                      <a:lnTo>
                        <a:pt x="881483" y="222827"/>
                      </a:lnTo>
                      <a:lnTo>
                        <a:pt x="880621" y="226568"/>
                      </a:lnTo>
                      <a:lnTo>
                        <a:pt x="880509" y="229121"/>
                      </a:lnTo>
                      <a:lnTo>
                        <a:pt x="879680" y="232365"/>
                      </a:lnTo>
                      <a:lnTo>
                        <a:pt x="878365" y="235182"/>
                      </a:lnTo>
                      <a:lnTo>
                        <a:pt x="876086" y="238497"/>
                      </a:lnTo>
                      <a:lnTo>
                        <a:pt x="875686" y="240543"/>
                      </a:lnTo>
                      <a:lnTo>
                        <a:pt x="876107" y="242525"/>
                      </a:lnTo>
                      <a:lnTo>
                        <a:pt x="876799" y="244351"/>
                      </a:lnTo>
                      <a:lnTo>
                        <a:pt x="877177" y="246003"/>
                      </a:lnTo>
                      <a:lnTo>
                        <a:pt x="876660" y="247548"/>
                      </a:lnTo>
                      <a:lnTo>
                        <a:pt x="875198" y="248578"/>
                      </a:lnTo>
                      <a:lnTo>
                        <a:pt x="855771" y="251111"/>
                      </a:lnTo>
                      <a:lnTo>
                        <a:pt x="826504" y="264509"/>
                      </a:lnTo>
                      <a:lnTo>
                        <a:pt x="825248" y="265888"/>
                      </a:lnTo>
                      <a:lnTo>
                        <a:pt x="824789" y="267710"/>
                      </a:lnTo>
                      <a:lnTo>
                        <a:pt x="825139" y="273040"/>
                      </a:lnTo>
                      <a:lnTo>
                        <a:pt x="825741" y="277936"/>
                      </a:lnTo>
                      <a:lnTo>
                        <a:pt x="826923" y="284726"/>
                      </a:lnTo>
                      <a:lnTo>
                        <a:pt x="828092" y="289600"/>
                      </a:lnTo>
                      <a:lnTo>
                        <a:pt x="829468" y="293154"/>
                      </a:lnTo>
                      <a:lnTo>
                        <a:pt x="834340" y="300439"/>
                      </a:lnTo>
                      <a:lnTo>
                        <a:pt x="838766" y="305335"/>
                      </a:lnTo>
                      <a:lnTo>
                        <a:pt x="845133" y="314538"/>
                      </a:lnTo>
                      <a:lnTo>
                        <a:pt x="857355" y="335725"/>
                      </a:lnTo>
                      <a:lnTo>
                        <a:pt x="860028" y="341685"/>
                      </a:lnTo>
                      <a:lnTo>
                        <a:pt x="862026" y="347337"/>
                      </a:lnTo>
                      <a:lnTo>
                        <a:pt x="863128" y="352484"/>
                      </a:lnTo>
                      <a:lnTo>
                        <a:pt x="863445" y="357105"/>
                      </a:lnTo>
                      <a:lnTo>
                        <a:pt x="863437" y="361968"/>
                      </a:lnTo>
                      <a:lnTo>
                        <a:pt x="863297" y="365865"/>
                      </a:lnTo>
                      <a:lnTo>
                        <a:pt x="863283" y="371167"/>
                      </a:lnTo>
                      <a:lnTo>
                        <a:pt x="862901" y="374678"/>
                      </a:lnTo>
                      <a:lnTo>
                        <a:pt x="861187" y="382392"/>
                      </a:lnTo>
                      <a:lnTo>
                        <a:pt x="859528" y="386276"/>
                      </a:lnTo>
                      <a:lnTo>
                        <a:pt x="856974" y="389520"/>
                      </a:lnTo>
                      <a:lnTo>
                        <a:pt x="847237" y="397248"/>
                      </a:lnTo>
                      <a:lnTo>
                        <a:pt x="789737" y="408678"/>
                      </a:lnTo>
                      <a:lnTo>
                        <a:pt x="786886" y="409712"/>
                      </a:lnTo>
                      <a:lnTo>
                        <a:pt x="786851" y="409725"/>
                      </a:lnTo>
                      <a:lnTo>
                        <a:pt x="747704" y="343802"/>
                      </a:lnTo>
                      <a:lnTo>
                        <a:pt x="744586" y="341165"/>
                      </a:lnTo>
                      <a:lnTo>
                        <a:pt x="704429" y="336540"/>
                      </a:lnTo>
                      <a:lnTo>
                        <a:pt x="679078" y="355861"/>
                      </a:lnTo>
                      <a:lnTo>
                        <a:pt x="676955" y="359206"/>
                      </a:lnTo>
                      <a:lnTo>
                        <a:pt x="675189" y="364552"/>
                      </a:lnTo>
                      <a:lnTo>
                        <a:pt x="672176" y="376379"/>
                      </a:lnTo>
                      <a:lnTo>
                        <a:pt x="688983" y="407895"/>
                      </a:lnTo>
                      <a:lnTo>
                        <a:pt x="682702" y="423382"/>
                      </a:lnTo>
                      <a:lnTo>
                        <a:pt x="679433" y="426018"/>
                      </a:lnTo>
                      <a:lnTo>
                        <a:pt x="674539" y="424765"/>
                      </a:lnTo>
                      <a:lnTo>
                        <a:pt x="637894" y="404615"/>
                      </a:lnTo>
                      <a:lnTo>
                        <a:pt x="634555" y="406700"/>
                      </a:lnTo>
                      <a:lnTo>
                        <a:pt x="623999" y="428763"/>
                      </a:lnTo>
                      <a:lnTo>
                        <a:pt x="591883" y="432565"/>
                      </a:lnTo>
                      <a:lnTo>
                        <a:pt x="559742" y="436235"/>
                      </a:lnTo>
                      <a:lnTo>
                        <a:pt x="590865" y="473824"/>
                      </a:lnTo>
                      <a:lnTo>
                        <a:pt x="592052" y="479637"/>
                      </a:lnTo>
                      <a:lnTo>
                        <a:pt x="594252" y="510164"/>
                      </a:lnTo>
                      <a:lnTo>
                        <a:pt x="593973" y="516716"/>
                      </a:lnTo>
                      <a:lnTo>
                        <a:pt x="592585" y="523760"/>
                      </a:lnTo>
                      <a:lnTo>
                        <a:pt x="581198" y="560996"/>
                      </a:lnTo>
                      <a:lnTo>
                        <a:pt x="571190" y="579434"/>
                      </a:lnTo>
                      <a:lnTo>
                        <a:pt x="548053" y="602936"/>
                      </a:lnTo>
                      <a:lnTo>
                        <a:pt x="584787" y="623695"/>
                      </a:lnTo>
                      <a:lnTo>
                        <a:pt x="556259" y="663967"/>
                      </a:lnTo>
                      <a:lnTo>
                        <a:pt x="551427" y="668492"/>
                      </a:lnTo>
                      <a:lnTo>
                        <a:pt x="546311" y="669036"/>
                      </a:lnTo>
                      <a:lnTo>
                        <a:pt x="488325" y="645206"/>
                      </a:lnTo>
                      <a:lnTo>
                        <a:pt x="431368" y="618268"/>
                      </a:lnTo>
                      <a:lnTo>
                        <a:pt x="388590" y="622419"/>
                      </a:lnTo>
                      <a:lnTo>
                        <a:pt x="381501" y="620564"/>
                      </a:lnTo>
                      <a:lnTo>
                        <a:pt x="360652" y="599812"/>
                      </a:lnTo>
                      <a:lnTo>
                        <a:pt x="354850" y="595759"/>
                      </a:lnTo>
                      <a:lnTo>
                        <a:pt x="323707" y="608227"/>
                      </a:lnTo>
                      <a:lnTo>
                        <a:pt x="323624" y="608083"/>
                      </a:lnTo>
                      <a:lnTo>
                        <a:pt x="322621" y="606366"/>
                      </a:lnTo>
                      <a:lnTo>
                        <a:pt x="304306" y="580248"/>
                      </a:lnTo>
                      <a:lnTo>
                        <a:pt x="277371" y="582716"/>
                      </a:lnTo>
                      <a:lnTo>
                        <a:pt x="245174" y="584229"/>
                      </a:lnTo>
                      <a:lnTo>
                        <a:pt x="220104" y="595065"/>
                      </a:lnTo>
                      <a:lnTo>
                        <a:pt x="158713" y="597664"/>
                      </a:lnTo>
                      <a:lnTo>
                        <a:pt x="140370" y="612853"/>
                      </a:lnTo>
                      <a:lnTo>
                        <a:pt x="131092" y="617648"/>
                      </a:lnTo>
                      <a:lnTo>
                        <a:pt x="122895" y="616381"/>
                      </a:lnTo>
                      <a:lnTo>
                        <a:pt x="120858" y="614159"/>
                      </a:lnTo>
                      <a:lnTo>
                        <a:pt x="120205" y="611538"/>
                      </a:lnTo>
                      <a:lnTo>
                        <a:pt x="119895" y="608478"/>
                      </a:lnTo>
                      <a:lnTo>
                        <a:pt x="120080" y="608047"/>
                      </a:lnTo>
                      <a:lnTo>
                        <a:pt x="123017" y="610047"/>
                      </a:lnTo>
                      <a:lnTo>
                        <a:pt x="125172" y="608486"/>
                      </a:lnTo>
                      <a:lnTo>
                        <a:pt x="126650" y="604098"/>
                      </a:lnTo>
                      <a:lnTo>
                        <a:pt x="126197" y="602515"/>
                      </a:lnTo>
                      <a:lnTo>
                        <a:pt x="124502" y="601806"/>
                      </a:lnTo>
                      <a:lnTo>
                        <a:pt x="122281" y="600159"/>
                      </a:lnTo>
                      <a:lnTo>
                        <a:pt x="120603" y="598142"/>
                      </a:lnTo>
                      <a:lnTo>
                        <a:pt x="119371" y="596020"/>
                      </a:lnTo>
                      <a:lnTo>
                        <a:pt x="118569" y="593037"/>
                      </a:lnTo>
                      <a:lnTo>
                        <a:pt x="118206" y="588291"/>
                      </a:lnTo>
                      <a:lnTo>
                        <a:pt x="119495" y="581200"/>
                      </a:lnTo>
                      <a:lnTo>
                        <a:pt x="122800" y="575247"/>
                      </a:lnTo>
                      <a:lnTo>
                        <a:pt x="126945" y="571139"/>
                      </a:lnTo>
                      <a:lnTo>
                        <a:pt x="135533" y="568236"/>
                      </a:lnTo>
                      <a:lnTo>
                        <a:pt x="149928" y="557971"/>
                      </a:lnTo>
                      <a:lnTo>
                        <a:pt x="164485" y="553953"/>
                      </a:lnTo>
                      <a:lnTo>
                        <a:pt x="169023" y="550125"/>
                      </a:lnTo>
                      <a:lnTo>
                        <a:pt x="173089" y="549001"/>
                      </a:lnTo>
                      <a:lnTo>
                        <a:pt x="176406" y="553926"/>
                      </a:lnTo>
                      <a:lnTo>
                        <a:pt x="179515" y="560224"/>
                      </a:lnTo>
                      <a:lnTo>
                        <a:pt x="183949" y="564330"/>
                      </a:lnTo>
                      <a:lnTo>
                        <a:pt x="184106" y="566483"/>
                      </a:lnTo>
                      <a:lnTo>
                        <a:pt x="184005" y="568873"/>
                      </a:lnTo>
                      <a:lnTo>
                        <a:pt x="184199" y="570492"/>
                      </a:lnTo>
                      <a:lnTo>
                        <a:pt x="185007" y="571472"/>
                      </a:lnTo>
                      <a:lnTo>
                        <a:pt x="189962" y="574851"/>
                      </a:lnTo>
                      <a:lnTo>
                        <a:pt x="192356" y="575384"/>
                      </a:lnTo>
                      <a:lnTo>
                        <a:pt x="194763" y="574821"/>
                      </a:lnTo>
                      <a:lnTo>
                        <a:pt x="197150" y="573215"/>
                      </a:lnTo>
                      <a:lnTo>
                        <a:pt x="196343" y="570139"/>
                      </a:lnTo>
                      <a:lnTo>
                        <a:pt x="195109" y="568679"/>
                      </a:lnTo>
                      <a:lnTo>
                        <a:pt x="191977" y="568222"/>
                      </a:lnTo>
                      <a:lnTo>
                        <a:pt x="190418" y="567445"/>
                      </a:lnTo>
                      <a:lnTo>
                        <a:pt x="188663" y="564205"/>
                      </a:lnTo>
                      <a:lnTo>
                        <a:pt x="187300" y="563442"/>
                      </a:lnTo>
                      <a:lnTo>
                        <a:pt x="186430" y="562462"/>
                      </a:lnTo>
                      <a:lnTo>
                        <a:pt x="186049" y="560150"/>
                      </a:lnTo>
                      <a:lnTo>
                        <a:pt x="186104" y="557395"/>
                      </a:lnTo>
                      <a:lnTo>
                        <a:pt x="186541" y="555165"/>
                      </a:lnTo>
                      <a:lnTo>
                        <a:pt x="187570" y="552997"/>
                      </a:lnTo>
                      <a:lnTo>
                        <a:pt x="188397" y="552276"/>
                      </a:lnTo>
                      <a:lnTo>
                        <a:pt x="199795" y="548143"/>
                      </a:lnTo>
                      <a:lnTo>
                        <a:pt x="205461" y="543855"/>
                      </a:lnTo>
                      <a:lnTo>
                        <a:pt x="208043" y="545187"/>
                      </a:lnTo>
                      <a:lnTo>
                        <a:pt x="212930" y="549547"/>
                      </a:lnTo>
                      <a:lnTo>
                        <a:pt x="215572" y="549135"/>
                      </a:lnTo>
                      <a:lnTo>
                        <a:pt x="218097" y="547932"/>
                      </a:lnTo>
                      <a:lnTo>
                        <a:pt x="220516" y="548416"/>
                      </a:lnTo>
                      <a:lnTo>
                        <a:pt x="224629" y="557629"/>
                      </a:lnTo>
                      <a:lnTo>
                        <a:pt x="226859" y="560695"/>
                      </a:lnTo>
                      <a:lnTo>
                        <a:pt x="229252" y="562694"/>
                      </a:lnTo>
                      <a:lnTo>
                        <a:pt x="231703" y="563849"/>
                      </a:lnTo>
                      <a:lnTo>
                        <a:pt x="235460" y="564210"/>
                      </a:lnTo>
                      <a:lnTo>
                        <a:pt x="246373" y="561356"/>
                      </a:lnTo>
                      <a:lnTo>
                        <a:pt x="256286" y="567216"/>
                      </a:lnTo>
                      <a:lnTo>
                        <a:pt x="259282" y="566128"/>
                      </a:lnTo>
                      <a:lnTo>
                        <a:pt x="251912" y="558890"/>
                      </a:lnTo>
                      <a:lnTo>
                        <a:pt x="236063" y="555706"/>
                      </a:lnTo>
                      <a:lnTo>
                        <a:pt x="230186" y="547122"/>
                      </a:lnTo>
                      <a:lnTo>
                        <a:pt x="228034" y="541988"/>
                      </a:lnTo>
                      <a:lnTo>
                        <a:pt x="224742" y="536932"/>
                      </a:lnTo>
                      <a:lnTo>
                        <a:pt x="221062" y="534879"/>
                      </a:lnTo>
                      <a:lnTo>
                        <a:pt x="217744" y="538763"/>
                      </a:lnTo>
                      <a:lnTo>
                        <a:pt x="214699" y="541294"/>
                      </a:lnTo>
                      <a:lnTo>
                        <a:pt x="210538" y="539544"/>
                      </a:lnTo>
                      <a:lnTo>
                        <a:pt x="203591" y="532742"/>
                      </a:lnTo>
                      <a:lnTo>
                        <a:pt x="207212" y="528572"/>
                      </a:lnTo>
                      <a:lnTo>
                        <a:pt x="216078" y="522129"/>
                      </a:lnTo>
                      <a:lnTo>
                        <a:pt x="223897" y="518956"/>
                      </a:lnTo>
                      <a:lnTo>
                        <a:pt x="227958" y="514906"/>
                      </a:lnTo>
                      <a:lnTo>
                        <a:pt x="232127" y="512474"/>
                      </a:lnTo>
                      <a:lnTo>
                        <a:pt x="245067" y="521741"/>
                      </a:lnTo>
                      <a:lnTo>
                        <a:pt x="264701" y="525365"/>
                      </a:lnTo>
                      <a:lnTo>
                        <a:pt x="272363" y="535700"/>
                      </a:lnTo>
                      <a:lnTo>
                        <a:pt x="272366" y="525492"/>
                      </a:lnTo>
                      <a:lnTo>
                        <a:pt x="266912" y="520928"/>
                      </a:lnTo>
                      <a:lnTo>
                        <a:pt x="255153" y="518914"/>
                      </a:lnTo>
                      <a:lnTo>
                        <a:pt x="232996" y="507009"/>
                      </a:lnTo>
                      <a:lnTo>
                        <a:pt x="242776" y="501554"/>
                      </a:lnTo>
                      <a:lnTo>
                        <a:pt x="250745" y="493181"/>
                      </a:lnTo>
                      <a:lnTo>
                        <a:pt x="253361" y="491322"/>
                      </a:lnTo>
                      <a:lnTo>
                        <a:pt x="257689" y="489747"/>
                      </a:lnTo>
                      <a:lnTo>
                        <a:pt x="261361" y="486214"/>
                      </a:lnTo>
                      <a:lnTo>
                        <a:pt x="263006" y="485699"/>
                      </a:lnTo>
                      <a:lnTo>
                        <a:pt x="264362" y="486546"/>
                      </a:lnTo>
                      <a:lnTo>
                        <a:pt x="267245" y="490643"/>
                      </a:lnTo>
                      <a:lnTo>
                        <a:pt x="270640" y="493124"/>
                      </a:lnTo>
                      <a:lnTo>
                        <a:pt x="274049" y="494394"/>
                      </a:lnTo>
                      <a:lnTo>
                        <a:pt x="277481" y="494339"/>
                      </a:lnTo>
                      <a:lnTo>
                        <a:pt x="280943" y="492808"/>
                      </a:lnTo>
                      <a:lnTo>
                        <a:pt x="277780" y="485552"/>
                      </a:lnTo>
                      <a:lnTo>
                        <a:pt x="263023" y="478613"/>
                      </a:lnTo>
                      <a:lnTo>
                        <a:pt x="263564" y="476885"/>
                      </a:lnTo>
                      <a:lnTo>
                        <a:pt x="264731" y="471544"/>
                      </a:lnTo>
                      <a:lnTo>
                        <a:pt x="239890" y="477497"/>
                      </a:lnTo>
                      <a:lnTo>
                        <a:pt x="231920" y="483297"/>
                      </a:lnTo>
                      <a:lnTo>
                        <a:pt x="227976" y="483384"/>
                      </a:lnTo>
                      <a:lnTo>
                        <a:pt x="229286" y="478585"/>
                      </a:lnTo>
                      <a:lnTo>
                        <a:pt x="234760" y="466725"/>
                      </a:lnTo>
                      <a:lnTo>
                        <a:pt x="236685" y="464345"/>
                      </a:lnTo>
                      <a:lnTo>
                        <a:pt x="240265" y="464268"/>
                      </a:lnTo>
                      <a:lnTo>
                        <a:pt x="241490" y="462263"/>
                      </a:lnTo>
                      <a:lnTo>
                        <a:pt x="241799" y="457316"/>
                      </a:lnTo>
                      <a:lnTo>
                        <a:pt x="241133" y="453264"/>
                      </a:lnTo>
                      <a:lnTo>
                        <a:pt x="239747" y="452020"/>
                      </a:lnTo>
                      <a:lnTo>
                        <a:pt x="235907" y="452560"/>
                      </a:lnTo>
                      <a:lnTo>
                        <a:pt x="235921" y="450198"/>
                      </a:lnTo>
                      <a:lnTo>
                        <a:pt x="244804" y="437790"/>
                      </a:lnTo>
                      <a:lnTo>
                        <a:pt x="250267" y="427831"/>
                      </a:lnTo>
                      <a:lnTo>
                        <a:pt x="256939" y="421811"/>
                      </a:lnTo>
                      <a:lnTo>
                        <a:pt x="259719" y="417067"/>
                      </a:lnTo>
                      <a:lnTo>
                        <a:pt x="258296" y="415628"/>
                      </a:lnTo>
                      <a:lnTo>
                        <a:pt x="255337" y="413974"/>
                      </a:lnTo>
                      <a:lnTo>
                        <a:pt x="253837" y="412324"/>
                      </a:lnTo>
                      <a:lnTo>
                        <a:pt x="257214" y="408413"/>
                      </a:lnTo>
                      <a:lnTo>
                        <a:pt x="283133" y="406921"/>
                      </a:lnTo>
                      <a:lnTo>
                        <a:pt x="294199" y="397520"/>
                      </a:lnTo>
                      <a:lnTo>
                        <a:pt x="302242" y="395028"/>
                      </a:lnTo>
                      <a:lnTo>
                        <a:pt x="318027" y="395561"/>
                      </a:lnTo>
                      <a:lnTo>
                        <a:pt x="309259" y="390354"/>
                      </a:lnTo>
                      <a:lnTo>
                        <a:pt x="307988" y="387448"/>
                      </a:lnTo>
                      <a:lnTo>
                        <a:pt x="308234" y="380586"/>
                      </a:lnTo>
                      <a:lnTo>
                        <a:pt x="309002" y="377267"/>
                      </a:lnTo>
                      <a:lnTo>
                        <a:pt x="310312" y="374577"/>
                      </a:lnTo>
                      <a:lnTo>
                        <a:pt x="312122" y="369635"/>
                      </a:lnTo>
                      <a:lnTo>
                        <a:pt x="308666" y="366864"/>
                      </a:lnTo>
                      <a:lnTo>
                        <a:pt x="301205" y="369628"/>
                      </a:lnTo>
                      <a:lnTo>
                        <a:pt x="297795" y="367540"/>
                      </a:lnTo>
                      <a:lnTo>
                        <a:pt x="299690" y="362391"/>
                      </a:lnTo>
                      <a:lnTo>
                        <a:pt x="299542" y="350105"/>
                      </a:lnTo>
                      <a:lnTo>
                        <a:pt x="301080" y="343733"/>
                      </a:lnTo>
                      <a:lnTo>
                        <a:pt x="304689" y="339127"/>
                      </a:lnTo>
                      <a:lnTo>
                        <a:pt x="312873" y="333560"/>
                      </a:lnTo>
                      <a:lnTo>
                        <a:pt x="316034" y="326968"/>
                      </a:lnTo>
                      <a:lnTo>
                        <a:pt x="315015" y="321166"/>
                      </a:lnTo>
                      <a:lnTo>
                        <a:pt x="316642" y="316773"/>
                      </a:lnTo>
                      <a:lnTo>
                        <a:pt x="319220" y="312712"/>
                      </a:lnTo>
                      <a:lnTo>
                        <a:pt x="321019" y="307853"/>
                      </a:lnTo>
                      <a:lnTo>
                        <a:pt x="320397" y="306338"/>
                      </a:lnTo>
                      <a:lnTo>
                        <a:pt x="319822" y="304233"/>
                      </a:lnTo>
                      <a:lnTo>
                        <a:pt x="319253" y="303350"/>
                      </a:lnTo>
                      <a:lnTo>
                        <a:pt x="319845" y="298919"/>
                      </a:lnTo>
                      <a:lnTo>
                        <a:pt x="319074" y="297122"/>
                      </a:lnTo>
                      <a:lnTo>
                        <a:pt x="317971" y="296060"/>
                      </a:lnTo>
                      <a:lnTo>
                        <a:pt x="317545" y="293925"/>
                      </a:lnTo>
                      <a:lnTo>
                        <a:pt x="317856" y="290663"/>
                      </a:lnTo>
                      <a:lnTo>
                        <a:pt x="318268" y="289957"/>
                      </a:lnTo>
                      <a:lnTo>
                        <a:pt x="319127" y="289771"/>
                      </a:lnTo>
                      <a:lnTo>
                        <a:pt x="322508" y="286549"/>
                      </a:lnTo>
                      <a:lnTo>
                        <a:pt x="328342" y="284225"/>
                      </a:lnTo>
                      <a:lnTo>
                        <a:pt x="329282" y="282968"/>
                      </a:lnTo>
                      <a:lnTo>
                        <a:pt x="330012" y="281403"/>
                      </a:lnTo>
                      <a:lnTo>
                        <a:pt x="330941" y="280047"/>
                      </a:lnTo>
                      <a:lnTo>
                        <a:pt x="332458" y="279489"/>
                      </a:lnTo>
                      <a:lnTo>
                        <a:pt x="335504" y="280481"/>
                      </a:lnTo>
                      <a:lnTo>
                        <a:pt x="338140" y="283160"/>
                      </a:lnTo>
                      <a:lnTo>
                        <a:pt x="340471" y="287036"/>
                      </a:lnTo>
                      <a:lnTo>
                        <a:pt x="345536" y="299550"/>
                      </a:lnTo>
                      <a:lnTo>
                        <a:pt x="346176" y="302707"/>
                      </a:lnTo>
                      <a:lnTo>
                        <a:pt x="345723" y="305297"/>
                      </a:lnTo>
                      <a:lnTo>
                        <a:pt x="344872" y="307737"/>
                      </a:lnTo>
                      <a:lnTo>
                        <a:pt x="343942" y="312721"/>
                      </a:lnTo>
                      <a:lnTo>
                        <a:pt x="343511" y="313328"/>
                      </a:lnTo>
                      <a:lnTo>
                        <a:pt x="343925" y="313045"/>
                      </a:lnTo>
                      <a:lnTo>
                        <a:pt x="353586" y="312539"/>
                      </a:lnTo>
                      <a:lnTo>
                        <a:pt x="355986" y="313626"/>
                      </a:lnTo>
                      <a:lnTo>
                        <a:pt x="358453" y="316470"/>
                      </a:lnTo>
                      <a:lnTo>
                        <a:pt x="360421" y="320583"/>
                      </a:lnTo>
                      <a:lnTo>
                        <a:pt x="361246" y="325454"/>
                      </a:lnTo>
                      <a:lnTo>
                        <a:pt x="361043" y="331711"/>
                      </a:lnTo>
                      <a:lnTo>
                        <a:pt x="360021" y="342391"/>
                      </a:lnTo>
                      <a:lnTo>
                        <a:pt x="359811" y="348087"/>
                      </a:lnTo>
                      <a:lnTo>
                        <a:pt x="361541" y="350671"/>
                      </a:lnTo>
                      <a:lnTo>
                        <a:pt x="362393" y="353024"/>
                      </a:lnTo>
                      <a:lnTo>
                        <a:pt x="361990" y="356332"/>
                      </a:lnTo>
                      <a:lnTo>
                        <a:pt x="360981" y="359041"/>
                      </a:lnTo>
                      <a:lnTo>
                        <a:pt x="360307" y="361368"/>
                      </a:lnTo>
                      <a:lnTo>
                        <a:pt x="360173" y="363900"/>
                      </a:lnTo>
                      <a:lnTo>
                        <a:pt x="360846" y="367154"/>
                      </a:lnTo>
                      <a:lnTo>
                        <a:pt x="363502" y="357876"/>
                      </a:lnTo>
                      <a:lnTo>
                        <a:pt x="364459" y="352383"/>
                      </a:lnTo>
                      <a:lnTo>
                        <a:pt x="364816" y="346728"/>
                      </a:lnTo>
                      <a:lnTo>
                        <a:pt x="364644" y="334723"/>
                      </a:lnTo>
                      <a:lnTo>
                        <a:pt x="364821" y="328170"/>
                      </a:lnTo>
                      <a:lnTo>
                        <a:pt x="365462" y="324228"/>
                      </a:lnTo>
                      <a:lnTo>
                        <a:pt x="367983" y="322371"/>
                      </a:lnTo>
                      <a:lnTo>
                        <a:pt x="369856" y="326398"/>
                      </a:lnTo>
                      <a:lnTo>
                        <a:pt x="371029" y="333191"/>
                      </a:lnTo>
                      <a:lnTo>
                        <a:pt x="371483" y="339597"/>
                      </a:lnTo>
                      <a:lnTo>
                        <a:pt x="372796" y="344571"/>
                      </a:lnTo>
                      <a:lnTo>
                        <a:pt x="375673" y="346983"/>
                      </a:lnTo>
                      <a:lnTo>
                        <a:pt x="378921" y="348643"/>
                      </a:lnTo>
                      <a:lnTo>
                        <a:pt x="381229" y="351371"/>
                      </a:lnTo>
                      <a:lnTo>
                        <a:pt x="382362" y="354195"/>
                      </a:lnTo>
                      <a:lnTo>
                        <a:pt x="383927" y="357127"/>
                      </a:lnTo>
                      <a:lnTo>
                        <a:pt x="385317" y="357446"/>
                      </a:lnTo>
                      <a:lnTo>
                        <a:pt x="385838" y="352504"/>
                      </a:lnTo>
                      <a:lnTo>
                        <a:pt x="385219" y="348759"/>
                      </a:lnTo>
                      <a:lnTo>
                        <a:pt x="383911" y="347089"/>
                      </a:lnTo>
                      <a:lnTo>
                        <a:pt x="382469" y="345758"/>
                      </a:lnTo>
                      <a:lnTo>
                        <a:pt x="381538" y="343113"/>
                      </a:lnTo>
                      <a:lnTo>
                        <a:pt x="383435" y="338351"/>
                      </a:lnTo>
                      <a:lnTo>
                        <a:pt x="388944" y="336097"/>
                      </a:lnTo>
                      <a:lnTo>
                        <a:pt x="399795" y="335558"/>
                      </a:lnTo>
                      <a:lnTo>
                        <a:pt x="404661" y="337536"/>
                      </a:lnTo>
                      <a:lnTo>
                        <a:pt x="412897" y="345524"/>
                      </a:lnTo>
                      <a:lnTo>
                        <a:pt x="422221" y="348903"/>
                      </a:lnTo>
                      <a:lnTo>
                        <a:pt x="423138" y="348367"/>
                      </a:lnTo>
                      <a:lnTo>
                        <a:pt x="423511" y="345985"/>
                      </a:lnTo>
                      <a:lnTo>
                        <a:pt x="423128" y="344136"/>
                      </a:lnTo>
                      <a:lnTo>
                        <a:pt x="422309" y="342912"/>
                      </a:lnTo>
                      <a:lnTo>
                        <a:pt x="421325" y="342495"/>
                      </a:lnTo>
                      <a:lnTo>
                        <a:pt x="420023" y="341493"/>
                      </a:lnTo>
                      <a:lnTo>
                        <a:pt x="415744" y="334242"/>
                      </a:lnTo>
                      <a:lnTo>
                        <a:pt x="413164" y="332305"/>
                      </a:lnTo>
                      <a:lnTo>
                        <a:pt x="380159" y="320609"/>
                      </a:lnTo>
                      <a:lnTo>
                        <a:pt x="376042" y="315950"/>
                      </a:lnTo>
                      <a:lnTo>
                        <a:pt x="374105" y="314906"/>
                      </a:lnTo>
                      <a:lnTo>
                        <a:pt x="372976" y="313401"/>
                      </a:lnTo>
                      <a:lnTo>
                        <a:pt x="372231" y="309923"/>
                      </a:lnTo>
                      <a:lnTo>
                        <a:pt x="371677" y="305909"/>
                      </a:lnTo>
                      <a:lnTo>
                        <a:pt x="371047" y="302922"/>
                      </a:lnTo>
                      <a:lnTo>
                        <a:pt x="369303" y="299315"/>
                      </a:lnTo>
                      <a:lnTo>
                        <a:pt x="367440" y="297396"/>
                      </a:lnTo>
                      <a:lnTo>
                        <a:pt x="363427" y="295922"/>
                      </a:lnTo>
                      <a:lnTo>
                        <a:pt x="358599" y="295845"/>
                      </a:lnTo>
                      <a:lnTo>
                        <a:pt x="355739" y="294664"/>
                      </a:lnTo>
                      <a:lnTo>
                        <a:pt x="354246" y="291531"/>
                      </a:lnTo>
                      <a:lnTo>
                        <a:pt x="354485" y="287704"/>
                      </a:lnTo>
                      <a:lnTo>
                        <a:pt x="355583" y="284783"/>
                      </a:lnTo>
                      <a:lnTo>
                        <a:pt x="357025" y="282787"/>
                      </a:lnTo>
                      <a:lnTo>
                        <a:pt x="358299" y="281847"/>
                      </a:lnTo>
                      <a:lnTo>
                        <a:pt x="355766" y="274336"/>
                      </a:lnTo>
                      <a:lnTo>
                        <a:pt x="356423" y="270057"/>
                      </a:lnTo>
                      <a:lnTo>
                        <a:pt x="359223" y="268118"/>
                      </a:lnTo>
                      <a:lnTo>
                        <a:pt x="367333" y="266442"/>
                      </a:lnTo>
                      <a:lnTo>
                        <a:pt x="375250" y="261360"/>
                      </a:lnTo>
                      <a:lnTo>
                        <a:pt x="402051" y="257075"/>
                      </a:lnTo>
                      <a:lnTo>
                        <a:pt x="403155" y="258997"/>
                      </a:lnTo>
                      <a:lnTo>
                        <a:pt x="403717" y="264513"/>
                      </a:lnTo>
                      <a:lnTo>
                        <a:pt x="403619" y="267551"/>
                      </a:lnTo>
                      <a:lnTo>
                        <a:pt x="403149" y="270132"/>
                      </a:lnTo>
                      <a:lnTo>
                        <a:pt x="402366" y="272295"/>
                      </a:lnTo>
                      <a:lnTo>
                        <a:pt x="401331" y="274209"/>
                      </a:lnTo>
                      <a:lnTo>
                        <a:pt x="403221" y="273955"/>
                      </a:lnTo>
                      <a:lnTo>
                        <a:pt x="405300" y="274428"/>
                      </a:lnTo>
                      <a:lnTo>
                        <a:pt x="407327" y="275884"/>
                      </a:lnTo>
                      <a:lnTo>
                        <a:pt x="408922" y="278599"/>
                      </a:lnTo>
                      <a:lnTo>
                        <a:pt x="409560" y="281301"/>
                      </a:lnTo>
                      <a:lnTo>
                        <a:pt x="409844" y="286922"/>
                      </a:lnTo>
                      <a:lnTo>
                        <a:pt x="410353" y="289499"/>
                      </a:lnTo>
                      <a:lnTo>
                        <a:pt x="412677" y="293538"/>
                      </a:lnTo>
                      <a:lnTo>
                        <a:pt x="421809" y="299589"/>
                      </a:lnTo>
                      <a:lnTo>
                        <a:pt x="421168" y="306645"/>
                      </a:lnTo>
                      <a:lnTo>
                        <a:pt x="422605" y="310373"/>
                      </a:lnTo>
                      <a:lnTo>
                        <a:pt x="427911" y="314070"/>
                      </a:lnTo>
                      <a:lnTo>
                        <a:pt x="436015" y="323330"/>
                      </a:lnTo>
                      <a:lnTo>
                        <a:pt x="438949" y="325438"/>
                      </a:lnTo>
                      <a:lnTo>
                        <a:pt x="463591" y="327776"/>
                      </a:lnTo>
                      <a:lnTo>
                        <a:pt x="467685" y="335398"/>
                      </a:lnTo>
                      <a:lnTo>
                        <a:pt x="466854" y="342927"/>
                      </a:lnTo>
                      <a:lnTo>
                        <a:pt x="464427" y="346317"/>
                      </a:lnTo>
                      <a:lnTo>
                        <a:pt x="456512" y="351661"/>
                      </a:lnTo>
                      <a:lnTo>
                        <a:pt x="449634" y="349003"/>
                      </a:lnTo>
                      <a:lnTo>
                        <a:pt x="447947" y="349770"/>
                      </a:lnTo>
                      <a:lnTo>
                        <a:pt x="444819" y="353085"/>
                      </a:lnTo>
                      <a:lnTo>
                        <a:pt x="442136" y="354913"/>
                      </a:lnTo>
                      <a:lnTo>
                        <a:pt x="442404" y="357186"/>
                      </a:lnTo>
                      <a:lnTo>
                        <a:pt x="443522" y="359567"/>
                      </a:lnTo>
                      <a:lnTo>
                        <a:pt x="444809" y="360918"/>
                      </a:lnTo>
                      <a:lnTo>
                        <a:pt x="445882" y="360276"/>
                      </a:lnTo>
                      <a:lnTo>
                        <a:pt x="449211" y="356463"/>
                      </a:lnTo>
                      <a:lnTo>
                        <a:pt x="450114" y="354912"/>
                      </a:lnTo>
                      <a:lnTo>
                        <a:pt x="452367" y="352205"/>
                      </a:lnTo>
                      <a:lnTo>
                        <a:pt x="454583" y="354940"/>
                      </a:lnTo>
                      <a:lnTo>
                        <a:pt x="455150" y="359694"/>
                      </a:lnTo>
                      <a:lnTo>
                        <a:pt x="452373" y="363117"/>
                      </a:lnTo>
                      <a:lnTo>
                        <a:pt x="454168" y="365622"/>
                      </a:lnTo>
                      <a:lnTo>
                        <a:pt x="458870" y="369410"/>
                      </a:lnTo>
                      <a:lnTo>
                        <a:pt x="460962" y="370010"/>
                      </a:lnTo>
                      <a:lnTo>
                        <a:pt x="463257" y="368999"/>
                      </a:lnTo>
                      <a:lnTo>
                        <a:pt x="466632" y="364405"/>
                      </a:lnTo>
                      <a:lnTo>
                        <a:pt x="468359" y="362747"/>
                      </a:lnTo>
                      <a:lnTo>
                        <a:pt x="472511" y="363503"/>
                      </a:lnTo>
                      <a:lnTo>
                        <a:pt x="480550" y="370008"/>
                      </a:lnTo>
                      <a:lnTo>
                        <a:pt x="484409" y="367039"/>
                      </a:lnTo>
                      <a:lnTo>
                        <a:pt x="481642" y="362892"/>
                      </a:lnTo>
                      <a:lnTo>
                        <a:pt x="478918" y="360304"/>
                      </a:lnTo>
                      <a:lnTo>
                        <a:pt x="476682" y="356438"/>
                      </a:lnTo>
                      <a:lnTo>
                        <a:pt x="475539" y="348395"/>
                      </a:lnTo>
                      <a:lnTo>
                        <a:pt x="475790" y="345378"/>
                      </a:lnTo>
                      <a:lnTo>
                        <a:pt x="476451" y="343196"/>
                      </a:lnTo>
                      <a:lnTo>
                        <a:pt x="477011" y="340609"/>
                      </a:lnTo>
                      <a:lnTo>
                        <a:pt x="476901" y="336350"/>
                      </a:lnTo>
                      <a:lnTo>
                        <a:pt x="476218" y="334145"/>
                      </a:lnTo>
                      <a:lnTo>
                        <a:pt x="473633" y="328375"/>
                      </a:lnTo>
                      <a:lnTo>
                        <a:pt x="463627" y="315710"/>
                      </a:lnTo>
                      <a:lnTo>
                        <a:pt x="460513" y="314083"/>
                      </a:lnTo>
                      <a:lnTo>
                        <a:pt x="457267" y="313538"/>
                      </a:lnTo>
                      <a:lnTo>
                        <a:pt x="440021" y="316908"/>
                      </a:lnTo>
                      <a:lnTo>
                        <a:pt x="435465" y="313922"/>
                      </a:lnTo>
                      <a:lnTo>
                        <a:pt x="434233" y="311880"/>
                      </a:lnTo>
                      <a:lnTo>
                        <a:pt x="431109" y="304349"/>
                      </a:lnTo>
                      <a:lnTo>
                        <a:pt x="430842" y="302877"/>
                      </a:lnTo>
                      <a:lnTo>
                        <a:pt x="430807" y="301064"/>
                      </a:lnTo>
                      <a:lnTo>
                        <a:pt x="430658" y="299114"/>
                      </a:lnTo>
                      <a:lnTo>
                        <a:pt x="430078" y="297282"/>
                      </a:lnTo>
                      <a:lnTo>
                        <a:pt x="429108" y="296247"/>
                      </a:lnTo>
                      <a:lnTo>
                        <a:pt x="425868" y="295001"/>
                      </a:lnTo>
                      <a:lnTo>
                        <a:pt x="423150" y="291972"/>
                      </a:lnTo>
                      <a:lnTo>
                        <a:pt x="420579" y="287156"/>
                      </a:lnTo>
                      <a:lnTo>
                        <a:pt x="419413" y="280682"/>
                      </a:lnTo>
                      <a:lnTo>
                        <a:pt x="420844" y="272697"/>
                      </a:lnTo>
                      <a:lnTo>
                        <a:pt x="423920" y="267466"/>
                      </a:lnTo>
                      <a:lnTo>
                        <a:pt x="428340" y="263193"/>
                      </a:lnTo>
                      <a:lnTo>
                        <a:pt x="441257" y="256902"/>
                      </a:lnTo>
                      <a:lnTo>
                        <a:pt x="443424" y="256941"/>
                      </a:lnTo>
                      <a:lnTo>
                        <a:pt x="446837" y="262646"/>
                      </a:lnTo>
                      <a:lnTo>
                        <a:pt x="448524" y="264507"/>
                      </a:lnTo>
                      <a:lnTo>
                        <a:pt x="450315" y="265720"/>
                      </a:lnTo>
                      <a:lnTo>
                        <a:pt x="451843" y="266163"/>
                      </a:lnTo>
                      <a:lnTo>
                        <a:pt x="450665" y="262027"/>
                      </a:lnTo>
                      <a:lnTo>
                        <a:pt x="449280" y="259134"/>
                      </a:lnTo>
                      <a:lnTo>
                        <a:pt x="448047" y="255913"/>
                      </a:lnTo>
                      <a:lnTo>
                        <a:pt x="447451" y="250822"/>
                      </a:lnTo>
                      <a:lnTo>
                        <a:pt x="437613" y="252085"/>
                      </a:lnTo>
                      <a:lnTo>
                        <a:pt x="432307" y="255271"/>
                      </a:lnTo>
                      <a:lnTo>
                        <a:pt x="426313" y="256708"/>
                      </a:lnTo>
                      <a:lnTo>
                        <a:pt x="423979" y="260745"/>
                      </a:lnTo>
                      <a:lnTo>
                        <a:pt x="421952" y="262934"/>
                      </a:lnTo>
                      <a:lnTo>
                        <a:pt x="419270" y="261169"/>
                      </a:lnTo>
                      <a:lnTo>
                        <a:pt x="416623" y="257463"/>
                      </a:lnTo>
                      <a:lnTo>
                        <a:pt x="414728" y="253827"/>
                      </a:lnTo>
                      <a:lnTo>
                        <a:pt x="412746" y="235135"/>
                      </a:lnTo>
                      <a:lnTo>
                        <a:pt x="429159" y="207842"/>
                      </a:lnTo>
                      <a:lnTo>
                        <a:pt x="430464" y="193054"/>
                      </a:lnTo>
                      <a:lnTo>
                        <a:pt x="432754" y="190521"/>
                      </a:lnTo>
                      <a:lnTo>
                        <a:pt x="435318" y="189035"/>
                      </a:lnTo>
                      <a:lnTo>
                        <a:pt x="440672" y="188122"/>
                      </a:lnTo>
                      <a:lnTo>
                        <a:pt x="442693" y="186870"/>
                      </a:lnTo>
                      <a:lnTo>
                        <a:pt x="446331" y="180831"/>
                      </a:lnTo>
                      <a:lnTo>
                        <a:pt x="448208" y="178541"/>
                      </a:lnTo>
                      <a:lnTo>
                        <a:pt x="453749" y="176405"/>
                      </a:lnTo>
                      <a:lnTo>
                        <a:pt x="471570" y="177988"/>
                      </a:lnTo>
                      <a:lnTo>
                        <a:pt x="476164" y="176378"/>
                      </a:lnTo>
                      <a:lnTo>
                        <a:pt x="485035" y="169648"/>
                      </a:lnTo>
                      <a:lnTo>
                        <a:pt x="506210" y="164602"/>
                      </a:lnTo>
                      <a:lnTo>
                        <a:pt x="511920" y="167424"/>
                      </a:lnTo>
                      <a:lnTo>
                        <a:pt x="511183" y="171876"/>
                      </a:lnTo>
                      <a:lnTo>
                        <a:pt x="510367" y="174432"/>
                      </a:lnTo>
                      <a:lnTo>
                        <a:pt x="506122" y="184039"/>
                      </a:lnTo>
                      <a:lnTo>
                        <a:pt x="506477" y="185138"/>
                      </a:lnTo>
                      <a:lnTo>
                        <a:pt x="506888" y="189977"/>
                      </a:lnTo>
                      <a:lnTo>
                        <a:pt x="506147" y="195766"/>
                      </a:lnTo>
                      <a:lnTo>
                        <a:pt x="504123" y="201872"/>
                      </a:lnTo>
                      <a:lnTo>
                        <a:pt x="501808" y="207142"/>
                      </a:lnTo>
                      <a:lnTo>
                        <a:pt x="500050" y="210230"/>
                      </a:lnTo>
                      <a:lnTo>
                        <a:pt x="502522" y="216317"/>
                      </a:lnTo>
                      <a:lnTo>
                        <a:pt x="505284" y="219274"/>
                      </a:lnTo>
                      <a:lnTo>
                        <a:pt x="506837" y="223644"/>
                      </a:lnTo>
                      <a:lnTo>
                        <a:pt x="505676" y="233888"/>
                      </a:lnTo>
                      <a:lnTo>
                        <a:pt x="504028" y="240476"/>
                      </a:lnTo>
                      <a:lnTo>
                        <a:pt x="497737" y="259009"/>
                      </a:lnTo>
                      <a:lnTo>
                        <a:pt x="496931" y="262154"/>
                      </a:lnTo>
                      <a:lnTo>
                        <a:pt x="496313" y="266010"/>
                      </a:lnTo>
                      <a:lnTo>
                        <a:pt x="496020" y="270237"/>
                      </a:lnTo>
                      <a:lnTo>
                        <a:pt x="496142" y="274495"/>
                      </a:lnTo>
                      <a:lnTo>
                        <a:pt x="496994" y="278015"/>
                      </a:lnTo>
                      <a:lnTo>
                        <a:pt x="498475" y="282782"/>
                      </a:lnTo>
                      <a:lnTo>
                        <a:pt x="499376" y="286946"/>
                      </a:lnTo>
                      <a:lnTo>
                        <a:pt x="498600" y="288798"/>
                      </a:lnTo>
                      <a:lnTo>
                        <a:pt x="495098" y="290500"/>
                      </a:lnTo>
                      <a:lnTo>
                        <a:pt x="491283" y="294838"/>
                      </a:lnTo>
                      <a:lnTo>
                        <a:pt x="487829" y="300922"/>
                      </a:lnTo>
                      <a:lnTo>
                        <a:pt x="485382" y="307822"/>
                      </a:lnTo>
                      <a:lnTo>
                        <a:pt x="504182" y="291955"/>
                      </a:lnTo>
                      <a:lnTo>
                        <a:pt x="505128" y="284573"/>
                      </a:lnTo>
                      <a:lnTo>
                        <a:pt x="507029" y="275475"/>
                      </a:lnTo>
                      <a:lnTo>
                        <a:pt x="507854" y="267195"/>
                      </a:lnTo>
                      <a:lnTo>
                        <a:pt x="505702" y="262196"/>
                      </a:lnTo>
                      <a:lnTo>
                        <a:pt x="510837" y="238248"/>
                      </a:lnTo>
                      <a:lnTo>
                        <a:pt x="510097" y="237187"/>
                      </a:lnTo>
                      <a:lnTo>
                        <a:pt x="509744" y="236256"/>
                      </a:lnTo>
                      <a:lnTo>
                        <a:pt x="509485" y="235180"/>
                      </a:lnTo>
                      <a:lnTo>
                        <a:pt x="509050" y="233788"/>
                      </a:lnTo>
                      <a:lnTo>
                        <a:pt x="511553" y="234105"/>
                      </a:lnTo>
                      <a:lnTo>
                        <a:pt x="516290" y="233032"/>
                      </a:lnTo>
                      <a:lnTo>
                        <a:pt x="531477" y="235655"/>
                      </a:lnTo>
                      <a:lnTo>
                        <a:pt x="539606" y="240953"/>
                      </a:lnTo>
                      <a:lnTo>
                        <a:pt x="547671" y="244121"/>
                      </a:lnTo>
                      <a:lnTo>
                        <a:pt x="553906" y="241732"/>
                      </a:lnTo>
                      <a:lnTo>
                        <a:pt x="549384" y="242260"/>
                      </a:lnTo>
                      <a:lnTo>
                        <a:pt x="544101" y="241052"/>
                      </a:lnTo>
                      <a:lnTo>
                        <a:pt x="538894" y="238276"/>
                      </a:lnTo>
                      <a:lnTo>
                        <a:pt x="534598" y="234159"/>
                      </a:lnTo>
                      <a:lnTo>
                        <a:pt x="530923" y="232032"/>
                      </a:lnTo>
                      <a:lnTo>
                        <a:pt x="526496" y="231135"/>
                      </a:lnTo>
                      <a:lnTo>
                        <a:pt x="522694" y="228303"/>
                      </a:lnTo>
                      <a:lnTo>
                        <a:pt x="520897" y="220344"/>
                      </a:lnTo>
                      <a:lnTo>
                        <a:pt x="520490" y="217150"/>
                      </a:lnTo>
                      <a:lnTo>
                        <a:pt x="518772" y="212437"/>
                      </a:lnTo>
                      <a:lnTo>
                        <a:pt x="518087" y="209687"/>
                      </a:lnTo>
                      <a:lnTo>
                        <a:pt x="517803" y="207223"/>
                      </a:lnTo>
                      <a:lnTo>
                        <a:pt x="517752" y="199208"/>
                      </a:lnTo>
                      <a:lnTo>
                        <a:pt x="519053" y="195004"/>
                      </a:lnTo>
                      <a:lnTo>
                        <a:pt x="521801" y="191824"/>
                      </a:lnTo>
                      <a:lnTo>
                        <a:pt x="523827" y="187806"/>
                      </a:lnTo>
                      <a:lnTo>
                        <a:pt x="522909" y="181241"/>
                      </a:lnTo>
                      <a:lnTo>
                        <a:pt x="524833" y="177214"/>
                      </a:lnTo>
                      <a:lnTo>
                        <a:pt x="529301" y="173874"/>
                      </a:lnTo>
                      <a:lnTo>
                        <a:pt x="531197" y="170339"/>
                      </a:lnTo>
                      <a:lnTo>
                        <a:pt x="534741" y="157661"/>
                      </a:lnTo>
                      <a:lnTo>
                        <a:pt x="535974" y="154834"/>
                      </a:lnTo>
                      <a:lnTo>
                        <a:pt x="537960" y="153290"/>
                      </a:lnTo>
                      <a:lnTo>
                        <a:pt x="538406" y="156030"/>
                      </a:lnTo>
                      <a:lnTo>
                        <a:pt x="537814" y="160805"/>
                      </a:lnTo>
                      <a:lnTo>
                        <a:pt x="535775" y="169313"/>
                      </a:lnTo>
                      <a:lnTo>
                        <a:pt x="534420" y="180863"/>
                      </a:lnTo>
                      <a:lnTo>
                        <a:pt x="538964" y="178950"/>
                      </a:lnTo>
                      <a:lnTo>
                        <a:pt x="541919" y="171296"/>
                      </a:lnTo>
                      <a:lnTo>
                        <a:pt x="546542" y="152105"/>
                      </a:lnTo>
                      <a:lnTo>
                        <a:pt x="550460" y="140560"/>
                      </a:lnTo>
                      <a:lnTo>
                        <a:pt x="553326" y="125323"/>
                      </a:lnTo>
                      <a:lnTo>
                        <a:pt x="554466" y="120893"/>
                      </a:lnTo>
                      <a:lnTo>
                        <a:pt x="555936" y="118307"/>
                      </a:lnTo>
                      <a:lnTo>
                        <a:pt x="556404" y="122256"/>
                      </a:lnTo>
                      <a:lnTo>
                        <a:pt x="556423" y="123551"/>
                      </a:lnTo>
                      <a:lnTo>
                        <a:pt x="556218" y="125808"/>
                      </a:lnTo>
                      <a:lnTo>
                        <a:pt x="556600" y="134177"/>
                      </a:lnTo>
                      <a:lnTo>
                        <a:pt x="557086" y="139615"/>
                      </a:lnTo>
                      <a:lnTo>
                        <a:pt x="558051" y="142056"/>
                      </a:lnTo>
                      <a:lnTo>
                        <a:pt x="559915" y="143899"/>
                      </a:lnTo>
                      <a:lnTo>
                        <a:pt x="561145" y="146891"/>
                      </a:lnTo>
                      <a:lnTo>
                        <a:pt x="561727" y="146869"/>
                      </a:lnTo>
                      <a:lnTo>
                        <a:pt x="561629" y="139755"/>
                      </a:lnTo>
                      <a:lnTo>
                        <a:pt x="560228" y="124364"/>
                      </a:lnTo>
                      <a:lnTo>
                        <a:pt x="560813" y="121713"/>
                      </a:lnTo>
                      <a:lnTo>
                        <a:pt x="563988" y="116783"/>
                      </a:lnTo>
                      <a:lnTo>
                        <a:pt x="567762" y="109002"/>
                      </a:lnTo>
                      <a:lnTo>
                        <a:pt x="570361" y="107804"/>
                      </a:lnTo>
                      <a:lnTo>
                        <a:pt x="573102" y="110187"/>
                      </a:lnTo>
                      <a:lnTo>
                        <a:pt x="586280" y="135051"/>
                      </a:lnTo>
                      <a:lnTo>
                        <a:pt x="587428" y="139562"/>
                      </a:lnTo>
                      <a:lnTo>
                        <a:pt x="586972" y="143054"/>
                      </a:lnTo>
                      <a:lnTo>
                        <a:pt x="585812" y="146436"/>
                      </a:lnTo>
                      <a:lnTo>
                        <a:pt x="584861" y="150652"/>
                      </a:lnTo>
                      <a:lnTo>
                        <a:pt x="584654" y="154585"/>
                      </a:lnTo>
                      <a:lnTo>
                        <a:pt x="584874" y="161793"/>
                      </a:lnTo>
                      <a:lnTo>
                        <a:pt x="584688" y="164839"/>
                      </a:lnTo>
                      <a:lnTo>
                        <a:pt x="583916" y="167360"/>
                      </a:lnTo>
                      <a:lnTo>
                        <a:pt x="582637" y="170365"/>
                      </a:lnTo>
                      <a:lnTo>
                        <a:pt x="581476" y="173901"/>
                      </a:lnTo>
                      <a:lnTo>
                        <a:pt x="581077" y="177969"/>
                      </a:lnTo>
                      <a:lnTo>
                        <a:pt x="580902" y="181352"/>
                      </a:lnTo>
                      <a:lnTo>
                        <a:pt x="580349" y="185523"/>
                      </a:lnTo>
                      <a:lnTo>
                        <a:pt x="579594" y="189520"/>
                      </a:lnTo>
                      <a:lnTo>
                        <a:pt x="578877" y="192320"/>
                      </a:lnTo>
                      <a:lnTo>
                        <a:pt x="577755" y="206008"/>
                      </a:lnTo>
                      <a:lnTo>
                        <a:pt x="577436" y="207596"/>
                      </a:lnTo>
                      <a:lnTo>
                        <a:pt x="578135" y="211846"/>
                      </a:lnTo>
                      <a:lnTo>
                        <a:pt x="579107" y="213847"/>
                      </a:lnTo>
                      <a:lnTo>
                        <a:pt x="584794" y="220922"/>
                      </a:lnTo>
                      <a:lnTo>
                        <a:pt x="585840" y="223468"/>
                      </a:lnTo>
                      <a:lnTo>
                        <a:pt x="586390" y="227526"/>
                      </a:lnTo>
                      <a:lnTo>
                        <a:pt x="586469" y="231617"/>
                      </a:lnTo>
                      <a:lnTo>
                        <a:pt x="586290" y="235858"/>
                      </a:lnTo>
                      <a:lnTo>
                        <a:pt x="585690" y="239203"/>
                      </a:lnTo>
                      <a:lnTo>
                        <a:pt x="584477" y="240573"/>
                      </a:lnTo>
                      <a:lnTo>
                        <a:pt x="580211" y="241826"/>
                      </a:lnTo>
                      <a:lnTo>
                        <a:pt x="575627" y="245002"/>
                      </a:lnTo>
                      <a:lnTo>
                        <a:pt x="573739" y="249548"/>
                      </a:lnTo>
                      <a:lnTo>
                        <a:pt x="577609" y="255025"/>
                      </a:lnTo>
                      <a:lnTo>
                        <a:pt x="575847" y="257317"/>
                      </a:lnTo>
                      <a:lnTo>
                        <a:pt x="574581" y="260459"/>
                      </a:lnTo>
                      <a:lnTo>
                        <a:pt x="573765" y="264529"/>
                      </a:lnTo>
                      <a:lnTo>
                        <a:pt x="573282" y="269570"/>
                      </a:lnTo>
                      <a:lnTo>
                        <a:pt x="575284" y="275570"/>
                      </a:lnTo>
                      <a:lnTo>
                        <a:pt x="574104" y="281524"/>
                      </a:lnTo>
                      <a:lnTo>
                        <a:pt x="571165" y="284506"/>
                      </a:lnTo>
                      <a:lnTo>
                        <a:pt x="567878" y="281562"/>
                      </a:lnTo>
                      <a:lnTo>
                        <a:pt x="567182" y="291548"/>
                      </a:lnTo>
                      <a:lnTo>
                        <a:pt x="565691" y="300804"/>
                      </a:lnTo>
                      <a:lnTo>
                        <a:pt x="563173" y="307649"/>
                      </a:lnTo>
                      <a:lnTo>
                        <a:pt x="556891" y="311620"/>
                      </a:lnTo>
                      <a:lnTo>
                        <a:pt x="550095" y="319993"/>
                      </a:lnTo>
                      <a:lnTo>
                        <a:pt x="543202" y="324029"/>
                      </a:lnTo>
                      <a:lnTo>
                        <a:pt x="541111" y="327362"/>
                      </a:lnTo>
                      <a:lnTo>
                        <a:pt x="541753" y="328396"/>
                      </a:lnTo>
                      <a:lnTo>
                        <a:pt x="543077" y="331009"/>
                      </a:lnTo>
                      <a:lnTo>
                        <a:pt x="543778" y="331998"/>
                      </a:lnTo>
                      <a:lnTo>
                        <a:pt x="536217" y="344996"/>
                      </a:lnTo>
                      <a:lnTo>
                        <a:pt x="533939" y="351683"/>
                      </a:lnTo>
                      <a:lnTo>
                        <a:pt x="537827" y="353678"/>
                      </a:lnTo>
                      <a:lnTo>
                        <a:pt x="540644" y="351149"/>
                      </a:lnTo>
                      <a:lnTo>
                        <a:pt x="543954" y="345665"/>
                      </a:lnTo>
                      <a:lnTo>
                        <a:pt x="547079" y="339016"/>
                      </a:lnTo>
                      <a:lnTo>
                        <a:pt x="549255" y="332991"/>
                      </a:lnTo>
                      <a:lnTo>
                        <a:pt x="551922" y="328002"/>
                      </a:lnTo>
                      <a:lnTo>
                        <a:pt x="570181" y="310625"/>
                      </a:lnTo>
                      <a:lnTo>
                        <a:pt x="575200" y="309295"/>
                      </a:lnTo>
                      <a:lnTo>
                        <a:pt x="576365" y="307646"/>
                      </a:lnTo>
                      <a:lnTo>
                        <a:pt x="584705" y="281110"/>
                      </a:lnTo>
                      <a:lnTo>
                        <a:pt x="586805" y="276130"/>
                      </a:lnTo>
                      <a:lnTo>
                        <a:pt x="592467" y="267376"/>
                      </a:lnTo>
                      <a:lnTo>
                        <a:pt x="594444" y="261808"/>
                      </a:lnTo>
                      <a:lnTo>
                        <a:pt x="594947" y="253134"/>
                      </a:lnTo>
                      <a:lnTo>
                        <a:pt x="595302" y="250334"/>
                      </a:lnTo>
                      <a:lnTo>
                        <a:pt x="596306" y="247072"/>
                      </a:lnTo>
                      <a:lnTo>
                        <a:pt x="597541" y="244163"/>
                      </a:lnTo>
                      <a:lnTo>
                        <a:pt x="598634" y="242585"/>
                      </a:lnTo>
                      <a:lnTo>
                        <a:pt x="600435" y="242594"/>
                      </a:lnTo>
                      <a:lnTo>
                        <a:pt x="602234" y="244402"/>
                      </a:lnTo>
                      <a:lnTo>
                        <a:pt x="603959" y="246975"/>
                      </a:lnTo>
                      <a:lnTo>
                        <a:pt x="609800" y="253534"/>
                      </a:lnTo>
                      <a:lnTo>
                        <a:pt x="619374" y="261290"/>
                      </a:lnTo>
                      <a:lnTo>
                        <a:pt x="637046" y="264496"/>
                      </a:lnTo>
                      <a:lnTo>
                        <a:pt x="639199" y="266788"/>
                      </a:lnTo>
                      <a:lnTo>
                        <a:pt x="641110" y="269582"/>
                      </a:lnTo>
                      <a:lnTo>
                        <a:pt x="642894" y="270920"/>
                      </a:lnTo>
                      <a:lnTo>
                        <a:pt x="644720" y="268862"/>
                      </a:lnTo>
                      <a:lnTo>
                        <a:pt x="639533" y="264084"/>
                      </a:lnTo>
                      <a:lnTo>
                        <a:pt x="627901" y="258416"/>
                      </a:lnTo>
                      <a:lnTo>
                        <a:pt x="623529" y="251902"/>
                      </a:lnTo>
                      <a:lnTo>
                        <a:pt x="619920" y="242088"/>
                      </a:lnTo>
                      <a:lnTo>
                        <a:pt x="618449" y="239140"/>
                      </a:lnTo>
                      <a:lnTo>
                        <a:pt x="615795" y="236121"/>
                      </a:lnTo>
                      <a:lnTo>
                        <a:pt x="605127" y="231083"/>
                      </a:lnTo>
                      <a:lnTo>
                        <a:pt x="599102" y="225484"/>
                      </a:lnTo>
                      <a:lnTo>
                        <a:pt x="597766" y="222219"/>
                      </a:lnTo>
                      <a:lnTo>
                        <a:pt x="598301" y="218216"/>
                      </a:lnTo>
                      <a:lnTo>
                        <a:pt x="602528" y="207866"/>
                      </a:lnTo>
                      <a:lnTo>
                        <a:pt x="603872" y="198269"/>
                      </a:lnTo>
                      <a:lnTo>
                        <a:pt x="602705" y="189654"/>
                      </a:lnTo>
                      <a:lnTo>
                        <a:pt x="599819" y="183445"/>
                      </a:lnTo>
                      <a:lnTo>
                        <a:pt x="596011" y="181099"/>
                      </a:lnTo>
                      <a:lnTo>
                        <a:pt x="595902" y="178545"/>
                      </a:lnTo>
                      <a:lnTo>
                        <a:pt x="599345" y="176303"/>
                      </a:lnTo>
                      <a:lnTo>
                        <a:pt x="614952" y="174530"/>
                      </a:lnTo>
                      <a:lnTo>
                        <a:pt x="631479" y="163718"/>
                      </a:lnTo>
                      <a:lnTo>
                        <a:pt x="633545" y="160089"/>
                      </a:lnTo>
                      <a:lnTo>
                        <a:pt x="635462" y="154244"/>
                      </a:lnTo>
                      <a:lnTo>
                        <a:pt x="635567" y="149764"/>
                      </a:lnTo>
                      <a:lnTo>
                        <a:pt x="634081" y="145542"/>
                      </a:lnTo>
                      <a:lnTo>
                        <a:pt x="632160" y="141339"/>
                      </a:lnTo>
                      <a:lnTo>
                        <a:pt x="630955" y="136837"/>
                      </a:lnTo>
                      <a:lnTo>
                        <a:pt x="635387" y="135420"/>
                      </a:lnTo>
                      <a:lnTo>
                        <a:pt x="660735" y="112839"/>
                      </a:lnTo>
                      <a:lnTo>
                        <a:pt x="665502" y="111328"/>
                      </a:lnTo>
                      <a:lnTo>
                        <a:pt x="665614" y="113462"/>
                      </a:lnTo>
                      <a:lnTo>
                        <a:pt x="653230" y="127292"/>
                      </a:lnTo>
                      <a:lnTo>
                        <a:pt x="646330" y="140493"/>
                      </a:lnTo>
                      <a:lnTo>
                        <a:pt x="643469" y="143109"/>
                      </a:lnTo>
                      <a:lnTo>
                        <a:pt x="643586" y="145468"/>
                      </a:lnTo>
                      <a:lnTo>
                        <a:pt x="646118" y="146780"/>
                      </a:lnTo>
                      <a:lnTo>
                        <a:pt x="648673" y="146571"/>
                      </a:lnTo>
                      <a:lnTo>
                        <a:pt x="650990" y="147441"/>
                      </a:lnTo>
                      <a:lnTo>
                        <a:pt x="652898" y="152104"/>
                      </a:lnTo>
                      <a:lnTo>
                        <a:pt x="651704" y="152332"/>
                      </a:lnTo>
                      <a:lnTo>
                        <a:pt x="650867" y="153091"/>
                      </a:lnTo>
                      <a:lnTo>
                        <a:pt x="650271" y="154598"/>
                      </a:lnTo>
                      <a:lnTo>
                        <a:pt x="649798" y="156986"/>
                      </a:lnTo>
                      <a:lnTo>
                        <a:pt x="656629" y="165387"/>
                      </a:lnTo>
                      <a:lnTo>
                        <a:pt x="659812" y="167043"/>
                      </a:lnTo>
                      <a:lnTo>
                        <a:pt x="663278" y="163603"/>
                      </a:lnTo>
                      <a:lnTo>
                        <a:pt x="661315" y="161056"/>
                      </a:lnTo>
                      <a:lnTo>
                        <a:pt x="657490" y="158237"/>
                      </a:lnTo>
                      <a:lnTo>
                        <a:pt x="656278" y="154511"/>
                      </a:lnTo>
                      <a:lnTo>
                        <a:pt x="658879" y="153832"/>
                      </a:lnTo>
                      <a:lnTo>
                        <a:pt x="662428" y="151739"/>
                      </a:lnTo>
                      <a:lnTo>
                        <a:pt x="664573" y="147940"/>
                      </a:lnTo>
                      <a:lnTo>
                        <a:pt x="663045" y="142136"/>
                      </a:lnTo>
                      <a:lnTo>
                        <a:pt x="666115" y="139754"/>
                      </a:lnTo>
                      <a:lnTo>
                        <a:pt x="676085" y="135941"/>
                      </a:lnTo>
                      <a:lnTo>
                        <a:pt x="678386" y="137918"/>
                      </a:lnTo>
                      <a:lnTo>
                        <a:pt x="677679" y="143149"/>
                      </a:lnTo>
                      <a:lnTo>
                        <a:pt x="673506" y="153588"/>
                      </a:lnTo>
                      <a:lnTo>
                        <a:pt x="672071" y="158434"/>
                      </a:lnTo>
                      <a:lnTo>
                        <a:pt x="674813" y="157826"/>
                      </a:lnTo>
                      <a:lnTo>
                        <a:pt x="678178" y="155255"/>
                      </a:lnTo>
                      <a:lnTo>
                        <a:pt x="681226" y="151182"/>
                      </a:lnTo>
                      <a:lnTo>
                        <a:pt x="682899" y="146038"/>
                      </a:lnTo>
                      <a:lnTo>
                        <a:pt x="682788" y="141892"/>
                      </a:lnTo>
                      <a:lnTo>
                        <a:pt x="680103" y="124722"/>
                      </a:lnTo>
                      <a:lnTo>
                        <a:pt x="693958" y="123969"/>
                      </a:lnTo>
                      <a:lnTo>
                        <a:pt x="690877" y="119675"/>
                      </a:lnTo>
                      <a:lnTo>
                        <a:pt x="686951" y="116638"/>
                      </a:lnTo>
                      <a:lnTo>
                        <a:pt x="682947" y="115124"/>
                      </a:lnTo>
                      <a:lnTo>
                        <a:pt x="679588" y="115304"/>
                      </a:lnTo>
                      <a:lnTo>
                        <a:pt x="680734" y="101434"/>
                      </a:lnTo>
                      <a:lnTo>
                        <a:pt x="683488" y="91489"/>
                      </a:lnTo>
                      <a:lnTo>
                        <a:pt x="687486" y="85022"/>
                      </a:lnTo>
                      <a:lnTo>
                        <a:pt x="692370" y="81543"/>
                      </a:lnTo>
                      <a:lnTo>
                        <a:pt x="699456" y="81612"/>
                      </a:lnTo>
                      <a:lnTo>
                        <a:pt x="719816" y="94135"/>
                      </a:lnTo>
                      <a:lnTo>
                        <a:pt x="719900" y="99059"/>
                      </a:lnTo>
                      <a:lnTo>
                        <a:pt x="721683" y="102333"/>
                      </a:lnTo>
                      <a:lnTo>
                        <a:pt x="726250" y="105567"/>
                      </a:lnTo>
                      <a:lnTo>
                        <a:pt x="723526" y="115192"/>
                      </a:lnTo>
                      <a:lnTo>
                        <a:pt x="727453" y="120492"/>
                      </a:lnTo>
                      <a:lnTo>
                        <a:pt x="732133" y="124717"/>
                      </a:lnTo>
                      <a:lnTo>
                        <a:pt x="736874" y="127471"/>
                      </a:lnTo>
                      <a:lnTo>
                        <a:pt x="745741" y="129430"/>
                      </a:lnTo>
                      <a:lnTo>
                        <a:pt x="764497" y="148131"/>
                      </a:lnTo>
                      <a:lnTo>
                        <a:pt x="768027" y="153789"/>
                      </a:lnTo>
                      <a:lnTo>
                        <a:pt x="769859" y="160968"/>
                      </a:lnTo>
                      <a:lnTo>
                        <a:pt x="771874" y="164133"/>
                      </a:lnTo>
                      <a:lnTo>
                        <a:pt x="783782" y="173037"/>
                      </a:lnTo>
                      <a:lnTo>
                        <a:pt x="781869" y="175502"/>
                      </a:lnTo>
                      <a:lnTo>
                        <a:pt x="779619" y="175470"/>
                      </a:lnTo>
                      <a:lnTo>
                        <a:pt x="774882" y="173627"/>
                      </a:lnTo>
                      <a:lnTo>
                        <a:pt x="777864" y="176698"/>
                      </a:lnTo>
                      <a:lnTo>
                        <a:pt x="781578" y="178552"/>
                      </a:lnTo>
                      <a:lnTo>
                        <a:pt x="785308" y="178628"/>
                      </a:lnTo>
                      <a:lnTo>
                        <a:pt x="788179" y="176292"/>
                      </a:lnTo>
                      <a:lnTo>
                        <a:pt x="789356" y="172662"/>
                      </a:lnTo>
                      <a:lnTo>
                        <a:pt x="788440" y="170019"/>
                      </a:lnTo>
                      <a:lnTo>
                        <a:pt x="784186" y="165938"/>
                      </a:lnTo>
                      <a:lnTo>
                        <a:pt x="783305" y="157909"/>
                      </a:lnTo>
                      <a:lnTo>
                        <a:pt x="777363" y="151795"/>
                      </a:lnTo>
                      <a:lnTo>
                        <a:pt x="765507" y="143515"/>
                      </a:lnTo>
                      <a:lnTo>
                        <a:pt x="767972" y="141960"/>
                      </a:lnTo>
                      <a:lnTo>
                        <a:pt x="775622" y="144037"/>
                      </a:lnTo>
                      <a:lnTo>
                        <a:pt x="777552" y="140358"/>
                      </a:lnTo>
                      <a:lnTo>
                        <a:pt x="776496" y="135539"/>
                      </a:lnTo>
                      <a:lnTo>
                        <a:pt x="773571" y="132803"/>
                      </a:lnTo>
                      <a:lnTo>
                        <a:pt x="767965" y="131340"/>
                      </a:lnTo>
                      <a:lnTo>
                        <a:pt x="766298" y="129349"/>
                      </a:lnTo>
                      <a:lnTo>
                        <a:pt x="765759" y="124440"/>
                      </a:lnTo>
                      <a:lnTo>
                        <a:pt x="765509" y="118624"/>
                      </a:lnTo>
                      <a:lnTo>
                        <a:pt x="764692" y="113915"/>
                      </a:lnTo>
                      <a:lnTo>
                        <a:pt x="763109" y="109314"/>
                      </a:lnTo>
                      <a:lnTo>
                        <a:pt x="762843" y="106754"/>
                      </a:lnTo>
                      <a:lnTo>
                        <a:pt x="764217" y="100622"/>
                      </a:lnTo>
                      <a:lnTo>
                        <a:pt x="764041" y="98985"/>
                      </a:lnTo>
                      <a:lnTo>
                        <a:pt x="763392" y="97506"/>
                      </a:lnTo>
                      <a:lnTo>
                        <a:pt x="763049" y="95838"/>
                      </a:lnTo>
                      <a:lnTo>
                        <a:pt x="763750" y="93582"/>
                      </a:lnTo>
                      <a:lnTo>
                        <a:pt x="765056" y="92594"/>
                      </a:lnTo>
                      <a:lnTo>
                        <a:pt x="770292" y="93154"/>
                      </a:lnTo>
                      <a:lnTo>
                        <a:pt x="773310" y="91912"/>
                      </a:lnTo>
                      <a:lnTo>
                        <a:pt x="774989" y="92025"/>
                      </a:lnTo>
                      <a:lnTo>
                        <a:pt x="776401" y="94030"/>
                      </a:lnTo>
                      <a:lnTo>
                        <a:pt x="776533" y="95966"/>
                      </a:lnTo>
                      <a:lnTo>
                        <a:pt x="775774" y="102440"/>
                      </a:lnTo>
                      <a:lnTo>
                        <a:pt x="779427" y="108029"/>
                      </a:lnTo>
                      <a:lnTo>
                        <a:pt x="780075" y="101659"/>
                      </a:lnTo>
                      <a:lnTo>
                        <a:pt x="779008" y="90319"/>
                      </a:lnTo>
                      <a:lnTo>
                        <a:pt x="777494" y="81039"/>
                      </a:lnTo>
                      <a:lnTo>
                        <a:pt x="779315" y="80438"/>
                      </a:lnTo>
                      <a:lnTo>
                        <a:pt x="782736" y="78010"/>
                      </a:lnTo>
                      <a:lnTo>
                        <a:pt x="784646" y="78007"/>
                      </a:lnTo>
                      <a:lnTo>
                        <a:pt x="784497" y="75862"/>
                      </a:lnTo>
                      <a:lnTo>
                        <a:pt x="765716" y="83368"/>
                      </a:lnTo>
                      <a:lnTo>
                        <a:pt x="755693" y="84142"/>
                      </a:lnTo>
                      <a:lnTo>
                        <a:pt x="747158" y="75937"/>
                      </a:lnTo>
                      <a:lnTo>
                        <a:pt x="751536" y="69450"/>
                      </a:lnTo>
                      <a:lnTo>
                        <a:pt x="768565" y="67490"/>
                      </a:lnTo>
                      <a:lnTo>
                        <a:pt x="770980" y="66034"/>
                      </a:lnTo>
                      <a:lnTo>
                        <a:pt x="772659" y="63683"/>
                      </a:lnTo>
                      <a:lnTo>
                        <a:pt x="775871" y="57312"/>
                      </a:lnTo>
                      <a:lnTo>
                        <a:pt x="779288" y="53308"/>
                      </a:lnTo>
                      <a:lnTo>
                        <a:pt x="780458" y="50355"/>
                      </a:lnTo>
                      <a:lnTo>
                        <a:pt x="780671" y="44960"/>
                      </a:lnTo>
                      <a:lnTo>
                        <a:pt x="771724" y="51476"/>
                      </a:lnTo>
                      <a:lnTo>
                        <a:pt x="770339" y="51877"/>
                      </a:lnTo>
                      <a:lnTo>
                        <a:pt x="768084" y="56632"/>
                      </a:lnTo>
                      <a:lnTo>
                        <a:pt x="764924" y="58403"/>
                      </a:lnTo>
                      <a:lnTo>
                        <a:pt x="750739" y="56585"/>
                      </a:lnTo>
                      <a:lnTo>
                        <a:pt x="749713" y="57807"/>
                      </a:lnTo>
                      <a:lnTo>
                        <a:pt x="748542" y="62893"/>
                      </a:lnTo>
                      <a:lnTo>
                        <a:pt x="747186" y="64106"/>
                      </a:lnTo>
                      <a:lnTo>
                        <a:pt x="737349" y="68437"/>
                      </a:lnTo>
                      <a:lnTo>
                        <a:pt x="733598" y="67104"/>
                      </a:lnTo>
                      <a:lnTo>
                        <a:pt x="726211" y="57455"/>
                      </a:lnTo>
                      <a:lnTo>
                        <a:pt x="724034" y="56108"/>
                      </a:lnTo>
                      <a:lnTo>
                        <a:pt x="712421" y="59173"/>
                      </a:lnTo>
                      <a:lnTo>
                        <a:pt x="708623" y="57015"/>
                      </a:lnTo>
                      <a:lnTo>
                        <a:pt x="706874" y="54400"/>
                      </a:lnTo>
                      <a:lnTo>
                        <a:pt x="702753" y="44006"/>
                      </a:lnTo>
                      <a:lnTo>
                        <a:pt x="702216" y="39729"/>
                      </a:lnTo>
                      <a:lnTo>
                        <a:pt x="704223" y="36392"/>
                      </a:lnTo>
                      <a:lnTo>
                        <a:pt x="706995" y="33542"/>
                      </a:lnTo>
                      <a:lnTo>
                        <a:pt x="708744" y="30582"/>
                      </a:lnTo>
                      <a:lnTo>
                        <a:pt x="692734" y="35268"/>
                      </a:lnTo>
                      <a:lnTo>
                        <a:pt x="687283" y="34359"/>
                      </a:lnTo>
                      <a:lnTo>
                        <a:pt x="685177" y="33153"/>
                      </a:lnTo>
                      <a:lnTo>
                        <a:pt x="683566" y="31552"/>
                      </a:lnTo>
                      <a:lnTo>
                        <a:pt x="682207" y="29317"/>
                      </a:lnTo>
                      <a:lnTo>
                        <a:pt x="680773" y="26228"/>
                      </a:lnTo>
                      <a:lnTo>
                        <a:pt x="679003" y="23790"/>
                      </a:lnTo>
                      <a:lnTo>
                        <a:pt x="675125" y="21563"/>
                      </a:lnTo>
                      <a:lnTo>
                        <a:pt x="674429" y="20899"/>
                      </a:lnTo>
                      <a:lnTo>
                        <a:pt x="677015" y="15297"/>
                      </a:lnTo>
                      <a:close/>
                      <a:moveTo>
                        <a:pt x="618325" y="13918"/>
                      </a:moveTo>
                      <a:lnTo>
                        <a:pt x="623505" y="16155"/>
                      </a:lnTo>
                      <a:lnTo>
                        <a:pt x="627361" y="19154"/>
                      </a:lnTo>
                      <a:lnTo>
                        <a:pt x="629355" y="22690"/>
                      </a:lnTo>
                      <a:lnTo>
                        <a:pt x="629592" y="27970"/>
                      </a:lnTo>
                      <a:lnTo>
                        <a:pt x="628110" y="36115"/>
                      </a:lnTo>
                      <a:lnTo>
                        <a:pt x="626185" y="42452"/>
                      </a:lnTo>
                      <a:lnTo>
                        <a:pt x="625357" y="46176"/>
                      </a:lnTo>
                      <a:lnTo>
                        <a:pt x="625038" y="52382"/>
                      </a:lnTo>
                      <a:lnTo>
                        <a:pt x="624749" y="53945"/>
                      </a:lnTo>
                      <a:lnTo>
                        <a:pt x="624651" y="55524"/>
                      </a:lnTo>
                      <a:lnTo>
                        <a:pt x="625123" y="57583"/>
                      </a:lnTo>
                      <a:lnTo>
                        <a:pt x="627174" y="62948"/>
                      </a:lnTo>
                      <a:lnTo>
                        <a:pt x="627444" y="63384"/>
                      </a:lnTo>
                      <a:lnTo>
                        <a:pt x="628136" y="68813"/>
                      </a:lnTo>
                      <a:lnTo>
                        <a:pt x="628167" y="71864"/>
                      </a:lnTo>
                      <a:lnTo>
                        <a:pt x="627381" y="73716"/>
                      </a:lnTo>
                      <a:lnTo>
                        <a:pt x="625600" y="75516"/>
                      </a:lnTo>
                      <a:lnTo>
                        <a:pt x="622834" y="76206"/>
                      </a:lnTo>
                      <a:lnTo>
                        <a:pt x="620102" y="74558"/>
                      </a:lnTo>
                      <a:lnTo>
                        <a:pt x="617641" y="72307"/>
                      </a:lnTo>
                      <a:lnTo>
                        <a:pt x="615649" y="71215"/>
                      </a:lnTo>
                      <a:lnTo>
                        <a:pt x="614125" y="72352"/>
                      </a:lnTo>
                      <a:lnTo>
                        <a:pt x="612604" y="77147"/>
                      </a:lnTo>
                      <a:lnTo>
                        <a:pt x="611098" y="78298"/>
                      </a:lnTo>
                      <a:lnTo>
                        <a:pt x="609820" y="78764"/>
                      </a:lnTo>
                      <a:lnTo>
                        <a:pt x="607336" y="80646"/>
                      </a:lnTo>
                      <a:lnTo>
                        <a:pt x="605942" y="81100"/>
                      </a:lnTo>
                      <a:lnTo>
                        <a:pt x="604212" y="80501"/>
                      </a:lnTo>
                      <a:lnTo>
                        <a:pt x="604193" y="78784"/>
                      </a:lnTo>
                      <a:lnTo>
                        <a:pt x="604866" y="76392"/>
                      </a:lnTo>
                      <a:lnTo>
                        <a:pt x="605213" y="73831"/>
                      </a:lnTo>
                      <a:lnTo>
                        <a:pt x="605288" y="66484"/>
                      </a:lnTo>
                      <a:lnTo>
                        <a:pt x="604949" y="62772"/>
                      </a:lnTo>
                      <a:lnTo>
                        <a:pt x="603778" y="59756"/>
                      </a:lnTo>
                      <a:lnTo>
                        <a:pt x="601914" y="58613"/>
                      </a:lnTo>
                      <a:lnTo>
                        <a:pt x="600551" y="60347"/>
                      </a:lnTo>
                      <a:lnTo>
                        <a:pt x="600115" y="64164"/>
                      </a:lnTo>
                      <a:lnTo>
                        <a:pt x="600974" y="69288"/>
                      </a:lnTo>
                      <a:lnTo>
                        <a:pt x="595422" y="69526"/>
                      </a:lnTo>
                      <a:lnTo>
                        <a:pt x="596024" y="75198"/>
                      </a:lnTo>
                      <a:lnTo>
                        <a:pt x="594413" y="76645"/>
                      </a:lnTo>
                      <a:lnTo>
                        <a:pt x="589840" y="74487"/>
                      </a:lnTo>
                      <a:lnTo>
                        <a:pt x="587744" y="74700"/>
                      </a:lnTo>
                      <a:lnTo>
                        <a:pt x="585422" y="73657"/>
                      </a:lnTo>
                      <a:lnTo>
                        <a:pt x="583222" y="71370"/>
                      </a:lnTo>
                      <a:lnTo>
                        <a:pt x="581429" y="67756"/>
                      </a:lnTo>
                      <a:lnTo>
                        <a:pt x="580256" y="63993"/>
                      </a:lnTo>
                      <a:lnTo>
                        <a:pt x="580006" y="61906"/>
                      </a:lnTo>
                      <a:lnTo>
                        <a:pt x="580166" y="59510"/>
                      </a:lnTo>
                      <a:lnTo>
                        <a:pt x="580141" y="54714"/>
                      </a:lnTo>
                      <a:lnTo>
                        <a:pt x="580474" y="45404"/>
                      </a:lnTo>
                      <a:lnTo>
                        <a:pt x="582052" y="38024"/>
                      </a:lnTo>
                      <a:lnTo>
                        <a:pt x="584420" y="32695"/>
                      </a:lnTo>
                      <a:lnTo>
                        <a:pt x="587201" y="29542"/>
                      </a:lnTo>
                      <a:lnTo>
                        <a:pt x="594451" y="26650"/>
                      </a:lnTo>
                      <a:lnTo>
                        <a:pt x="596617" y="24645"/>
                      </a:lnTo>
                      <a:lnTo>
                        <a:pt x="596638" y="23603"/>
                      </a:lnTo>
                      <a:lnTo>
                        <a:pt x="596627" y="21379"/>
                      </a:lnTo>
                      <a:lnTo>
                        <a:pt x="596732" y="18999"/>
                      </a:lnTo>
                      <a:lnTo>
                        <a:pt x="597079" y="17338"/>
                      </a:lnTo>
                      <a:lnTo>
                        <a:pt x="598204" y="16024"/>
                      </a:lnTo>
                      <a:lnTo>
                        <a:pt x="601233" y="14880"/>
                      </a:lnTo>
                      <a:close/>
                      <a:moveTo>
                        <a:pt x="438406" y="12946"/>
                      </a:moveTo>
                      <a:lnTo>
                        <a:pt x="439435" y="13865"/>
                      </a:lnTo>
                      <a:lnTo>
                        <a:pt x="440111" y="15145"/>
                      </a:lnTo>
                      <a:lnTo>
                        <a:pt x="442463" y="20689"/>
                      </a:lnTo>
                      <a:lnTo>
                        <a:pt x="442472" y="25353"/>
                      </a:lnTo>
                      <a:lnTo>
                        <a:pt x="442310" y="28393"/>
                      </a:lnTo>
                      <a:lnTo>
                        <a:pt x="444114" y="32220"/>
                      </a:lnTo>
                      <a:lnTo>
                        <a:pt x="444914" y="34661"/>
                      </a:lnTo>
                      <a:lnTo>
                        <a:pt x="445380" y="37097"/>
                      </a:lnTo>
                      <a:lnTo>
                        <a:pt x="445239" y="41430"/>
                      </a:lnTo>
                      <a:lnTo>
                        <a:pt x="442942" y="46415"/>
                      </a:lnTo>
                      <a:lnTo>
                        <a:pt x="442491" y="48491"/>
                      </a:lnTo>
                      <a:lnTo>
                        <a:pt x="442528" y="50121"/>
                      </a:lnTo>
                      <a:lnTo>
                        <a:pt x="442726" y="51746"/>
                      </a:lnTo>
                      <a:lnTo>
                        <a:pt x="443077" y="53315"/>
                      </a:lnTo>
                      <a:lnTo>
                        <a:pt x="442799" y="55020"/>
                      </a:lnTo>
                      <a:lnTo>
                        <a:pt x="436753" y="61994"/>
                      </a:lnTo>
                      <a:lnTo>
                        <a:pt x="432838" y="63580"/>
                      </a:lnTo>
                      <a:lnTo>
                        <a:pt x="428349" y="61562"/>
                      </a:lnTo>
                      <a:lnTo>
                        <a:pt x="419780" y="53462"/>
                      </a:lnTo>
                      <a:lnTo>
                        <a:pt x="417164" y="51753"/>
                      </a:lnTo>
                      <a:lnTo>
                        <a:pt x="415527" y="49648"/>
                      </a:lnTo>
                      <a:lnTo>
                        <a:pt x="416175" y="47470"/>
                      </a:lnTo>
                      <a:lnTo>
                        <a:pt x="421266" y="43652"/>
                      </a:lnTo>
                      <a:lnTo>
                        <a:pt x="423464" y="43146"/>
                      </a:lnTo>
                      <a:lnTo>
                        <a:pt x="424885" y="44426"/>
                      </a:lnTo>
                      <a:lnTo>
                        <a:pt x="426249" y="47590"/>
                      </a:lnTo>
                      <a:lnTo>
                        <a:pt x="427565" y="47409"/>
                      </a:lnTo>
                      <a:lnTo>
                        <a:pt x="427284" y="37758"/>
                      </a:lnTo>
                      <a:lnTo>
                        <a:pt x="429131" y="35149"/>
                      </a:lnTo>
                      <a:lnTo>
                        <a:pt x="431833" y="33746"/>
                      </a:lnTo>
                      <a:lnTo>
                        <a:pt x="431877" y="32184"/>
                      </a:lnTo>
                      <a:lnTo>
                        <a:pt x="429575" y="29785"/>
                      </a:lnTo>
                      <a:lnTo>
                        <a:pt x="428721" y="27230"/>
                      </a:lnTo>
                      <a:lnTo>
                        <a:pt x="428919" y="25721"/>
                      </a:lnTo>
                      <a:lnTo>
                        <a:pt x="428473" y="24410"/>
                      </a:lnTo>
                      <a:lnTo>
                        <a:pt x="426796" y="22546"/>
                      </a:lnTo>
                      <a:lnTo>
                        <a:pt x="425932" y="21298"/>
                      </a:lnTo>
                      <a:lnTo>
                        <a:pt x="426168" y="19788"/>
                      </a:lnTo>
                      <a:lnTo>
                        <a:pt x="427746" y="18647"/>
                      </a:lnTo>
                      <a:lnTo>
                        <a:pt x="431243" y="18662"/>
                      </a:lnTo>
                      <a:lnTo>
                        <a:pt x="432482" y="19155"/>
                      </a:lnTo>
                      <a:lnTo>
                        <a:pt x="433258" y="19814"/>
                      </a:lnTo>
                      <a:lnTo>
                        <a:pt x="433607" y="19203"/>
                      </a:lnTo>
                      <a:lnTo>
                        <a:pt x="433656" y="17924"/>
                      </a:lnTo>
                      <a:lnTo>
                        <a:pt x="434092" y="16031"/>
                      </a:lnTo>
                      <a:lnTo>
                        <a:pt x="435034" y="13763"/>
                      </a:lnTo>
                      <a:lnTo>
                        <a:pt x="436093" y="13404"/>
                      </a:lnTo>
                      <a:lnTo>
                        <a:pt x="436986" y="14228"/>
                      </a:lnTo>
                      <a:lnTo>
                        <a:pt x="437760" y="13888"/>
                      </a:lnTo>
                      <a:close/>
                      <a:moveTo>
                        <a:pt x="494234" y="0"/>
                      </a:moveTo>
                      <a:lnTo>
                        <a:pt x="495682" y="1716"/>
                      </a:lnTo>
                      <a:lnTo>
                        <a:pt x="496431" y="5743"/>
                      </a:lnTo>
                      <a:lnTo>
                        <a:pt x="496884" y="10369"/>
                      </a:lnTo>
                      <a:lnTo>
                        <a:pt x="497426" y="13854"/>
                      </a:lnTo>
                      <a:lnTo>
                        <a:pt x="499143" y="17713"/>
                      </a:lnTo>
                      <a:lnTo>
                        <a:pt x="501350" y="20697"/>
                      </a:lnTo>
                      <a:lnTo>
                        <a:pt x="503678" y="22609"/>
                      </a:lnTo>
                      <a:lnTo>
                        <a:pt x="505758" y="23263"/>
                      </a:lnTo>
                      <a:lnTo>
                        <a:pt x="508266" y="27165"/>
                      </a:lnTo>
                      <a:lnTo>
                        <a:pt x="509806" y="35131"/>
                      </a:lnTo>
                      <a:lnTo>
                        <a:pt x="511652" y="41177"/>
                      </a:lnTo>
                      <a:lnTo>
                        <a:pt x="515042" y="39270"/>
                      </a:lnTo>
                      <a:lnTo>
                        <a:pt x="515884" y="36066"/>
                      </a:lnTo>
                      <a:lnTo>
                        <a:pt x="517105" y="26945"/>
                      </a:lnTo>
                      <a:lnTo>
                        <a:pt x="517854" y="25036"/>
                      </a:lnTo>
                      <a:lnTo>
                        <a:pt x="520040" y="25670"/>
                      </a:lnTo>
                      <a:lnTo>
                        <a:pt x="526089" y="31825"/>
                      </a:lnTo>
                      <a:lnTo>
                        <a:pt x="525058" y="38342"/>
                      </a:lnTo>
                      <a:lnTo>
                        <a:pt x="526107" y="42779"/>
                      </a:lnTo>
                      <a:lnTo>
                        <a:pt x="528489" y="45863"/>
                      </a:lnTo>
                      <a:lnTo>
                        <a:pt x="531476" y="48378"/>
                      </a:lnTo>
                      <a:lnTo>
                        <a:pt x="547019" y="57117"/>
                      </a:lnTo>
                      <a:lnTo>
                        <a:pt x="552014" y="56881"/>
                      </a:lnTo>
                      <a:lnTo>
                        <a:pt x="552111" y="59464"/>
                      </a:lnTo>
                      <a:lnTo>
                        <a:pt x="540501" y="63803"/>
                      </a:lnTo>
                      <a:lnTo>
                        <a:pt x="537017" y="67059"/>
                      </a:lnTo>
                      <a:lnTo>
                        <a:pt x="538628" y="70239"/>
                      </a:lnTo>
                      <a:lnTo>
                        <a:pt x="538089" y="72915"/>
                      </a:lnTo>
                      <a:lnTo>
                        <a:pt x="536494" y="75080"/>
                      </a:lnTo>
                      <a:lnTo>
                        <a:pt x="532044" y="78395"/>
                      </a:lnTo>
                      <a:lnTo>
                        <a:pt x="513319" y="78962"/>
                      </a:lnTo>
                      <a:lnTo>
                        <a:pt x="508124" y="76676"/>
                      </a:lnTo>
                      <a:lnTo>
                        <a:pt x="504771" y="70464"/>
                      </a:lnTo>
                      <a:lnTo>
                        <a:pt x="504477" y="67760"/>
                      </a:lnTo>
                      <a:lnTo>
                        <a:pt x="504368" y="57387"/>
                      </a:lnTo>
                      <a:lnTo>
                        <a:pt x="504026" y="53095"/>
                      </a:lnTo>
                      <a:lnTo>
                        <a:pt x="503372" y="51469"/>
                      </a:lnTo>
                      <a:lnTo>
                        <a:pt x="502471" y="50484"/>
                      </a:lnTo>
                      <a:lnTo>
                        <a:pt x="501318" y="48156"/>
                      </a:lnTo>
                      <a:lnTo>
                        <a:pt x="498140" y="37621"/>
                      </a:lnTo>
                      <a:lnTo>
                        <a:pt x="496966" y="35096"/>
                      </a:lnTo>
                      <a:lnTo>
                        <a:pt x="494679" y="31733"/>
                      </a:lnTo>
                      <a:lnTo>
                        <a:pt x="493503" y="29405"/>
                      </a:lnTo>
                      <a:lnTo>
                        <a:pt x="489730" y="24704"/>
                      </a:lnTo>
                      <a:lnTo>
                        <a:pt x="480982" y="20843"/>
                      </a:lnTo>
                      <a:lnTo>
                        <a:pt x="478203" y="14393"/>
                      </a:lnTo>
                      <a:lnTo>
                        <a:pt x="479569" y="12122"/>
                      </a:lnTo>
                      <a:lnTo>
                        <a:pt x="481188" y="12149"/>
                      </a:lnTo>
                      <a:lnTo>
                        <a:pt x="484579" y="14220"/>
                      </a:lnTo>
                      <a:lnTo>
                        <a:pt x="484512" y="11860"/>
                      </a:lnTo>
                      <a:lnTo>
                        <a:pt x="484020" y="7909"/>
                      </a:lnTo>
                      <a:lnTo>
                        <a:pt x="487088" y="4071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3175" cap="rnd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form 59">
                  <a:extLst>
                    <a:ext uri="{FF2B5EF4-FFF2-40B4-BE49-F238E27FC236}">
                      <a16:creationId xmlns:a16="http://schemas.microsoft.com/office/drawing/2014/main" id="{29063BCD-AD9A-4346-8228-0B7C3C57370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7"/>
                  </p:custDataLst>
                </p:nvPr>
              </p:nvSpPr>
              <p:spPr>
                <a:xfrm>
                  <a:off x="1988164" y="2796139"/>
                  <a:ext cx="656000" cy="4456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7852" h="480915">
                      <a:moveTo>
                        <a:pt x="44276" y="335162"/>
                      </a:moveTo>
                      <a:lnTo>
                        <a:pt x="55454" y="338369"/>
                      </a:lnTo>
                      <a:lnTo>
                        <a:pt x="56952" y="337913"/>
                      </a:lnTo>
                      <a:lnTo>
                        <a:pt x="58556" y="336905"/>
                      </a:lnTo>
                      <a:lnTo>
                        <a:pt x="60027" y="336588"/>
                      </a:lnTo>
                      <a:lnTo>
                        <a:pt x="61079" y="338254"/>
                      </a:lnTo>
                      <a:lnTo>
                        <a:pt x="61732" y="340688"/>
                      </a:lnTo>
                      <a:lnTo>
                        <a:pt x="62467" y="342767"/>
                      </a:lnTo>
                      <a:lnTo>
                        <a:pt x="63488" y="344254"/>
                      </a:lnTo>
                      <a:lnTo>
                        <a:pt x="64903" y="345001"/>
                      </a:lnTo>
                      <a:lnTo>
                        <a:pt x="72079" y="346124"/>
                      </a:lnTo>
                      <a:lnTo>
                        <a:pt x="74969" y="348012"/>
                      </a:lnTo>
                      <a:lnTo>
                        <a:pt x="74811" y="351723"/>
                      </a:lnTo>
                      <a:lnTo>
                        <a:pt x="73256" y="352414"/>
                      </a:lnTo>
                      <a:lnTo>
                        <a:pt x="71910" y="353962"/>
                      </a:lnTo>
                      <a:lnTo>
                        <a:pt x="70818" y="356277"/>
                      </a:lnTo>
                      <a:lnTo>
                        <a:pt x="69998" y="359330"/>
                      </a:lnTo>
                      <a:lnTo>
                        <a:pt x="70042" y="360786"/>
                      </a:lnTo>
                      <a:lnTo>
                        <a:pt x="70452" y="362486"/>
                      </a:lnTo>
                      <a:lnTo>
                        <a:pt x="70997" y="363623"/>
                      </a:lnTo>
                      <a:lnTo>
                        <a:pt x="71477" y="363341"/>
                      </a:lnTo>
                      <a:lnTo>
                        <a:pt x="69716" y="367563"/>
                      </a:lnTo>
                      <a:lnTo>
                        <a:pt x="69300" y="368917"/>
                      </a:lnTo>
                      <a:lnTo>
                        <a:pt x="66854" y="371114"/>
                      </a:lnTo>
                      <a:lnTo>
                        <a:pt x="53626" y="374328"/>
                      </a:lnTo>
                      <a:lnTo>
                        <a:pt x="29281" y="369014"/>
                      </a:lnTo>
                      <a:lnTo>
                        <a:pt x="27984" y="367985"/>
                      </a:lnTo>
                      <a:lnTo>
                        <a:pt x="26954" y="366750"/>
                      </a:lnTo>
                      <a:lnTo>
                        <a:pt x="26215" y="364151"/>
                      </a:lnTo>
                      <a:lnTo>
                        <a:pt x="26159" y="361342"/>
                      </a:lnTo>
                      <a:lnTo>
                        <a:pt x="25881" y="358648"/>
                      </a:lnTo>
                      <a:lnTo>
                        <a:pt x="24387" y="356374"/>
                      </a:lnTo>
                      <a:lnTo>
                        <a:pt x="36721" y="361403"/>
                      </a:lnTo>
                      <a:lnTo>
                        <a:pt x="40756" y="359580"/>
                      </a:lnTo>
                      <a:lnTo>
                        <a:pt x="38448" y="356948"/>
                      </a:lnTo>
                      <a:lnTo>
                        <a:pt x="35540" y="354874"/>
                      </a:lnTo>
                      <a:lnTo>
                        <a:pt x="29695" y="352609"/>
                      </a:lnTo>
                      <a:lnTo>
                        <a:pt x="28049" y="350981"/>
                      </a:lnTo>
                      <a:lnTo>
                        <a:pt x="29469" y="348476"/>
                      </a:lnTo>
                      <a:lnTo>
                        <a:pt x="32410" y="346513"/>
                      </a:lnTo>
                      <a:lnTo>
                        <a:pt x="35348" y="346486"/>
                      </a:lnTo>
                      <a:lnTo>
                        <a:pt x="35085" y="345229"/>
                      </a:lnTo>
                      <a:lnTo>
                        <a:pt x="34955" y="344041"/>
                      </a:lnTo>
                      <a:lnTo>
                        <a:pt x="34701" y="342873"/>
                      </a:lnTo>
                      <a:lnTo>
                        <a:pt x="34062" y="341628"/>
                      </a:lnTo>
                      <a:lnTo>
                        <a:pt x="38352" y="335984"/>
                      </a:lnTo>
                      <a:close/>
                      <a:moveTo>
                        <a:pt x="64199" y="315195"/>
                      </a:moveTo>
                      <a:lnTo>
                        <a:pt x="67205" y="315589"/>
                      </a:lnTo>
                      <a:lnTo>
                        <a:pt x="67736" y="316423"/>
                      </a:lnTo>
                      <a:lnTo>
                        <a:pt x="67771" y="317492"/>
                      </a:lnTo>
                      <a:lnTo>
                        <a:pt x="69152" y="317213"/>
                      </a:lnTo>
                      <a:lnTo>
                        <a:pt x="70946" y="317903"/>
                      </a:lnTo>
                      <a:lnTo>
                        <a:pt x="70380" y="321637"/>
                      </a:lnTo>
                      <a:lnTo>
                        <a:pt x="68393" y="325441"/>
                      </a:lnTo>
                      <a:lnTo>
                        <a:pt x="67941" y="327045"/>
                      </a:lnTo>
                      <a:lnTo>
                        <a:pt x="68732" y="327428"/>
                      </a:lnTo>
                      <a:lnTo>
                        <a:pt x="66703" y="329073"/>
                      </a:lnTo>
                      <a:lnTo>
                        <a:pt x="61705" y="329970"/>
                      </a:lnTo>
                      <a:lnTo>
                        <a:pt x="57948" y="328756"/>
                      </a:lnTo>
                      <a:lnTo>
                        <a:pt x="57379" y="326938"/>
                      </a:lnTo>
                      <a:lnTo>
                        <a:pt x="57261" y="326098"/>
                      </a:lnTo>
                      <a:lnTo>
                        <a:pt x="55921" y="326498"/>
                      </a:lnTo>
                      <a:lnTo>
                        <a:pt x="54826" y="327561"/>
                      </a:lnTo>
                      <a:lnTo>
                        <a:pt x="53844" y="329006"/>
                      </a:lnTo>
                      <a:lnTo>
                        <a:pt x="51645" y="328750"/>
                      </a:lnTo>
                      <a:lnTo>
                        <a:pt x="48525" y="326236"/>
                      </a:lnTo>
                      <a:lnTo>
                        <a:pt x="47073" y="324518"/>
                      </a:lnTo>
                      <a:lnTo>
                        <a:pt x="48455" y="323008"/>
                      </a:lnTo>
                      <a:lnTo>
                        <a:pt x="52192" y="320925"/>
                      </a:lnTo>
                      <a:lnTo>
                        <a:pt x="56216" y="320531"/>
                      </a:lnTo>
                      <a:lnTo>
                        <a:pt x="59090" y="321547"/>
                      </a:lnTo>
                      <a:lnTo>
                        <a:pt x="60329" y="320841"/>
                      </a:lnTo>
                      <a:lnTo>
                        <a:pt x="60755" y="317782"/>
                      </a:lnTo>
                      <a:lnTo>
                        <a:pt x="62199" y="315726"/>
                      </a:lnTo>
                      <a:close/>
                      <a:moveTo>
                        <a:pt x="37266" y="308164"/>
                      </a:moveTo>
                      <a:lnTo>
                        <a:pt x="40881" y="309519"/>
                      </a:lnTo>
                      <a:lnTo>
                        <a:pt x="43173" y="312365"/>
                      </a:lnTo>
                      <a:lnTo>
                        <a:pt x="45689" y="313645"/>
                      </a:lnTo>
                      <a:lnTo>
                        <a:pt x="47708" y="315576"/>
                      </a:lnTo>
                      <a:lnTo>
                        <a:pt x="47278" y="318905"/>
                      </a:lnTo>
                      <a:lnTo>
                        <a:pt x="46361" y="320490"/>
                      </a:lnTo>
                      <a:lnTo>
                        <a:pt x="43387" y="321502"/>
                      </a:lnTo>
                      <a:lnTo>
                        <a:pt x="37734" y="321643"/>
                      </a:lnTo>
                      <a:lnTo>
                        <a:pt x="34610" y="319926"/>
                      </a:lnTo>
                      <a:lnTo>
                        <a:pt x="34073" y="317898"/>
                      </a:lnTo>
                      <a:lnTo>
                        <a:pt x="34301" y="316105"/>
                      </a:lnTo>
                      <a:lnTo>
                        <a:pt x="34866" y="314839"/>
                      </a:lnTo>
                      <a:lnTo>
                        <a:pt x="34739" y="309678"/>
                      </a:lnTo>
                      <a:close/>
                      <a:moveTo>
                        <a:pt x="120208" y="300242"/>
                      </a:moveTo>
                      <a:lnTo>
                        <a:pt x="148683" y="302940"/>
                      </a:lnTo>
                      <a:lnTo>
                        <a:pt x="150804" y="304579"/>
                      </a:lnTo>
                      <a:lnTo>
                        <a:pt x="157020" y="311899"/>
                      </a:lnTo>
                      <a:lnTo>
                        <a:pt x="163430" y="312591"/>
                      </a:lnTo>
                      <a:lnTo>
                        <a:pt x="166127" y="313916"/>
                      </a:lnTo>
                      <a:lnTo>
                        <a:pt x="167151" y="318341"/>
                      </a:lnTo>
                      <a:lnTo>
                        <a:pt x="166378" y="318227"/>
                      </a:lnTo>
                      <a:lnTo>
                        <a:pt x="165816" y="318697"/>
                      </a:lnTo>
                      <a:lnTo>
                        <a:pt x="165238" y="319478"/>
                      </a:lnTo>
                      <a:lnTo>
                        <a:pt x="164500" y="320259"/>
                      </a:lnTo>
                      <a:lnTo>
                        <a:pt x="139903" y="318322"/>
                      </a:lnTo>
                      <a:lnTo>
                        <a:pt x="128565" y="314145"/>
                      </a:lnTo>
                      <a:close/>
                      <a:moveTo>
                        <a:pt x="103002" y="299654"/>
                      </a:moveTo>
                      <a:lnTo>
                        <a:pt x="107105" y="301077"/>
                      </a:lnTo>
                      <a:lnTo>
                        <a:pt x="110130" y="305433"/>
                      </a:lnTo>
                      <a:lnTo>
                        <a:pt x="112133" y="313149"/>
                      </a:lnTo>
                      <a:lnTo>
                        <a:pt x="112128" y="316729"/>
                      </a:lnTo>
                      <a:lnTo>
                        <a:pt x="111705" y="320561"/>
                      </a:lnTo>
                      <a:lnTo>
                        <a:pt x="111924" y="323798"/>
                      </a:lnTo>
                      <a:lnTo>
                        <a:pt x="113801" y="325469"/>
                      </a:lnTo>
                      <a:lnTo>
                        <a:pt x="115829" y="326625"/>
                      </a:lnTo>
                      <a:lnTo>
                        <a:pt x="121305" y="331865"/>
                      </a:lnTo>
                      <a:lnTo>
                        <a:pt x="122881" y="334395"/>
                      </a:lnTo>
                      <a:lnTo>
                        <a:pt x="121202" y="333995"/>
                      </a:lnTo>
                      <a:lnTo>
                        <a:pt x="119445" y="334095"/>
                      </a:lnTo>
                      <a:lnTo>
                        <a:pt x="115880" y="335488"/>
                      </a:lnTo>
                      <a:lnTo>
                        <a:pt x="85074" y="357685"/>
                      </a:lnTo>
                      <a:lnTo>
                        <a:pt x="74531" y="359110"/>
                      </a:lnTo>
                      <a:lnTo>
                        <a:pt x="76306" y="355579"/>
                      </a:lnTo>
                      <a:lnTo>
                        <a:pt x="80773" y="351819"/>
                      </a:lnTo>
                      <a:lnTo>
                        <a:pt x="83130" y="348499"/>
                      </a:lnTo>
                      <a:lnTo>
                        <a:pt x="82399" y="347929"/>
                      </a:lnTo>
                      <a:lnTo>
                        <a:pt x="81173" y="346319"/>
                      </a:lnTo>
                      <a:lnTo>
                        <a:pt x="80391" y="345812"/>
                      </a:lnTo>
                      <a:lnTo>
                        <a:pt x="83567" y="337100"/>
                      </a:lnTo>
                      <a:lnTo>
                        <a:pt x="82686" y="331141"/>
                      </a:lnTo>
                      <a:lnTo>
                        <a:pt x="80815" y="325865"/>
                      </a:lnTo>
                      <a:lnTo>
                        <a:pt x="80971" y="319228"/>
                      </a:lnTo>
                      <a:lnTo>
                        <a:pt x="84230" y="311625"/>
                      </a:lnTo>
                      <a:lnTo>
                        <a:pt x="88658" y="306308"/>
                      </a:lnTo>
                      <a:lnTo>
                        <a:pt x="93443" y="302864"/>
                      </a:lnTo>
                      <a:lnTo>
                        <a:pt x="97781" y="300797"/>
                      </a:lnTo>
                      <a:close/>
                      <a:moveTo>
                        <a:pt x="244950" y="218101"/>
                      </a:moveTo>
                      <a:lnTo>
                        <a:pt x="247783" y="219619"/>
                      </a:lnTo>
                      <a:lnTo>
                        <a:pt x="246275" y="221954"/>
                      </a:lnTo>
                      <a:lnTo>
                        <a:pt x="250548" y="223625"/>
                      </a:lnTo>
                      <a:lnTo>
                        <a:pt x="268879" y="218755"/>
                      </a:lnTo>
                      <a:lnTo>
                        <a:pt x="272764" y="220548"/>
                      </a:lnTo>
                      <a:lnTo>
                        <a:pt x="276153" y="224697"/>
                      </a:lnTo>
                      <a:lnTo>
                        <a:pt x="277583" y="230362"/>
                      </a:lnTo>
                      <a:lnTo>
                        <a:pt x="275629" y="236696"/>
                      </a:lnTo>
                      <a:lnTo>
                        <a:pt x="248594" y="239592"/>
                      </a:lnTo>
                      <a:lnTo>
                        <a:pt x="237115" y="244208"/>
                      </a:lnTo>
                      <a:lnTo>
                        <a:pt x="235368" y="244442"/>
                      </a:lnTo>
                      <a:lnTo>
                        <a:pt x="234920" y="242746"/>
                      </a:lnTo>
                      <a:lnTo>
                        <a:pt x="235288" y="239537"/>
                      </a:lnTo>
                      <a:lnTo>
                        <a:pt x="235016" y="237657"/>
                      </a:lnTo>
                      <a:lnTo>
                        <a:pt x="234139" y="236686"/>
                      </a:lnTo>
                      <a:lnTo>
                        <a:pt x="232690" y="236128"/>
                      </a:lnTo>
                      <a:lnTo>
                        <a:pt x="233065" y="234007"/>
                      </a:lnTo>
                      <a:lnTo>
                        <a:pt x="234635" y="233872"/>
                      </a:lnTo>
                      <a:lnTo>
                        <a:pt x="236201" y="233235"/>
                      </a:lnTo>
                      <a:lnTo>
                        <a:pt x="237751" y="232024"/>
                      </a:lnTo>
                      <a:lnTo>
                        <a:pt x="239309" y="230313"/>
                      </a:lnTo>
                      <a:lnTo>
                        <a:pt x="239420" y="223655"/>
                      </a:lnTo>
                      <a:lnTo>
                        <a:pt x="241747" y="219506"/>
                      </a:lnTo>
                      <a:close/>
                      <a:moveTo>
                        <a:pt x="265737" y="178954"/>
                      </a:moveTo>
                      <a:lnTo>
                        <a:pt x="267970" y="180489"/>
                      </a:lnTo>
                      <a:lnTo>
                        <a:pt x="271341" y="185598"/>
                      </a:lnTo>
                      <a:lnTo>
                        <a:pt x="275834" y="185155"/>
                      </a:lnTo>
                      <a:lnTo>
                        <a:pt x="281616" y="183048"/>
                      </a:lnTo>
                      <a:lnTo>
                        <a:pt x="286526" y="182959"/>
                      </a:lnTo>
                      <a:lnTo>
                        <a:pt x="288412" y="188574"/>
                      </a:lnTo>
                      <a:lnTo>
                        <a:pt x="287496" y="193902"/>
                      </a:lnTo>
                      <a:lnTo>
                        <a:pt x="280013" y="194745"/>
                      </a:lnTo>
                      <a:lnTo>
                        <a:pt x="276787" y="198327"/>
                      </a:lnTo>
                      <a:lnTo>
                        <a:pt x="278051" y="199463"/>
                      </a:lnTo>
                      <a:lnTo>
                        <a:pt x="279152" y="201854"/>
                      </a:lnTo>
                      <a:lnTo>
                        <a:pt x="279445" y="204992"/>
                      </a:lnTo>
                      <a:lnTo>
                        <a:pt x="278336" y="208400"/>
                      </a:lnTo>
                      <a:lnTo>
                        <a:pt x="275887" y="209731"/>
                      </a:lnTo>
                      <a:lnTo>
                        <a:pt x="273374" y="207650"/>
                      </a:lnTo>
                      <a:lnTo>
                        <a:pt x="269702" y="201876"/>
                      </a:lnTo>
                      <a:lnTo>
                        <a:pt x="261914" y="195721"/>
                      </a:lnTo>
                      <a:lnTo>
                        <a:pt x="260258" y="192284"/>
                      </a:lnTo>
                      <a:lnTo>
                        <a:pt x="260859" y="190560"/>
                      </a:lnTo>
                      <a:lnTo>
                        <a:pt x="262946" y="190327"/>
                      </a:lnTo>
                      <a:lnTo>
                        <a:pt x="265835" y="191408"/>
                      </a:lnTo>
                      <a:lnTo>
                        <a:pt x="263442" y="187484"/>
                      </a:lnTo>
                      <a:lnTo>
                        <a:pt x="262731" y="184686"/>
                      </a:lnTo>
                      <a:lnTo>
                        <a:pt x="263286" y="181581"/>
                      </a:lnTo>
                      <a:close/>
                      <a:moveTo>
                        <a:pt x="425318" y="122352"/>
                      </a:moveTo>
                      <a:lnTo>
                        <a:pt x="431506" y="128177"/>
                      </a:lnTo>
                      <a:lnTo>
                        <a:pt x="443273" y="124337"/>
                      </a:lnTo>
                      <a:lnTo>
                        <a:pt x="449246" y="124685"/>
                      </a:lnTo>
                      <a:lnTo>
                        <a:pt x="452605" y="131529"/>
                      </a:lnTo>
                      <a:lnTo>
                        <a:pt x="449296" y="137676"/>
                      </a:lnTo>
                      <a:lnTo>
                        <a:pt x="444249" y="143035"/>
                      </a:lnTo>
                      <a:lnTo>
                        <a:pt x="438856" y="146712"/>
                      </a:lnTo>
                      <a:lnTo>
                        <a:pt x="432757" y="147965"/>
                      </a:lnTo>
                      <a:lnTo>
                        <a:pt x="429706" y="149289"/>
                      </a:lnTo>
                      <a:lnTo>
                        <a:pt x="428171" y="149187"/>
                      </a:lnTo>
                      <a:lnTo>
                        <a:pt x="427106" y="148089"/>
                      </a:lnTo>
                      <a:lnTo>
                        <a:pt x="425579" y="144850"/>
                      </a:lnTo>
                      <a:lnTo>
                        <a:pt x="425091" y="144102"/>
                      </a:lnTo>
                      <a:lnTo>
                        <a:pt x="422367" y="142724"/>
                      </a:lnTo>
                      <a:lnTo>
                        <a:pt x="415087" y="134878"/>
                      </a:lnTo>
                      <a:lnTo>
                        <a:pt x="415426" y="132765"/>
                      </a:lnTo>
                      <a:lnTo>
                        <a:pt x="418206" y="132970"/>
                      </a:lnTo>
                      <a:lnTo>
                        <a:pt x="419872" y="129817"/>
                      </a:lnTo>
                      <a:lnTo>
                        <a:pt x="420873" y="125972"/>
                      </a:lnTo>
                      <a:lnTo>
                        <a:pt x="421772" y="124219"/>
                      </a:lnTo>
                      <a:lnTo>
                        <a:pt x="423066" y="123786"/>
                      </a:lnTo>
                      <a:lnTo>
                        <a:pt x="424169" y="122766"/>
                      </a:lnTo>
                      <a:close/>
                      <a:moveTo>
                        <a:pt x="603367" y="111571"/>
                      </a:moveTo>
                      <a:lnTo>
                        <a:pt x="596559" y="114081"/>
                      </a:lnTo>
                      <a:lnTo>
                        <a:pt x="595592" y="115558"/>
                      </a:lnTo>
                      <a:lnTo>
                        <a:pt x="595774" y="117363"/>
                      </a:lnTo>
                      <a:lnTo>
                        <a:pt x="600963" y="125943"/>
                      </a:lnTo>
                      <a:lnTo>
                        <a:pt x="601387" y="134166"/>
                      </a:lnTo>
                      <a:lnTo>
                        <a:pt x="607497" y="138231"/>
                      </a:lnTo>
                      <a:lnTo>
                        <a:pt x="614900" y="138159"/>
                      </a:lnTo>
                      <a:lnTo>
                        <a:pt x="623598" y="133877"/>
                      </a:lnTo>
                      <a:lnTo>
                        <a:pt x="629735" y="132263"/>
                      </a:lnTo>
                      <a:lnTo>
                        <a:pt x="645890" y="138892"/>
                      </a:lnTo>
                      <a:lnTo>
                        <a:pt x="655177" y="140728"/>
                      </a:lnTo>
                      <a:lnTo>
                        <a:pt x="657350" y="139113"/>
                      </a:lnTo>
                      <a:lnTo>
                        <a:pt x="658338" y="134773"/>
                      </a:lnTo>
                      <a:lnTo>
                        <a:pt x="658126" y="130351"/>
                      </a:lnTo>
                      <a:lnTo>
                        <a:pt x="658409" y="126646"/>
                      </a:lnTo>
                      <a:lnTo>
                        <a:pt x="659796" y="123859"/>
                      </a:lnTo>
                      <a:lnTo>
                        <a:pt x="662908" y="121234"/>
                      </a:lnTo>
                      <a:lnTo>
                        <a:pt x="669806" y="118052"/>
                      </a:lnTo>
                      <a:lnTo>
                        <a:pt x="677475" y="119370"/>
                      </a:lnTo>
                      <a:lnTo>
                        <a:pt x="690627" y="122273"/>
                      </a:lnTo>
                      <a:lnTo>
                        <a:pt x="697955" y="128659"/>
                      </a:lnTo>
                      <a:lnTo>
                        <a:pt x="698412" y="133138"/>
                      </a:lnTo>
                      <a:lnTo>
                        <a:pt x="697938" y="139512"/>
                      </a:lnTo>
                      <a:lnTo>
                        <a:pt x="696171" y="154605"/>
                      </a:lnTo>
                      <a:lnTo>
                        <a:pt x="696145" y="158136"/>
                      </a:lnTo>
                      <a:lnTo>
                        <a:pt x="696614" y="162381"/>
                      </a:lnTo>
                      <a:lnTo>
                        <a:pt x="695845" y="167851"/>
                      </a:lnTo>
                      <a:lnTo>
                        <a:pt x="694837" y="171431"/>
                      </a:lnTo>
                      <a:lnTo>
                        <a:pt x="695234" y="176786"/>
                      </a:lnTo>
                      <a:lnTo>
                        <a:pt x="699495" y="179846"/>
                      </a:lnTo>
                      <a:lnTo>
                        <a:pt x="702419" y="183711"/>
                      </a:lnTo>
                      <a:lnTo>
                        <a:pt x="705794" y="186832"/>
                      </a:lnTo>
                      <a:lnTo>
                        <a:pt x="707852" y="189860"/>
                      </a:lnTo>
                      <a:lnTo>
                        <a:pt x="703256" y="195215"/>
                      </a:lnTo>
                      <a:lnTo>
                        <a:pt x="688455" y="205945"/>
                      </a:lnTo>
                      <a:lnTo>
                        <a:pt x="684418" y="210476"/>
                      </a:lnTo>
                      <a:lnTo>
                        <a:pt x="682501" y="215253"/>
                      </a:lnTo>
                      <a:lnTo>
                        <a:pt x="682463" y="219511"/>
                      </a:lnTo>
                      <a:lnTo>
                        <a:pt x="682930" y="223432"/>
                      </a:lnTo>
                      <a:lnTo>
                        <a:pt x="682482" y="228693"/>
                      </a:lnTo>
                      <a:lnTo>
                        <a:pt x="681791" y="232812"/>
                      </a:lnTo>
                      <a:lnTo>
                        <a:pt x="673782" y="250625"/>
                      </a:lnTo>
                      <a:lnTo>
                        <a:pt x="665770" y="254386"/>
                      </a:lnTo>
                      <a:lnTo>
                        <a:pt x="654842" y="257908"/>
                      </a:lnTo>
                      <a:lnTo>
                        <a:pt x="596284" y="271724"/>
                      </a:lnTo>
                      <a:lnTo>
                        <a:pt x="594095" y="273672"/>
                      </a:lnTo>
                      <a:lnTo>
                        <a:pt x="593066" y="275710"/>
                      </a:lnTo>
                      <a:lnTo>
                        <a:pt x="593812" y="281250"/>
                      </a:lnTo>
                      <a:lnTo>
                        <a:pt x="623313" y="331018"/>
                      </a:lnTo>
                      <a:lnTo>
                        <a:pt x="625460" y="332992"/>
                      </a:lnTo>
                      <a:lnTo>
                        <a:pt x="632650" y="336239"/>
                      </a:lnTo>
                      <a:lnTo>
                        <a:pt x="633774" y="337141"/>
                      </a:lnTo>
                      <a:lnTo>
                        <a:pt x="634554" y="339114"/>
                      </a:lnTo>
                      <a:lnTo>
                        <a:pt x="634295" y="341775"/>
                      </a:lnTo>
                      <a:lnTo>
                        <a:pt x="632766" y="345716"/>
                      </a:lnTo>
                      <a:lnTo>
                        <a:pt x="629546" y="350906"/>
                      </a:lnTo>
                      <a:lnTo>
                        <a:pt x="626362" y="357038"/>
                      </a:lnTo>
                      <a:lnTo>
                        <a:pt x="623305" y="365964"/>
                      </a:lnTo>
                      <a:lnTo>
                        <a:pt x="621476" y="374842"/>
                      </a:lnTo>
                      <a:lnTo>
                        <a:pt x="618251" y="382013"/>
                      </a:lnTo>
                      <a:lnTo>
                        <a:pt x="615475" y="387153"/>
                      </a:lnTo>
                      <a:lnTo>
                        <a:pt x="601544" y="398944"/>
                      </a:lnTo>
                      <a:lnTo>
                        <a:pt x="590108" y="400691"/>
                      </a:lnTo>
                      <a:lnTo>
                        <a:pt x="581722" y="399046"/>
                      </a:lnTo>
                      <a:lnTo>
                        <a:pt x="564197" y="390438"/>
                      </a:lnTo>
                      <a:lnTo>
                        <a:pt x="531878" y="386729"/>
                      </a:lnTo>
                      <a:lnTo>
                        <a:pt x="493415" y="383779"/>
                      </a:lnTo>
                      <a:lnTo>
                        <a:pt x="474829" y="388511"/>
                      </a:lnTo>
                      <a:lnTo>
                        <a:pt x="454421" y="388504"/>
                      </a:lnTo>
                      <a:lnTo>
                        <a:pt x="451263" y="389087"/>
                      </a:lnTo>
                      <a:lnTo>
                        <a:pt x="449523" y="390384"/>
                      </a:lnTo>
                      <a:lnTo>
                        <a:pt x="447021" y="394420"/>
                      </a:lnTo>
                      <a:lnTo>
                        <a:pt x="435686" y="417767"/>
                      </a:lnTo>
                      <a:lnTo>
                        <a:pt x="432857" y="422068"/>
                      </a:lnTo>
                      <a:lnTo>
                        <a:pt x="428100" y="427562"/>
                      </a:lnTo>
                      <a:lnTo>
                        <a:pt x="423130" y="432216"/>
                      </a:lnTo>
                      <a:lnTo>
                        <a:pt x="414048" y="437266"/>
                      </a:lnTo>
                      <a:lnTo>
                        <a:pt x="403328" y="437165"/>
                      </a:lnTo>
                      <a:lnTo>
                        <a:pt x="393431" y="432768"/>
                      </a:lnTo>
                      <a:lnTo>
                        <a:pt x="388439" y="428743"/>
                      </a:lnTo>
                      <a:lnTo>
                        <a:pt x="385573" y="427833"/>
                      </a:lnTo>
                      <a:lnTo>
                        <a:pt x="381635" y="427621"/>
                      </a:lnTo>
                      <a:lnTo>
                        <a:pt x="378178" y="428625"/>
                      </a:lnTo>
                      <a:lnTo>
                        <a:pt x="375627" y="429873"/>
                      </a:lnTo>
                      <a:lnTo>
                        <a:pt x="371442" y="435185"/>
                      </a:lnTo>
                      <a:lnTo>
                        <a:pt x="365734" y="441235"/>
                      </a:lnTo>
                      <a:lnTo>
                        <a:pt x="356822" y="448090"/>
                      </a:lnTo>
                      <a:lnTo>
                        <a:pt x="353078" y="451665"/>
                      </a:lnTo>
                      <a:lnTo>
                        <a:pt x="352345" y="454969"/>
                      </a:lnTo>
                      <a:lnTo>
                        <a:pt x="352915" y="460441"/>
                      </a:lnTo>
                      <a:lnTo>
                        <a:pt x="351353" y="462105"/>
                      </a:lnTo>
                      <a:lnTo>
                        <a:pt x="348607" y="463072"/>
                      </a:lnTo>
                      <a:lnTo>
                        <a:pt x="344471" y="462354"/>
                      </a:lnTo>
                      <a:lnTo>
                        <a:pt x="341857" y="460605"/>
                      </a:lnTo>
                      <a:lnTo>
                        <a:pt x="337562" y="456479"/>
                      </a:lnTo>
                      <a:lnTo>
                        <a:pt x="333693" y="456217"/>
                      </a:lnTo>
                      <a:lnTo>
                        <a:pt x="327837" y="457808"/>
                      </a:lnTo>
                      <a:lnTo>
                        <a:pt x="312200" y="466320"/>
                      </a:lnTo>
                      <a:lnTo>
                        <a:pt x="303730" y="469032"/>
                      </a:lnTo>
                      <a:lnTo>
                        <a:pt x="272494" y="468774"/>
                      </a:lnTo>
                      <a:lnTo>
                        <a:pt x="267433" y="470688"/>
                      </a:lnTo>
                      <a:lnTo>
                        <a:pt x="253817" y="478179"/>
                      </a:lnTo>
                      <a:lnTo>
                        <a:pt x="215723" y="480915"/>
                      </a:lnTo>
                      <a:lnTo>
                        <a:pt x="212508" y="477800"/>
                      </a:lnTo>
                      <a:lnTo>
                        <a:pt x="210191" y="473490"/>
                      </a:lnTo>
                      <a:lnTo>
                        <a:pt x="204828" y="449469"/>
                      </a:lnTo>
                      <a:lnTo>
                        <a:pt x="200419" y="441280"/>
                      </a:lnTo>
                      <a:lnTo>
                        <a:pt x="166442" y="451594"/>
                      </a:lnTo>
                      <a:lnTo>
                        <a:pt x="162326" y="452157"/>
                      </a:lnTo>
                      <a:lnTo>
                        <a:pt x="157411" y="454936"/>
                      </a:lnTo>
                      <a:lnTo>
                        <a:pt x="149117" y="462514"/>
                      </a:lnTo>
                      <a:lnTo>
                        <a:pt x="145057" y="465752"/>
                      </a:lnTo>
                      <a:lnTo>
                        <a:pt x="141605" y="466549"/>
                      </a:lnTo>
                      <a:lnTo>
                        <a:pt x="136610" y="465880"/>
                      </a:lnTo>
                      <a:lnTo>
                        <a:pt x="130875" y="462481"/>
                      </a:lnTo>
                      <a:lnTo>
                        <a:pt x="126038" y="456126"/>
                      </a:lnTo>
                      <a:lnTo>
                        <a:pt x="125461" y="454665"/>
                      </a:lnTo>
                      <a:lnTo>
                        <a:pt x="125011" y="453909"/>
                      </a:lnTo>
                      <a:lnTo>
                        <a:pt x="123157" y="452302"/>
                      </a:lnTo>
                      <a:lnTo>
                        <a:pt x="120151" y="451264"/>
                      </a:lnTo>
                      <a:lnTo>
                        <a:pt x="112489" y="452569"/>
                      </a:lnTo>
                      <a:lnTo>
                        <a:pt x="112177" y="452875"/>
                      </a:lnTo>
                      <a:lnTo>
                        <a:pt x="110130" y="455385"/>
                      </a:lnTo>
                      <a:lnTo>
                        <a:pt x="109313" y="457325"/>
                      </a:lnTo>
                      <a:lnTo>
                        <a:pt x="108538" y="458853"/>
                      </a:lnTo>
                      <a:lnTo>
                        <a:pt x="107305" y="460406"/>
                      </a:lnTo>
                      <a:lnTo>
                        <a:pt x="104140" y="460635"/>
                      </a:lnTo>
                      <a:lnTo>
                        <a:pt x="98861" y="459374"/>
                      </a:lnTo>
                      <a:lnTo>
                        <a:pt x="77266" y="446044"/>
                      </a:lnTo>
                      <a:lnTo>
                        <a:pt x="56022" y="449739"/>
                      </a:lnTo>
                      <a:lnTo>
                        <a:pt x="44683" y="444345"/>
                      </a:lnTo>
                      <a:lnTo>
                        <a:pt x="18504" y="447806"/>
                      </a:lnTo>
                      <a:lnTo>
                        <a:pt x="14273" y="441256"/>
                      </a:lnTo>
                      <a:lnTo>
                        <a:pt x="5687" y="434476"/>
                      </a:lnTo>
                      <a:lnTo>
                        <a:pt x="2918" y="433165"/>
                      </a:lnTo>
                      <a:lnTo>
                        <a:pt x="3502" y="429523"/>
                      </a:lnTo>
                      <a:lnTo>
                        <a:pt x="4665" y="428934"/>
                      </a:lnTo>
                      <a:lnTo>
                        <a:pt x="7080" y="427716"/>
                      </a:lnTo>
                      <a:lnTo>
                        <a:pt x="10328" y="423521"/>
                      </a:lnTo>
                      <a:lnTo>
                        <a:pt x="18198" y="410488"/>
                      </a:lnTo>
                      <a:lnTo>
                        <a:pt x="19006" y="408537"/>
                      </a:lnTo>
                      <a:lnTo>
                        <a:pt x="20144" y="407297"/>
                      </a:lnTo>
                      <a:lnTo>
                        <a:pt x="22537" y="406991"/>
                      </a:lnTo>
                      <a:lnTo>
                        <a:pt x="24066" y="407892"/>
                      </a:lnTo>
                      <a:lnTo>
                        <a:pt x="26562" y="411565"/>
                      </a:lnTo>
                      <a:lnTo>
                        <a:pt x="28194" y="412702"/>
                      </a:lnTo>
                      <a:lnTo>
                        <a:pt x="25338" y="404569"/>
                      </a:lnTo>
                      <a:lnTo>
                        <a:pt x="3692" y="393451"/>
                      </a:lnTo>
                      <a:lnTo>
                        <a:pt x="1006" y="390536"/>
                      </a:lnTo>
                      <a:lnTo>
                        <a:pt x="0" y="387737"/>
                      </a:lnTo>
                      <a:lnTo>
                        <a:pt x="771" y="384488"/>
                      </a:lnTo>
                      <a:lnTo>
                        <a:pt x="6218" y="375263"/>
                      </a:lnTo>
                      <a:lnTo>
                        <a:pt x="8193" y="370773"/>
                      </a:lnTo>
                      <a:lnTo>
                        <a:pt x="10547" y="367622"/>
                      </a:lnTo>
                      <a:lnTo>
                        <a:pt x="14526" y="366686"/>
                      </a:lnTo>
                      <a:lnTo>
                        <a:pt x="18246" y="368310"/>
                      </a:lnTo>
                      <a:lnTo>
                        <a:pt x="24446" y="374652"/>
                      </a:lnTo>
                      <a:lnTo>
                        <a:pt x="39358" y="380795"/>
                      </a:lnTo>
                      <a:lnTo>
                        <a:pt x="41702" y="383833"/>
                      </a:lnTo>
                      <a:lnTo>
                        <a:pt x="42295" y="387851"/>
                      </a:lnTo>
                      <a:lnTo>
                        <a:pt x="42254" y="392603"/>
                      </a:lnTo>
                      <a:lnTo>
                        <a:pt x="42766" y="396776"/>
                      </a:lnTo>
                      <a:lnTo>
                        <a:pt x="47240" y="400612"/>
                      </a:lnTo>
                      <a:lnTo>
                        <a:pt x="54653" y="410633"/>
                      </a:lnTo>
                      <a:lnTo>
                        <a:pt x="52597" y="404473"/>
                      </a:lnTo>
                      <a:lnTo>
                        <a:pt x="48320" y="397480"/>
                      </a:lnTo>
                      <a:lnTo>
                        <a:pt x="45288" y="389477"/>
                      </a:lnTo>
                      <a:lnTo>
                        <a:pt x="46884" y="380235"/>
                      </a:lnTo>
                      <a:lnTo>
                        <a:pt x="50203" y="377910"/>
                      </a:lnTo>
                      <a:lnTo>
                        <a:pt x="55055" y="378246"/>
                      </a:lnTo>
                      <a:lnTo>
                        <a:pt x="63683" y="380855"/>
                      </a:lnTo>
                      <a:lnTo>
                        <a:pt x="66354" y="380508"/>
                      </a:lnTo>
                      <a:lnTo>
                        <a:pt x="75986" y="375043"/>
                      </a:lnTo>
                      <a:lnTo>
                        <a:pt x="79168" y="374590"/>
                      </a:lnTo>
                      <a:lnTo>
                        <a:pt x="82810" y="376718"/>
                      </a:lnTo>
                      <a:lnTo>
                        <a:pt x="85929" y="380579"/>
                      </a:lnTo>
                      <a:lnTo>
                        <a:pt x="87493" y="385404"/>
                      </a:lnTo>
                      <a:lnTo>
                        <a:pt x="87348" y="390450"/>
                      </a:lnTo>
                      <a:lnTo>
                        <a:pt x="86369" y="395108"/>
                      </a:lnTo>
                      <a:lnTo>
                        <a:pt x="83773" y="405248"/>
                      </a:lnTo>
                      <a:lnTo>
                        <a:pt x="79961" y="413724"/>
                      </a:lnTo>
                      <a:lnTo>
                        <a:pt x="68584" y="426477"/>
                      </a:lnTo>
                      <a:lnTo>
                        <a:pt x="65426" y="436968"/>
                      </a:lnTo>
                      <a:lnTo>
                        <a:pt x="78270" y="424811"/>
                      </a:lnTo>
                      <a:lnTo>
                        <a:pt x="84272" y="416735"/>
                      </a:lnTo>
                      <a:lnTo>
                        <a:pt x="90461" y="399379"/>
                      </a:lnTo>
                      <a:lnTo>
                        <a:pt x="92995" y="400202"/>
                      </a:lnTo>
                      <a:lnTo>
                        <a:pt x="102125" y="415906"/>
                      </a:lnTo>
                      <a:lnTo>
                        <a:pt x="103028" y="420716"/>
                      </a:lnTo>
                      <a:lnTo>
                        <a:pt x="101200" y="426675"/>
                      </a:lnTo>
                      <a:lnTo>
                        <a:pt x="107812" y="424605"/>
                      </a:lnTo>
                      <a:lnTo>
                        <a:pt x="113955" y="423963"/>
                      </a:lnTo>
                      <a:lnTo>
                        <a:pt x="127084" y="426902"/>
                      </a:lnTo>
                      <a:lnTo>
                        <a:pt x="151065" y="438309"/>
                      </a:lnTo>
                      <a:lnTo>
                        <a:pt x="151484" y="435982"/>
                      </a:lnTo>
                      <a:lnTo>
                        <a:pt x="109793" y="413877"/>
                      </a:lnTo>
                      <a:lnTo>
                        <a:pt x="108151" y="411692"/>
                      </a:lnTo>
                      <a:lnTo>
                        <a:pt x="105246" y="402897"/>
                      </a:lnTo>
                      <a:lnTo>
                        <a:pt x="104268" y="400822"/>
                      </a:lnTo>
                      <a:lnTo>
                        <a:pt x="102523" y="398560"/>
                      </a:lnTo>
                      <a:lnTo>
                        <a:pt x="97712" y="385161"/>
                      </a:lnTo>
                      <a:lnTo>
                        <a:pt x="90113" y="378550"/>
                      </a:lnTo>
                      <a:lnTo>
                        <a:pt x="89413" y="375164"/>
                      </a:lnTo>
                      <a:lnTo>
                        <a:pt x="91381" y="369433"/>
                      </a:lnTo>
                      <a:lnTo>
                        <a:pt x="93793" y="368515"/>
                      </a:lnTo>
                      <a:lnTo>
                        <a:pt x="96349" y="370460"/>
                      </a:lnTo>
                      <a:lnTo>
                        <a:pt x="101634" y="376430"/>
                      </a:lnTo>
                      <a:lnTo>
                        <a:pt x="104644" y="378459"/>
                      </a:lnTo>
                      <a:lnTo>
                        <a:pt x="111977" y="380625"/>
                      </a:lnTo>
                      <a:lnTo>
                        <a:pt x="110053" y="378272"/>
                      </a:lnTo>
                      <a:lnTo>
                        <a:pt x="107115" y="376216"/>
                      </a:lnTo>
                      <a:lnTo>
                        <a:pt x="101375" y="373817"/>
                      </a:lnTo>
                      <a:lnTo>
                        <a:pt x="100201" y="371819"/>
                      </a:lnTo>
                      <a:lnTo>
                        <a:pt x="99732" y="367904"/>
                      </a:lnTo>
                      <a:lnTo>
                        <a:pt x="98756" y="364281"/>
                      </a:lnTo>
                      <a:lnTo>
                        <a:pt x="96104" y="363220"/>
                      </a:lnTo>
                      <a:lnTo>
                        <a:pt x="103104" y="352551"/>
                      </a:lnTo>
                      <a:lnTo>
                        <a:pt x="112538" y="345174"/>
                      </a:lnTo>
                      <a:lnTo>
                        <a:pt x="122374" y="341148"/>
                      </a:lnTo>
                      <a:lnTo>
                        <a:pt x="130625" y="340626"/>
                      </a:lnTo>
                      <a:lnTo>
                        <a:pt x="150651" y="332800"/>
                      </a:lnTo>
                      <a:lnTo>
                        <a:pt x="161337" y="330902"/>
                      </a:lnTo>
                      <a:lnTo>
                        <a:pt x="164528" y="338385"/>
                      </a:lnTo>
                      <a:lnTo>
                        <a:pt x="164795" y="340867"/>
                      </a:lnTo>
                      <a:lnTo>
                        <a:pt x="167595" y="352256"/>
                      </a:lnTo>
                      <a:lnTo>
                        <a:pt x="168741" y="364471"/>
                      </a:lnTo>
                      <a:lnTo>
                        <a:pt x="171042" y="369784"/>
                      </a:lnTo>
                      <a:lnTo>
                        <a:pt x="177289" y="377442"/>
                      </a:lnTo>
                      <a:lnTo>
                        <a:pt x="179835" y="383525"/>
                      </a:lnTo>
                      <a:lnTo>
                        <a:pt x="186942" y="406391"/>
                      </a:lnTo>
                      <a:lnTo>
                        <a:pt x="187465" y="412993"/>
                      </a:lnTo>
                      <a:lnTo>
                        <a:pt x="186019" y="417539"/>
                      </a:lnTo>
                      <a:lnTo>
                        <a:pt x="180054" y="426766"/>
                      </a:lnTo>
                      <a:lnTo>
                        <a:pt x="191451" y="419427"/>
                      </a:lnTo>
                      <a:lnTo>
                        <a:pt x="191157" y="410750"/>
                      </a:lnTo>
                      <a:lnTo>
                        <a:pt x="183129" y="376695"/>
                      </a:lnTo>
                      <a:lnTo>
                        <a:pt x="174455" y="354708"/>
                      </a:lnTo>
                      <a:lnTo>
                        <a:pt x="172880" y="345463"/>
                      </a:lnTo>
                      <a:lnTo>
                        <a:pt x="173367" y="335691"/>
                      </a:lnTo>
                      <a:lnTo>
                        <a:pt x="176363" y="328324"/>
                      </a:lnTo>
                      <a:lnTo>
                        <a:pt x="182304" y="326142"/>
                      </a:lnTo>
                      <a:lnTo>
                        <a:pt x="189706" y="326052"/>
                      </a:lnTo>
                      <a:lnTo>
                        <a:pt x="192862" y="327051"/>
                      </a:lnTo>
                      <a:lnTo>
                        <a:pt x="196023" y="330782"/>
                      </a:lnTo>
                      <a:lnTo>
                        <a:pt x="197212" y="333399"/>
                      </a:lnTo>
                      <a:lnTo>
                        <a:pt x="200372" y="343793"/>
                      </a:lnTo>
                      <a:lnTo>
                        <a:pt x="200922" y="338228"/>
                      </a:lnTo>
                      <a:lnTo>
                        <a:pt x="201914" y="333085"/>
                      </a:lnTo>
                      <a:lnTo>
                        <a:pt x="202051" y="329033"/>
                      </a:lnTo>
                      <a:lnTo>
                        <a:pt x="200068" y="326718"/>
                      </a:lnTo>
                      <a:lnTo>
                        <a:pt x="200482" y="324389"/>
                      </a:lnTo>
                      <a:lnTo>
                        <a:pt x="203961" y="322596"/>
                      </a:lnTo>
                      <a:lnTo>
                        <a:pt x="218453" y="319137"/>
                      </a:lnTo>
                      <a:lnTo>
                        <a:pt x="225626" y="315150"/>
                      </a:lnTo>
                      <a:lnTo>
                        <a:pt x="228851" y="315064"/>
                      </a:lnTo>
                      <a:lnTo>
                        <a:pt x="230901" y="316928"/>
                      </a:lnTo>
                      <a:lnTo>
                        <a:pt x="234029" y="322155"/>
                      </a:lnTo>
                      <a:lnTo>
                        <a:pt x="253687" y="331305"/>
                      </a:lnTo>
                      <a:lnTo>
                        <a:pt x="253084" y="336645"/>
                      </a:lnTo>
                      <a:lnTo>
                        <a:pt x="250567" y="343880"/>
                      </a:lnTo>
                      <a:lnTo>
                        <a:pt x="249173" y="352425"/>
                      </a:lnTo>
                      <a:lnTo>
                        <a:pt x="250293" y="357679"/>
                      </a:lnTo>
                      <a:lnTo>
                        <a:pt x="261610" y="379830"/>
                      </a:lnTo>
                      <a:lnTo>
                        <a:pt x="262617" y="383732"/>
                      </a:lnTo>
                      <a:lnTo>
                        <a:pt x="263079" y="387797"/>
                      </a:lnTo>
                      <a:lnTo>
                        <a:pt x="263081" y="390669"/>
                      </a:lnTo>
                      <a:lnTo>
                        <a:pt x="261784" y="406101"/>
                      </a:lnTo>
                      <a:lnTo>
                        <a:pt x="260574" y="411021"/>
                      </a:lnTo>
                      <a:lnTo>
                        <a:pt x="258438" y="414810"/>
                      </a:lnTo>
                      <a:lnTo>
                        <a:pt x="247323" y="428719"/>
                      </a:lnTo>
                      <a:lnTo>
                        <a:pt x="245781" y="433909"/>
                      </a:lnTo>
                      <a:lnTo>
                        <a:pt x="247365" y="441041"/>
                      </a:lnTo>
                      <a:lnTo>
                        <a:pt x="251733" y="446351"/>
                      </a:lnTo>
                      <a:lnTo>
                        <a:pt x="257124" y="446765"/>
                      </a:lnTo>
                      <a:lnTo>
                        <a:pt x="270465" y="444208"/>
                      </a:lnTo>
                      <a:lnTo>
                        <a:pt x="274995" y="441553"/>
                      </a:lnTo>
                      <a:lnTo>
                        <a:pt x="277537" y="441187"/>
                      </a:lnTo>
                      <a:lnTo>
                        <a:pt x="279463" y="442113"/>
                      </a:lnTo>
                      <a:lnTo>
                        <a:pt x="284346" y="447367"/>
                      </a:lnTo>
                      <a:lnTo>
                        <a:pt x="279894" y="436603"/>
                      </a:lnTo>
                      <a:lnTo>
                        <a:pt x="259071" y="443715"/>
                      </a:lnTo>
                      <a:lnTo>
                        <a:pt x="251727" y="438079"/>
                      </a:lnTo>
                      <a:lnTo>
                        <a:pt x="251742" y="432283"/>
                      </a:lnTo>
                      <a:lnTo>
                        <a:pt x="254599" y="428118"/>
                      </a:lnTo>
                      <a:lnTo>
                        <a:pt x="262483" y="420862"/>
                      </a:lnTo>
                      <a:lnTo>
                        <a:pt x="265037" y="415460"/>
                      </a:lnTo>
                      <a:lnTo>
                        <a:pt x="266278" y="408931"/>
                      </a:lnTo>
                      <a:lnTo>
                        <a:pt x="267700" y="389122"/>
                      </a:lnTo>
                      <a:lnTo>
                        <a:pt x="268362" y="387179"/>
                      </a:lnTo>
                      <a:lnTo>
                        <a:pt x="270303" y="385055"/>
                      </a:lnTo>
                      <a:lnTo>
                        <a:pt x="272643" y="384400"/>
                      </a:lnTo>
                      <a:lnTo>
                        <a:pt x="282622" y="384549"/>
                      </a:lnTo>
                      <a:lnTo>
                        <a:pt x="296221" y="397237"/>
                      </a:lnTo>
                      <a:lnTo>
                        <a:pt x="300284" y="396038"/>
                      </a:lnTo>
                      <a:lnTo>
                        <a:pt x="304352" y="391526"/>
                      </a:lnTo>
                      <a:lnTo>
                        <a:pt x="309344" y="388939"/>
                      </a:lnTo>
                      <a:lnTo>
                        <a:pt x="314056" y="389471"/>
                      </a:lnTo>
                      <a:lnTo>
                        <a:pt x="317401" y="394112"/>
                      </a:lnTo>
                      <a:lnTo>
                        <a:pt x="319259" y="398774"/>
                      </a:lnTo>
                      <a:lnTo>
                        <a:pt x="321924" y="403712"/>
                      </a:lnTo>
                      <a:lnTo>
                        <a:pt x="324943" y="407639"/>
                      </a:lnTo>
                      <a:lnTo>
                        <a:pt x="327830" y="409144"/>
                      </a:lnTo>
                      <a:lnTo>
                        <a:pt x="328246" y="406602"/>
                      </a:lnTo>
                      <a:lnTo>
                        <a:pt x="323538" y="394049"/>
                      </a:lnTo>
                      <a:lnTo>
                        <a:pt x="317604" y="388780"/>
                      </a:lnTo>
                      <a:lnTo>
                        <a:pt x="316384" y="386777"/>
                      </a:lnTo>
                      <a:lnTo>
                        <a:pt x="312246" y="383430"/>
                      </a:lnTo>
                      <a:lnTo>
                        <a:pt x="290660" y="383761"/>
                      </a:lnTo>
                      <a:lnTo>
                        <a:pt x="269481" y="374115"/>
                      </a:lnTo>
                      <a:lnTo>
                        <a:pt x="260563" y="365006"/>
                      </a:lnTo>
                      <a:lnTo>
                        <a:pt x="256373" y="348663"/>
                      </a:lnTo>
                      <a:lnTo>
                        <a:pt x="261464" y="349532"/>
                      </a:lnTo>
                      <a:lnTo>
                        <a:pt x="263968" y="349280"/>
                      </a:lnTo>
                      <a:lnTo>
                        <a:pt x="266486" y="348014"/>
                      </a:lnTo>
                      <a:lnTo>
                        <a:pt x="251494" y="318076"/>
                      </a:lnTo>
                      <a:lnTo>
                        <a:pt x="249900" y="316153"/>
                      </a:lnTo>
                      <a:lnTo>
                        <a:pt x="246733" y="314783"/>
                      </a:lnTo>
                      <a:lnTo>
                        <a:pt x="239998" y="314201"/>
                      </a:lnTo>
                      <a:lnTo>
                        <a:pt x="237145" y="311940"/>
                      </a:lnTo>
                      <a:lnTo>
                        <a:pt x="240219" y="310509"/>
                      </a:lnTo>
                      <a:lnTo>
                        <a:pt x="243331" y="308241"/>
                      </a:lnTo>
                      <a:lnTo>
                        <a:pt x="227473" y="305756"/>
                      </a:lnTo>
                      <a:lnTo>
                        <a:pt x="192159" y="315879"/>
                      </a:lnTo>
                      <a:lnTo>
                        <a:pt x="178287" y="315366"/>
                      </a:lnTo>
                      <a:lnTo>
                        <a:pt x="172610" y="312154"/>
                      </a:lnTo>
                      <a:lnTo>
                        <a:pt x="170519" y="309238"/>
                      </a:lnTo>
                      <a:lnTo>
                        <a:pt x="167732" y="303102"/>
                      </a:lnTo>
                      <a:lnTo>
                        <a:pt x="165762" y="301066"/>
                      </a:lnTo>
                      <a:lnTo>
                        <a:pt x="162517" y="300885"/>
                      </a:lnTo>
                      <a:lnTo>
                        <a:pt x="158964" y="301962"/>
                      </a:lnTo>
                      <a:lnTo>
                        <a:pt x="155556" y="302021"/>
                      </a:lnTo>
                      <a:lnTo>
                        <a:pt x="152873" y="298690"/>
                      </a:lnTo>
                      <a:lnTo>
                        <a:pt x="157664" y="296483"/>
                      </a:lnTo>
                      <a:lnTo>
                        <a:pt x="171913" y="297599"/>
                      </a:lnTo>
                      <a:lnTo>
                        <a:pt x="184994" y="293890"/>
                      </a:lnTo>
                      <a:lnTo>
                        <a:pt x="187864" y="292093"/>
                      </a:lnTo>
                      <a:lnTo>
                        <a:pt x="191809" y="290620"/>
                      </a:lnTo>
                      <a:lnTo>
                        <a:pt x="204152" y="293293"/>
                      </a:lnTo>
                      <a:lnTo>
                        <a:pt x="209655" y="297357"/>
                      </a:lnTo>
                      <a:lnTo>
                        <a:pt x="225928" y="300133"/>
                      </a:lnTo>
                      <a:lnTo>
                        <a:pt x="226338" y="297803"/>
                      </a:lnTo>
                      <a:lnTo>
                        <a:pt x="222995" y="295893"/>
                      </a:lnTo>
                      <a:lnTo>
                        <a:pt x="218028" y="289087"/>
                      </a:lnTo>
                      <a:lnTo>
                        <a:pt x="210114" y="291131"/>
                      </a:lnTo>
                      <a:lnTo>
                        <a:pt x="195992" y="287587"/>
                      </a:lnTo>
                      <a:lnTo>
                        <a:pt x="196409" y="285258"/>
                      </a:lnTo>
                      <a:lnTo>
                        <a:pt x="207448" y="284331"/>
                      </a:lnTo>
                      <a:lnTo>
                        <a:pt x="210769" y="285213"/>
                      </a:lnTo>
                      <a:lnTo>
                        <a:pt x="206357" y="281130"/>
                      </a:lnTo>
                      <a:lnTo>
                        <a:pt x="163456" y="276606"/>
                      </a:lnTo>
                      <a:lnTo>
                        <a:pt x="164625" y="274101"/>
                      </a:lnTo>
                      <a:lnTo>
                        <a:pt x="164800" y="273504"/>
                      </a:lnTo>
                      <a:lnTo>
                        <a:pt x="164519" y="273308"/>
                      </a:lnTo>
                      <a:lnTo>
                        <a:pt x="164300" y="271979"/>
                      </a:lnTo>
                      <a:lnTo>
                        <a:pt x="166332" y="267487"/>
                      </a:lnTo>
                      <a:lnTo>
                        <a:pt x="165844" y="264748"/>
                      </a:lnTo>
                      <a:lnTo>
                        <a:pt x="164559" y="262693"/>
                      </a:lnTo>
                      <a:lnTo>
                        <a:pt x="164245" y="260158"/>
                      </a:lnTo>
                      <a:lnTo>
                        <a:pt x="165751" y="256814"/>
                      </a:lnTo>
                      <a:lnTo>
                        <a:pt x="168006" y="254409"/>
                      </a:lnTo>
                      <a:lnTo>
                        <a:pt x="172499" y="251843"/>
                      </a:lnTo>
                      <a:lnTo>
                        <a:pt x="177334" y="250642"/>
                      </a:lnTo>
                      <a:lnTo>
                        <a:pt x="211825" y="254419"/>
                      </a:lnTo>
                      <a:lnTo>
                        <a:pt x="215029" y="256568"/>
                      </a:lnTo>
                      <a:lnTo>
                        <a:pt x="218019" y="261267"/>
                      </a:lnTo>
                      <a:lnTo>
                        <a:pt x="219756" y="267714"/>
                      </a:lnTo>
                      <a:lnTo>
                        <a:pt x="219224" y="274956"/>
                      </a:lnTo>
                      <a:lnTo>
                        <a:pt x="220295" y="275147"/>
                      </a:lnTo>
                      <a:lnTo>
                        <a:pt x="223489" y="265935"/>
                      </a:lnTo>
                      <a:lnTo>
                        <a:pt x="224211" y="261703"/>
                      </a:lnTo>
                      <a:lnTo>
                        <a:pt x="223216" y="258635"/>
                      </a:lnTo>
                      <a:lnTo>
                        <a:pt x="225240" y="255436"/>
                      </a:lnTo>
                      <a:lnTo>
                        <a:pt x="227093" y="254608"/>
                      </a:lnTo>
                      <a:lnTo>
                        <a:pt x="228326" y="256029"/>
                      </a:lnTo>
                      <a:lnTo>
                        <a:pt x="228552" y="259588"/>
                      </a:lnTo>
                      <a:lnTo>
                        <a:pt x="236274" y="252424"/>
                      </a:lnTo>
                      <a:lnTo>
                        <a:pt x="244047" y="247753"/>
                      </a:lnTo>
                      <a:lnTo>
                        <a:pt x="248374" y="247230"/>
                      </a:lnTo>
                      <a:lnTo>
                        <a:pt x="251402" y="249265"/>
                      </a:lnTo>
                      <a:lnTo>
                        <a:pt x="264909" y="268770"/>
                      </a:lnTo>
                      <a:lnTo>
                        <a:pt x="267065" y="273789"/>
                      </a:lnTo>
                      <a:lnTo>
                        <a:pt x="266907" y="275776"/>
                      </a:lnTo>
                      <a:lnTo>
                        <a:pt x="266107" y="277137"/>
                      </a:lnTo>
                      <a:lnTo>
                        <a:pt x="266253" y="278120"/>
                      </a:lnTo>
                      <a:lnTo>
                        <a:pt x="268967" y="278920"/>
                      </a:lnTo>
                      <a:lnTo>
                        <a:pt x="270092" y="277731"/>
                      </a:lnTo>
                      <a:lnTo>
                        <a:pt x="270170" y="274600"/>
                      </a:lnTo>
                      <a:lnTo>
                        <a:pt x="269691" y="271202"/>
                      </a:lnTo>
                      <a:lnTo>
                        <a:pt x="269064" y="269120"/>
                      </a:lnTo>
                      <a:lnTo>
                        <a:pt x="270457" y="267819"/>
                      </a:lnTo>
                      <a:lnTo>
                        <a:pt x="273474" y="262714"/>
                      </a:lnTo>
                      <a:lnTo>
                        <a:pt x="271629" y="261993"/>
                      </a:lnTo>
                      <a:lnTo>
                        <a:pt x="270177" y="260369"/>
                      </a:lnTo>
                      <a:lnTo>
                        <a:pt x="269069" y="257890"/>
                      </a:lnTo>
                      <a:lnTo>
                        <a:pt x="268259" y="254605"/>
                      </a:lnTo>
                      <a:lnTo>
                        <a:pt x="275871" y="251741"/>
                      </a:lnTo>
                      <a:lnTo>
                        <a:pt x="300739" y="257610"/>
                      </a:lnTo>
                      <a:lnTo>
                        <a:pt x="298793" y="261519"/>
                      </a:lnTo>
                      <a:lnTo>
                        <a:pt x="296114" y="264017"/>
                      </a:lnTo>
                      <a:lnTo>
                        <a:pt x="293193" y="265316"/>
                      </a:lnTo>
                      <a:lnTo>
                        <a:pt x="290588" y="265670"/>
                      </a:lnTo>
                      <a:lnTo>
                        <a:pt x="292040" y="270633"/>
                      </a:lnTo>
                      <a:lnTo>
                        <a:pt x="299166" y="270938"/>
                      </a:lnTo>
                      <a:lnTo>
                        <a:pt x="299895" y="275632"/>
                      </a:lnTo>
                      <a:lnTo>
                        <a:pt x="299574" y="281105"/>
                      </a:lnTo>
                      <a:lnTo>
                        <a:pt x="300304" y="291726"/>
                      </a:lnTo>
                      <a:lnTo>
                        <a:pt x="299443" y="298549"/>
                      </a:lnTo>
                      <a:lnTo>
                        <a:pt x="300389" y="298710"/>
                      </a:lnTo>
                      <a:lnTo>
                        <a:pt x="301599" y="295588"/>
                      </a:lnTo>
                      <a:lnTo>
                        <a:pt x="305078" y="287883"/>
                      </a:lnTo>
                      <a:lnTo>
                        <a:pt x="305989" y="285281"/>
                      </a:lnTo>
                      <a:lnTo>
                        <a:pt x="305866" y="282733"/>
                      </a:lnTo>
                      <a:lnTo>
                        <a:pt x="304391" y="278155"/>
                      </a:lnTo>
                      <a:lnTo>
                        <a:pt x="304156" y="276359"/>
                      </a:lnTo>
                      <a:lnTo>
                        <a:pt x="309694" y="266762"/>
                      </a:lnTo>
                      <a:lnTo>
                        <a:pt x="311908" y="267710"/>
                      </a:lnTo>
                      <a:lnTo>
                        <a:pt x="316987" y="272767"/>
                      </a:lnTo>
                      <a:lnTo>
                        <a:pt x="333070" y="279212"/>
                      </a:lnTo>
                      <a:lnTo>
                        <a:pt x="340161" y="284648"/>
                      </a:lnTo>
                      <a:lnTo>
                        <a:pt x="347924" y="301647"/>
                      </a:lnTo>
                      <a:lnTo>
                        <a:pt x="357157" y="302785"/>
                      </a:lnTo>
                      <a:lnTo>
                        <a:pt x="361214" y="306276"/>
                      </a:lnTo>
                      <a:lnTo>
                        <a:pt x="362043" y="311291"/>
                      </a:lnTo>
                      <a:lnTo>
                        <a:pt x="362064" y="317000"/>
                      </a:lnTo>
                      <a:lnTo>
                        <a:pt x="363083" y="319720"/>
                      </a:lnTo>
                      <a:lnTo>
                        <a:pt x="366836" y="315784"/>
                      </a:lnTo>
                      <a:lnTo>
                        <a:pt x="368209" y="312170"/>
                      </a:lnTo>
                      <a:lnTo>
                        <a:pt x="369086" y="307964"/>
                      </a:lnTo>
                      <a:lnTo>
                        <a:pt x="370434" y="304660"/>
                      </a:lnTo>
                      <a:lnTo>
                        <a:pt x="373119" y="303643"/>
                      </a:lnTo>
                      <a:lnTo>
                        <a:pt x="404047" y="301446"/>
                      </a:lnTo>
                      <a:lnTo>
                        <a:pt x="399507" y="296742"/>
                      </a:lnTo>
                      <a:lnTo>
                        <a:pt x="360697" y="297333"/>
                      </a:lnTo>
                      <a:lnTo>
                        <a:pt x="354486" y="293400"/>
                      </a:lnTo>
                      <a:lnTo>
                        <a:pt x="351700" y="289644"/>
                      </a:lnTo>
                      <a:lnTo>
                        <a:pt x="349502" y="284401"/>
                      </a:lnTo>
                      <a:lnTo>
                        <a:pt x="348883" y="278421"/>
                      </a:lnTo>
                      <a:lnTo>
                        <a:pt x="350761" y="272324"/>
                      </a:lnTo>
                      <a:lnTo>
                        <a:pt x="355536" y="269004"/>
                      </a:lnTo>
                      <a:lnTo>
                        <a:pt x="360389" y="271602"/>
                      </a:lnTo>
                      <a:lnTo>
                        <a:pt x="362894" y="278905"/>
                      </a:lnTo>
                      <a:lnTo>
                        <a:pt x="360639" y="289619"/>
                      </a:lnTo>
                      <a:lnTo>
                        <a:pt x="364065" y="291465"/>
                      </a:lnTo>
                      <a:lnTo>
                        <a:pt x="366573" y="288211"/>
                      </a:lnTo>
                      <a:lnTo>
                        <a:pt x="367659" y="281998"/>
                      </a:lnTo>
                      <a:lnTo>
                        <a:pt x="366065" y="269069"/>
                      </a:lnTo>
                      <a:lnTo>
                        <a:pt x="366961" y="264123"/>
                      </a:lnTo>
                      <a:lnTo>
                        <a:pt x="369512" y="260904"/>
                      </a:lnTo>
                      <a:lnTo>
                        <a:pt x="377447" y="259463"/>
                      </a:lnTo>
                      <a:lnTo>
                        <a:pt x="385593" y="254499"/>
                      </a:lnTo>
                      <a:lnTo>
                        <a:pt x="421599" y="249079"/>
                      </a:lnTo>
                      <a:lnTo>
                        <a:pt x="439098" y="252271"/>
                      </a:lnTo>
                      <a:lnTo>
                        <a:pt x="446753" y="251847"/>
                      </a:lnTo>
                      <a:lnTo>
                        <a:pt x="450278" y="253081"/>
                      </a:lnTo>
                      <a:lnTo>
                        <a:pt x="453566" y="255602"/>
                      </a:lnTo>
                      <a:lnTo>
                        <a:pt x="465082" y="269308"/>
                      </a:lnTo>
                      <a:lnTo>
                        <a:pt x="468238" y="270435"/>
                      </a:lnTo>
                      <a:lnTo>
                        <a:pt x="466789" y="260955"/>
                      </a:lnTo>
                      <a:lnTo>
                        <a:pt x="457818" y="252288"/>
                      </a:lnTo>
                      <a:lnTo>
                        <a:pt x="455760" y="244831"/>
                      </a:lnTo>
                      <a:lnTo>
                        <a:pt x="457326" y="244306"/>
                      </a:lnTo>
                      <a:lnTo>
                        <a:pt x="458785" y="243036"/>
                      </a:lnTo>
                      <a:lnTo>
                        <a:pt x="460111" y="241105"/>
                      </a:lnTo>
                      <a:lnTo>
                        <a:pt x="461202" y="238497"/>
                      </a:lnTo>
                      <a:lnTo>
                        <a:pt x="457356" y="238199"/>
                      </a:lnTo>
                      <a:lnTo>
                        <a:pt x="449447" y="240171"/>
                      </a:lnTo>
                      <a:lnTo>
                        <a:pt x="434665" y="240245"/>
                      </a:lnTo>
                      <a:lnTo>
                        <a:pt x="427003" y="243821"/>
                      </a:lnTo>
                      <a:lnTo>
                        <a:pt x="391715" y="245496"/>
                      </a:lnTo>
                      <a:lnTo>
                        <a:pt x="370754" y="254945"/>
                      </a:lnTo>
                      <a:lnTo>
                        <a:pt x="364892" y="255780"/>
                      </a:lnTo>
                      <a:lnTo>
                        <a:pt x="348624" y="252833"/>
                      </a:lnTo>
                      <a:lnTo>
                        <a:pt x="345263" y="248549"/>
                      </a:lnTo>
                      <a:lnTo>
                        <a:pt x="350767" y="247195"/>
                      </a:lnTo>
                      <a:lnTo>
                        <a:pt x="352891" y="245009"/>
                      </a:lnTo>
                      <a:lnTo>
                        <a:pt x="351953" y="241655"/>
                      </a:lnTo>
                      <a:lnTo>
                        <a:pt x="348286" y="236879"/>
                      </a:lnTo>
                      <a:lnTo>
                        <a:pt x="354300" y="235880"/>
                      </a:lnTo>
                      <a:lnTo>
                        <a:pt x="366599" y="227869"/>
                      </a:lnTo>
                      <a:lnTo>
                        <a:pt x="400827" y="223939"/>
                      </a:lnTo>
                      <a:lnTo>
                        <a:pt x="396958" y="223784"/>
                      </a:lnTo>
                      <a:lnTo>
                        <a:pt x="389727" y="221541"/>
                      </a:lnTo>
                      <a:lnTo>
                        <a:pt x="363544" y="225895"/>
                      </a:lnTo>
                      <a:lnTo>
                        <a:pt x="357358" y="229024"/>
                      </a:lnTo>
                      <a:lnTo>
                        <a:pt x="354101" y="229554"/>
                      </a:lnTo>
                      <a:lnTo>
                        <a:pt x="347214" y="228823"/>
                      </a:lnTo>
                      <a:lnTo>
                        <a:pt x="340479" y="231665"/>
                      </a:lnTo>
                      <a:lnTo>
                        <a:pt x="286024" y="228882"/>
                      </a:lnTo>
                      <a:lnTo>
                        <a:pt x="283113" y="225807"/>
                      </a:lnTo>
                      <a:lnTo>
                        <a:pt x="284900" y="226288"/>
                      </a:lnTo>
                      <a:lnTo>
                        <a:pt x="286786" y="225499"/>
                      </a:lnTo>
                      <a:lnTo>
                        <a:pt x="288472" y="223361"/>
                      </a:lnTo>
                      <a:lnTo>
                        <a:pt x="289627" y="219746"/>
                      </a:lnTo>
                      <a:lnTo>
                        <a:pt x="289296" y="217632"/>
                      </a:lnTo>
                      <a:lnTo>
                        <a:pt x="286706" y="215141"/>
                      </a:lnTo>
                      <a:lnTo>
                        <a:pt x="286376" y="213183"/>
                      </a:lnTo>
                      <a:lnTo>
                        <a:pt x="288129" y="208672"/>
                      </a:lnTo>
                      <a:lnTo>
                        <a:pt x="291187" y="204685"/>
                      </a:lnTo>
                      <a:lnTo>
                        <a:pt x="297368" y="199495"/>
                      </a:lnTo>
                      <a:lnTo>
                        <a:pt x="305782" y="196913"/>
                      </a:lnTo>
                      <a:lnTo>
                        <a:pt x="329435" y="204967"/>
                      </a:lnTo>
                      <a:lnTo>
                        <a:pt x="326157" y="201914"/>
                      </a:lnTo>
                      <a:lnTo>
                        <a:pt x="321562" y="193695"/>
                      </a:lnTo>
                      <a:lnTo>
                        <a:pt x="318529" y="191150"/>
                      </a:lnTo>
                      <a:lnTo>
                        <a:pt x="299985" y="190574"/>
                      </a:lnTo>
                      <a:lnTo>
                        <a:pt x="298444" y="187937"/>
                      </a:lnTo>
                      <a:lnTo>
                        <a:pt x="293190" y="173484"/>
                      </a:lnTo>
                      <a:lnTo>
                        <a:pt x="293068" y="166932"/>
                      </a:lnTo>
                      <a:lnTo>
                        <a:pt x="290504" y="164159"/>
                      </a:lnTo>
                      <a:lnTo>
                        <a:pt x="282863" y="163186"/>
                      </a:lnTo>
                      <a:lnTo>
                        <a:pt x="285204" y="159864"/>
                      </a:lnTo>
                      <a:lnTo>
                        <a:pt x="288607" y="157755"/>
                      </a:lnTo>
                      <a:lnTo>
                        <a:pt x="303828" y="152720"/>
                      </a:lnTo>
                      <a:lnTo>
                        <a:pt x="317406" y="143954"/>
                      </a:lnTo>
                      <a:lnTo>
                        <a:pt x="322843" y="142142"/>
                      </a:lnTo>
                      <a:lnTo>
                        <a:pt x="333149" y="141313"/>
                      </a:lnTo>
                      <a:lnTo>
                        <a:pt x="344236" y="137333"/>
                      </a:lnTo>
                      <a:lnTo>
                        <a:pt x="349385" y="138415"/>
                      </a:lnTo>
                      <a:lnTo>
                        <a:pt x="352918" y="142449"/>
                      </a:lnTo>
                      <a:lnTo>
                        <a:pt x="358544" y="152469"/>
                      </a:lnTo>
                      <a:lnTo>
                        <a:pt x="362352" y="154973"/>
                      </a:lnTo>
                      <a:lnTo>
                        <a:pt x="369077" y="163698"/>
                      </a:lnTo>
                      <a:lnTo>
                        <a:pt x="369524" y="166026"/>
                      </a:lnTo>
                      <a:lnTo>
                        <a:pt x="370379" y="175671"/>
                      </a:lnTo>
                      <a:lnTo>
                        <a:pt x="379209" y="179595"/>
                      </a:lnTo>
                      <a:lnTo>
                        <a:pt x="389454" y="174099"/>
                      </a:lnTo>
                      <a:lnTo>
                        <a:pt x="399771" y="165582"/>
                      </a:lnTo>
                      <a:lnTo>
                        <a:pt x="408923" y="160434"/>
                      </a:lnTo>
                      <a:lnTo>
                        <a:pt x="412378" y="160351"/>
                      </a:lnTo>
                      <a:lnTo>
                        <a:pt x="425477" y="163725"/>
                      </a:lnTo>
                      <a:lnTo>
                        <a:pt x="425942" y="165524"/>
                      </a:lnTo>
                      <a:lnTo>
                        <a:pt x="424860" y="168017"/>
                      </a:lnTo>
                      <a:lnTo>
                        <a:pt x="423001" y="171169"/>
                      </a:lnTo>
                      <a:lnTo>
                        <a:pt x="419299" y="175152"/>
                      </a:lnTo>
                      <a:lnTo>
                        <a:pt x="405557" y="181424"/>
                      </a:lnTo>
                      <a:lnTo>
                        <a:pt x="409286" y="184051"/>
                      </a:lnTo>
                      <a:lnTo>
                        <a:pt x="432693" y="174726"/>
                      </a:lnTo>
                      <a:lnTo>
                        <a:pt x="435036" y="174401"/>
                      </a:lnTo>
                      <a:lnTo>
                        <a:pt x="440491" y="174866"/>
                      </a:lnTo>
                      <a:lnTo>
                        <a:pt x="443492" y="174214"/>
                      </a:lnTo>
                      <a:lnTo>
                        <a:pt x="450821" y="167888"/>
                      </a:lnTo>
                      <a:lnTo>
                        <a:pt x="456178" y="168786"/>
                      </a:lnTo>
                      <a:lnTo>
                        <a:pt x="470575" y="180164"/>
                      </a:lnTo>
                      <a:lnTo>
                        <a:pt x="472009" y="182366"/>
                      </a:lnTo>
                      <a:lnTo>
                        <a:pt x="472576" y="185247"/>
                      </a:lnTo>
                      <a:lnTo>
                        <a:pt x="472606" y="188085"/>
                      </a:lnTo>
                      <a:lnTo>
                        <a:pt x="473039" y="190588"/>
                      </a:lnTo>
                      <a:lnTo>
                        <a:pt x="474710" y="192357"/>
                      </a:lnTo>
                      <a:lnTo>
                        <a:pt x="473829" y="198787"/>
                      </a:lnTo>
                      <a:lnTo>
                        <a:pt x="473783" y="209761"/>
                      </a:lnTo>
                      <a:lnTo>
                        <a:pt x="474466" y="221091"/>
                      </a:lnTo>
                      <a:lnTo>
                        <a:pt x="475715" y="228575"/>
                      </a:lnTo>
                      <a:lnTo>
                        <a:pt x="480360" y="235212"/>
                      </a:lnTo>
                      <a:lnTo>
                        <a:pt x="493668" y="241043"/>
                      </a:lnTo>
                      <a:lnTo>
                        <a:pt x="499499" y="245443"/>
                      </a:lnTo>
                      <a:lnTo>
                        <a:pt x="511926" y="265233"/>
                      </a:lnTo>
                      <a:lnTo>
                        <a:pt x="516903" y="268239"/>
                      </a:lnTo>
                      <a:lnTo>
                        <a:pt x="521736" y="269841"/>
                      </a:lnTo>
                      <a:lnTo>
                        <a:pt x="526355" y="273798"/>
                      </a:lnTo>
                      <a:lnTo>
                        <a:pt x="529259" y="280858"/>
                      </a:lnTo>
                      <a:lnTo>
                        <a:pt x="528869" y="291741"/>
                      </a:lnTo>
                      <a:lnTo>
                        <a:pt x="533572" y="283656"/>
                      </a:lnTo>
                      <a:lnTo>
                        <a:pt x="534251" y="276314"/>
                      </a:lnTo>
                      <a:lnTo>
                        <a:pt x="531839" y="269983"/>
                      </a:lnTo>
                      <a:lnTo>
                        <a:pt x="519738" y="255739"/>
                      </a:lnTo>
                      <a:lnTo>
                        <a:pt x="508515" y="246745"/>
                      </a:lnTo>
                      <a:lnTo>
                        <a:pt x="502581" y="237624"/>
                      </a:lnTo>
                      <a:lnTo>
                        <a:pt x="490135" y="230327"/>
                      </a:lnTo>
                      <a:lnTo>
                        <a:pt x="482072" y="218044"/>
                      </a:lnTo>
                      <a:lnTo>
                        <a:pt x="480750" y="214110"/>
                      </a:lnTo>
                      <a:lnTo>
                        <a:pt x="481080" y="207680"/>
                      </a:lnTo>
                      <a:lnTo>
                        <a:pt x="482350" y="202663"/>
                      </a:lnTo>
                      <a:lnTo>
                        <a:pt x="484144" y="199306"/>
                      </a:lnTo>
                      <a:lnTo>
                        <a:pt x="486466" y="197498"/>
                      </a:lnTo>
                      <a:lnTo>
                        <a:pt x="489342" y="196984"/>
                      </a:lnTo>
                      <a:lnTo>
                        <a:pt x="487724" y="195356"/>
                      </a:lnTo>
                      <a:lnTo>
                        <a:pt x="485995" y="194292"/>
                      </a:lnTo>
                      <a:lnTo>
                        <a:pt x="484464" y="192861"/>
                      </a:lnTo>
                      <a:lnTo>
                        <a:pt x="483268" y="190086"/>
                      </a:lnTo>
                      <a:lnTo>
                        <a:pt x="482840" y="187713"/>
                      </a:lnTo>
                      <a:lnTo>
                        <a:pt x="482448" y="183921"/>
                      </a:lnTo>
                      <a:lnTo>
                        <a:pt x="481776" y="181711"/>
                      </a:lnTo>
                      <a:lnTo>
                        <a:pt x="479351" y="178444"/>
                      </a:lnTo>
                      <a:lnTo>
                        <a:pt x="473204" y="174845"/>
                      </a:lnTo>
                      <a:lnTo>
                        <a:pt x="461919" y="159283"/>
                      </a:lnTo>
                      <a:lnTo>
                        <a:pt x="461527" y="158226"/>
                      </a:lnTo>
                      <a:lnTo>
                        <a:pt x="460815" y="153412"/>
                      </a:lnTo>
                      <a:lnTo>
                        <a:pt x="460267" y="151872"/>
                      </a:lnTo>
                      <a:lnTo>
                        <a:pt x="458703" y="150972"/>
                      </a:lnTo>
                      <a:lnTo>
                        <a:pt x="456946" y="150981"/>
                      </a:lnTo>
                      <a:lnTo>
                        <a:pt x="455221" y="151778"/>
                      </a:lnTo>
                      <a:lnTo>
                        <a:pt x="453639" y="153226"/>
                      </a:lnTo>
                      <a:lnTo>
                        <a:pt x="455417" y="153335"/>
                      </a:lnTo>
                      <a:lnTo>
                        <a:pt x="456355" y="154194"/>
                      </a:lnTo>
                      <a:lnTo>
                        <a:pt x="456789" y="155887"/>
                      </a:lnTo>
                      <a:lnTo>
                        <a:pt x="457152" y="158536"/>
                      </a:lnTo>
                      <a:lnTo>
                        <a:pt x="453564" y="159170"/>
                      </a:lnTo>
                      <a:lnTo>
                        <a:pt x="448236" y="158788"/>
                      </a:lnTo>
                      <a:lnTo>
                        <a:pt x="443843" y="157381"/>
                      </a:lnTo>
                      <a:lnTo>
                        <a:pt x="442978" y="154992"/>
                      </a:lnTo>
                      <a:lnTo>
                        <a:pt x="446130" y="151200"/>
                      </a:lnTo>
                      <a:lnTo>
                        <a:pt x="452801" y="146938"/>
                      </a:lnTo>
                      <a:lnTo>
                        <a:pt x="456065" y="144045"/>
                      </a:lnTo>
                      <a:lnTo>
                        <a:pt x="462874" y="133272"/>
                      </a:lnTo>
                      <a:lnTo>
                        <a:pt x="465931" y="129933"/>
                      </a:lnTo>
                      <a:lnTo>
                        <a:pt x="469410" y="127427"/>
                      </a:lnTo>
                      <a:lnTo>
                        <a:pt x="473346" y="125704"/>
                      </a:lnTo>
                      <a:lnTo>
                        <a:pt x="477243" y="125142"/>
                      </a:lnTo>
                      <a:lnTo>
                        <a:pt x="480656" y="126127"/>
                      </a:lnTo>
                      <a:lnTo>
                        <a:pt x="482781" y="128294"/>
                      </a:lnTo>
                      <a:lnTo>
                        <a:pt x="485154" y="132293"/>
                      </a:lnTo>
                      <a:lnTo>
                        <a:pt x="486419" y="137317"/>
                      </a:lnTo>
                      <a:lnTo>
                        <a:pt x="483991" y="147454"/>
                      </a:lnTo>
                      <a:lnTo>
                        <a:pt x="485340" y="152292"/>
                      </a:lnTo>
                      <a:lnTo>
                        <a:pt x="487700" y="156357"/>
                      </a:lnTo>
                      <a:lnTo>
                        <a:pt x="489710" y="158832"/>
                      </a:lnTo>
                      <a:lnTo>
                        <a:pt x="500124" y="164725"/>
                      </a:lnTo>
                      <a:lnTo>
                        <a:pt x="502813" y="169064"/>
                      </a:lnTo>
                      <a:lnTo>
                        <a:pt x="504861" y="174501"/>
                      </a:lnTo>
                      <a:lnTo>
                        <a:pt x="506222" y="175505"/>
                      </a:lnTo>
                      <a:lnTo>
                        <a:pt x="508875" y="176077"/>
                      </a:lnTo>
                      <a:lnTo>
                        <a:pt x="510247" y="176840"/>
                      </a:lnTo>
                      <a:lnTo>
                        <a:pt x="511275" y="178519"/>
                      </a:lnTo>
                      <a:lnTo>
                        <a:pt x="511893" y="180862"/>
                      </a:lnTo>
                      <a:lnTo>
                        <a:pt x="512045" y="183731"/>
                      </a:lnTo>
                      <a:lnTo>
                        <a:pt x="506573" y="187888"/>
                      </a:lnTo>
                      <a:lnTo>
                        <a:pt x="507312" y="193053"/>
                      </a:lnTo>
                      <a:lnTo>
                        <a:pt x="509122" y="199634"/>
                      </a:lnTo>
                      <a:lnTo>
                        <a:pt x="506728" y="208098"/>
                      </a:lnTo>
                      <a:lnTo>
                        <a:pt x="506398" y="210212"/>
                      </a:lnTo>
                      <a:lnTo>
                        <a:pt x="508856" y="209985"/>
                      </a:lnTo>
                      <a:lnTo>
                        <a:pt x="513845" y="208088"/>
                      </a:lnTo>
                      <a:lnTo>
                        <a:pt x="516235" y="208476"/>
                      </a:lnTo>
                      <a:lnTo>
                        <a:pt x="518202" y="209810"/>
                      </a:lnTo>
                      <a:lnTo>
                        <a:pt x="529741" y="223400"/>
                      </a:lnTo>
                      <a:lnTo>
                        <a:pt x="534752" y="227173"/>
                      </a:lnTo>
                      <a:lnTo>
                        <a:pt x="537594" y="224776"/>
                      </a:lnTo>
                      <a:lnTo>
                        <a:pt x="536296" y="217968"/>
                      </a:lnTo>
                      <a:lnTo>
                        <a:pt x="526028" y="212175"/>
                      </a:lnTo>
                      <a:lnTo>
                        <a:pt x="522709" y="207025"/>
                      </a:lnTo>
                      <a:lnTo>
                        <a:pt x="526073" y="207926"/>
                      </a:lnTo>
                      <a:lnTo>
                        <a:pt x="544269" y="217692"/>
                      </a:lnTo>
                      <a:lnTo>
                        <a:pt x="547054" y="220192"/>
                      </a:lnTo>
                      <a:lnTo>
                        <a:pt x="548596" y="222780"/>
                      </a:lnTo>
                      <a:lnTo>
                        <a:pt x="550734" y="228243"/>
                      </a:lnTo>
                      <a:lnTo>
                        <a:pt x="552066" y="230686"/>
                      </a:lnTo>
                      <a:lnTo>
                        <a:pt x="554301" y="232989"/>
                      </a:lnTo>
                      <a:lnTo>
                        <a:pt x="559369" y="236359"/>
                      </a:lnTo>
                      <a:lnTo>
                        <a:pt x="561763" y="238840"/>
                      </a:lnTo>
                      <a:lnTo>
                        <a:pt x="551548" y="217893"/>
                      </a:lnTo>
                      <a:lnTo>
                        <a:pt x="548244" y="214861"/>
                      </a:lnTo>
                      <a:lnTo>
                        <a:pt x="536824" y="210746"/>
                      </a:lnTo>
                      <a:lnTo>
                        <a:pt x="533708" y="208150"/>
                      </a:lnTo>
                      <a:lnTo>
                        <a:pt x="531179" y="204658"/>
                      </a:lnTo>
                      <a:lnTo>
                        <a:pt x="524399" y="189515"/>
                      </a:lnTo>
                      <a:lnTo>
                        <a:pt x="523830" y="185502"/>
                      </a:lnTo>
                      <a:lnTo>
                        <a:pt x="559774" y="187826"/>
                      </a:lnTo>
                      <a:lnTo>
                        <a:pt x="564186" y="184287"/>
                      </a:lnTo>
                      <a:lnTo>
                        <a:pt x="560178" y="180404"/>
                      </a:lnTo>
                      <a:lnTo>
                        <a:pt x="549702" y="181955"/>
                      </a:lnTo>
                      <a:lnTo>
                        <a:pt x="544993" y="181474"/>
                      </a:lnTo>
                      <a:lnTo>
                        <a:pt x="541837" y="177550"/>
                      </a:lnTo>
                      <a:lnTo>
                        <a:pt x="544214" y="174017"/>
                      </a:lnTo>
                      <a:lnTo>
                        <a:pt x="553407" y="168401"/>
                      </a:lnTo>
                      <a:lnTo>
                        <a:pt x="548478" y="166835"/>
                      </a:lnTo>
                      <a:lnTo>
                        <a:pt x="536850" y="175118"/>
                      </a:lnTo>
                      <a:lnTo>
                        <a:pt x="521103" y="180197"/>
                      </a:lnTo>
                      <a:lnTo>
                        <a:pt x="518085" y="179644"/>
                      </a:lnTo>
                      <a:lnTo>
                        <a:pt x="517514" y="178619"/>
                      </a:lnTo>
                      <a:lnTo>
                        <a:pt x="516359" y="174930"/>
                      </a:lnTo>
                      <a:lnTo>
                        <a:pt x="515717" y="173437"/>
                      </a:lnTo>
                      <a:lnTo>
                        <a:pt x="514612" y="172104"/>
                      </a:lnTo>
                      <a:lnTo>
                        <a:pt x="510989" y="169222"/>
                      </a:lnTo>
                      <a:lnTo>
                        <a:pt x="516965" y="167163"/>
                      </a:lnTo>
                      <a:lnTo>
                        <a:pt x="529477" y="168498"/>
                      </a:lnTo>
                      <a:lnTo>
                        <a:pt x="535407" y="165739"/>
                      </a:lnTo>
                      <a:lnTo>
                        <a:pt x="530561" y="161102"/>
                      </a:lnTo>
                      <a:lnTo>
                        <a:pt x="509817" y="161898"/>
                      </a:lnTo>
                      <a:lnTo>
                        <a:pt x="503228" y="160413"/>
                      </a:lnTo>
                      <a:lnTo>
                        <a:pt x="499755" y="158546"/>
                      </a:lnTo>
                      <a:lnTo>
                        <a:pt x="497781" y="155482"/>
                      </a:lnTo>
                      <a:lnTo>
                        <a:pt x="497847" y="153683"/>
                      </a:lnTo>
                      <a:lnTo>
                        <a:pt x="498338" y="151039"/>
                      </a:lnTo>
                      <a:lnTo>
                        <a:pt x="499025" y="148552"/>
                      </a:lnTo>
                      <a:lnTo>
                        <a:pt x="500202" y="145456"/>
                      </a:lnTo>
                      <a:lnTo>
                        <a:pt x="499750" y="144362"/>
                      </a:lnTo>
                      <a:lnTo>
                        <a:pt x="498999" y="143364"/>
                      </a:lnTo>
                      <a:lnTo>
                        <a:pt x="498719" y="142154"/>
                      </a:lnTo>
                      <a:lnTo>
                        <a:pt x="497724" y="134710"/>
                      </a:lnTo>
                      <a:lnTo>
                        <a:pt x="494553" y="129924"/>
                      </a:lnTo>
                      <a:lnTo>
                        <a:pt x="493130" y="126087"/>
                      </a:lnTo>
                      <a:lnTo>
                        <a:pt x="497446" y="121566"/>
                      </a:lnTo>
                      <a:lnTo>
                        <a:pt x="502497" y="120815"/>
                      </a:lnTo>
                      <a:lnTo>
                        <a:pt x="505360" y="125083"/>
                      </a:lnTo>
                      <a:lnTo>
                        <a:pt x="507807" y="131108"/>
                      </a:lnTo>
                      <a:lnTo>
                        <a:pt x="511599" y="135657"/>
                      </a:lnTo>
                      <a:lnTo>
                        <a:pt x="511083" y="137202"/>
                      </a:lnTo>
                      <a:lnTo>
                        <a:pt x="510051" y="140975"/>
                      </a:lnTo>
                      <a:lnTo>
                        <a:pt x="509485" y="142512"/>
                      </a:lnTo>
                      <a:lnTo>
                        <a:pt x="513119" y="141982"/>
                      </a:lnTo>
                      <a:lnTo>
                        <a:pt x="515091" y="140941"/>
                      </a:lnTo>
                      <a:lnTo>
                        <a:pt x="516577" y="139016"/>
                      </a:lnTo>
                      <a:lnTo>
                        <a:pt x="516674" y="137166"/>
                      </a:lnTo>
                      <a:lnTo>
                        <a:pt x="515834" y="135730"/>
                      </a:lnTo>
                      <a:lnTo>
                        <a:pt x="515360" y="134091"/>
                      </a:lnTo>
                      <a:lnTo>
                        <a:pt x="516629" y="131635"/>
                      </a:lnTo>
                      <a:lnTo>
                        <a:pt x="515085" y="125991"/>
                      </a:lnTo>
                      <a:lnTo>
                        <a:pt x="512203" y="122763"/>
                      </a:lnTo>
                      <a:lnTo>
                        <a:pt x="505488" y="118211"/>
                      </a:lnTo>
                      <a:lnTo>
                        <a:pt x="505876" y="115649"/>
                      </a:lnTo>
                      <a:lnTo>
                        <a:pt x="552416" y="129040"/>
                      </a:lnTo>
                      <a:lnTo>
                        <a:pt x="566330" y="139023"/>
                      </a:lnTo>
                      <a:lnTo>
                        <a:pt x="564704" y="132341"/>
                      </a:lnTo>
                      <a:lnTo>
                        <a:pt x="558000" y="125723"/>
                      </a:lnTo>
                      <a:lnTo>
                        <a:pt x="557278" y="119684"/>
                      </a:lnTo>
                      <a:lnTo>
                        <a:pt x="559955" y="115411"/>
                      </a:lnTo>
                      <a:lnTo>
                        <a:pt x="564903" y="113847"/>
                      </a:lnTo>
                      <a:lnTo>
                        <a:pt x="603212" y="111580"/>
                      </a:lnTo>
                      <a:close/>
                      <a:moveTo>
                        <a:pt x="403616" y="111479"/>
                      </a:moveTo>
                      <a:lnTo>
                        <a:pt x="409148" y="111995"/>
                      </a:lnTo>
                      <a:lnTo>
                        <a:pt x="411583" y="113032"/>
                      </a:lnTo>
                      <a:lnTo>
                        <a:pt x="412905" y="115386"/>
                      </a:lnTo>
                      <a:lnTo>
                        <a:pt x="412022" y="121275"/>
                      </a:lnTo>
                      <a:lnTo>
                        <a:pt x="411702" y="125431"/>
                      </a:lnTo>
                      <a:lnTo>
                        <a:pt x="410968" y="129191"/>
                      </a:lnTo>
                      <a:lnTo>
                        <a:pt x="408760" y="133853"/>
                      </a:lnTo>
                      <a:lnTo>
                        <a:pt x="410389" y="135202"/>
                      </a:lnTo>
                      <a:lnTo>
                        <a:pt x="411507" y="138691"/>
                      </a:lnTo>
                      <a:lnTo>
                        <a:pt x="413181" y="146777"/>
                      </a:lnTo>
                      <a:lnTo>
                        <a:pt x="415111" y="150867"/>
                      </a:lnTo>
                      <a:lnTo>
                        <a:pt x="416306" y="152043"/>
                      </a:lnTo>
                      <a:lnTo>
                        <a:pt x="411944" y="154820"/>
                      </a:lnTo>
                      <a:lnTo>
                        <a:pt x="409071" y="155638"/>
                      </a:lnTo>
                      <a:lnTo>
                        <a:pt x="402630" y="155792"/>
                      </a:lnTo>
                      <a:lnTo>
                        <a:pt x="400018" y="157792"/>
                      </a:lnTo>
                      <a:lnTo>
                        <a:pt x="397931" y="160135"/>
                      </a:lnTo>
                      <a:lnTo>
                        <a:pt x="385107" y="168224"/>
                      </a:lnTo>
                      <a:lnTo>
                        <a:pt x="382178" y="168856"/>
                      </a:lnTo>
                      <a:lnTo>
                        <a:pt x="379432" y="167577"/>
                      </a:lnTo>
                      <a:lnTo>
                        <a:pt x="379394" y="166857"/>
                      </a:lnTo>
                      <a:lnTo>
                        <a:pt x="377706" y="161328"/>
                      </a:lnTo>
                      <a:lnTo>
                        <a:pt x="376702" y="160021"/>
                      </a:lnTo>
                      <a:lnTo>
                        <a:pt x="366275" y="153329"/>
                      </a:lnTo>
                      <a:lnTo>
                        <a:pt x="363844" y="150327"/>
                      </a:lnTo>
                      <a:lnTo>
                        <a:pt x="363156" y="146815"/>
                      </a:lnTo>
                      <a:lnTo>
                        <a:pt x="365104" y="143871"/>
                      </a:lnTo>
                      <a:lnTo>
                        <a:pt x="368724" y="142161"/>
                      </a:lnTo>
                      <a:lnTo>
                        <a:pt x="375155" y="140560"/>
                      </a:lnTo>
                      <a:lnTo>
                        <a:pt x="373633" y="137709"/>
                      </a:lnTo>
                      <a:lnTo>
                        <a:pt x="373222" y="134702"/>
                      </a:lnTo>
                      <a:lnTo>
                        <a:pt x="374152" y="132345"/>
                      </a:lnTo>
                      <a:lnTo>
                        <a:pt x="376685" y="131237"/>
                      </a:lnTo>
                      <a:lnTo>
                        <a:pt x="374452" y="128799"/>
                      </a:lnTo>
                      <a:lnTo>
                        <a:pt x="373289" y="128092"/>
                      </a:lnTo>
                      <a:lnTo>
                        <a:pt x="371828" y="127792"/>
                      </a:lnTo>
                      <a:lnTo>
                        <a:pt x="372175" y="125681"/>
                      </a:lnTo>
                      <a:lnTo>
                        <a:pt x="375591" y="126346"/>
                      </a:lnTo>
                      <a:lnTo>
                        <a:pt x="386281" y="125629"/>
                      </a:lnTo>
                      <a:lnTo>
                        <a:pt x="383419" y="129710"/>
                      </a:lnTo>
                      <a:lnTo>
                        <a:pt x="387781" y="130670"/>
                      </a:lnTo>
                      <a:lnTo>
                        <a:pt x="390770" y="133887"/>
                      </a:lnTo>
                      <a:lnTo>
                        <a:pt x="395210" y="143857"/>
                      </a:lnTo>
                      <a:lnTo>
                        <a:pt x="396569" y="141611"/>
                      </a:lnTo>
                      <a:lnTo>
                        <a:pt x="397673" y="138624"/>
                      </a:lnTo>
                      <a:lnTo>
                        <a:pt x="398061" y="135906"/>
                      </a:lnTo>
                      <a:lnTo>
                        <a:pt x="396576" y="133438"/>
                      </a:lnTo>
                      <a:lnTo>
                        <a:pt x="398613" y="131546"/>
                      </a:lnTo>
                      <a:lnTo>
                        <a:pt x="401270" y="129882"/>
                      </a:lnTo>
                      <a:lnTo>
                        <a:pt x="402358" y="129461"/>
                      </a:lnTo>
                      <a:lnTo>
                        <a:pt x="404753" y="125015"/>
                      </a:lnTo>
                      <a:lnTo>
                        <a:pt x="405285" y="121080"/>
                      </a:lnTo>
                      <a:close/>
                      <a:moveTo>
                        <a:pt x="505892" y="88822"/>
                      </a:moveTo>
                      <a:lnTo>
                        <a:pt x="509421" y="91156"/>
                      </a:lnTo>
                      <a:lnTo>
                        <a:pt x="514894" y="99636"/>
                      </a:lnTo>
                      <a:lnTo>
                        <a:pt x="516379" y="101185"/>
                      </a:lnTo>
                      <a:lnTo>
                        <a:pt x="518644" y="104463"/>
                      </a:lnTo>
                      <a:lnTo>
                        <a:pt x="519582" y="107010"/>
                      </a:lnTo>
                      <a:lnTo>
                        <a:pt x="519915" y="108299"/>
                      </a:lnTo>
                      <a:lnTo>
                        <a:pt x="520701" y="110668"/>
                      </a:lnTo>
                      <a:lnTo>
                        <a:pt x="517624" y="111668"/>
                      </a:lnTo>
                      <a:lnTo>
                        <a:pt x="505583" y="112500"/>
                      </a:lnTo>
                      <a:lnTo>
                        <a:pt x="502362" y="111382"/>
                      </a:lnTo>
                      <a:lnTo>
                        <a:pt x="500506" y="109060"/>
                      </a:lnTo>
                      <a:lnTo>
                        <a:pt x="500135" y="106269"/>
                      </a:lnTo>
                      <a:lnTo>
                        <a:pt x="500141" y="97041"/>
                      </a:lnTo>
                      <a:lnTo>
                        <a:pt x="499276" y="94216"/>
                      </a:lnTo>
                      <a:lnTo>
                        <a:pt x="498216" y="92515"/>
                      </a:lnTo>
                      <a:lnTo>
                        <a:pt x="499393" y="90346"/>
                      </a:lnTo>
                      <a:lnTo>
                        <a:pt x="502355" y="88993"/>
                      </a:lnTo>
                      <a:close/>
                      <a:moveTo>
                        <a:pt x="486210" y="80960"/>
                      </a:moveTo>
                      <a:lnTo>
                        <a:pt x="491574" y="82404"/>
                      </a:lnTo>
                      <a:lnTo>
                        <a:pt x="494042" y="86360"/>
                      </a:lnTo>
                      <a:lnTo>
                        <a:pt x="496591" y="93162"/>
                      </a:lnTo>
                      <a:lnTo>
                        <a:pt x="497904" y="100188"/>
                      </a:lnTo>
                      <a:lnTo>
                        <a:pt x="496775" y="104728"/>
                      </a:lnTo>
                      <a:lnTo>
                        <a:pt x="498423" y="108741"/>
                      </a:lnTo>
                      <a:lnTo>
                        <a:pt x="499260" y="109653"/>
                      </a:lnTo>
                      <a:lnTo>
                        <a:pt x="498870" y="112214"/>
                      </a:lnTo>
                      <a:lnTo>
                        <a:pt x="471882" y="114876"/>
                      </a:lnTo>
                      <a:lnTo>
                        <a:pt x="465472" y="112021"/>
                      </a:lnTo>
                      <a:lnTo>
                        <a:pt x="459860" y="98982"/>
                      </a:lnTo>
                      <a:lnTo>
                        <a:pt x="461738" y="96413"/>
                      </a:lnTo>
                      <a:lnTo>
                        <a:pt x="470515" y="93474"/>
                      </a:lnTo>
                      <a:lnTo>
                        <a:pt x="480936" y="83831"/>
                      </a:lnTo>
                      <a:close/>
                      <a:moveTo>
                        <a:pt x="542558" y="73226"/>
                      </a:moveTo>
                      <a:lnTo>
                        <a:pt x="545000" y="75030"/>
                      </a:lnTo>
                      <a:lnTo>
                        <a:pt x="546517" y="78856"/>
                      </a:lnTo>
                      <a:lnTo>
                        <a:pt x="548965" y="88515"/>
                      </a:lnTo>
                      <a:lnTo>
                        <a:pt x="557434" y="99531"/>
                      </a:lnTo>
                      <a:lnTo>
                        <a:pt x="560581" y="106739"/>
                      </a:lnTo>
                      <a:lnTo>
                        <a:pt x="558115" y="113959"/>
                      </a:lnTo>
                      <a:lnTo>
                        <a:pt x="535266" y="116459"/>
                      </a:lnTo>
                      <a:lnTo>
                        <a:pt x="527879" y="113999"/>
                      </a:lnTo>
                      <a:lnTo>
                        <a:pt x="523974" y="109382"/>
                      </a:lnTo>
                      <a:lnTo>
                        <a:pt x="517987" y="94595"/>
                      </a:lnTo>
                      <a:lnTo>
                        <a:pt x="514429" y="88288"/>
                      </a:lnTo>
                      <a:lnTo>
                        <a:pt x="515917" y="84797"/>
                      </a:lnTo>
                      <a:lnTo>
                        <a:pt x="517585" y="76550"/>
                      </a:lnTo>
                      <a:lnTo>
                        <a:pt x="518711" y="74173"/>
                      </a:lnTo>
                      <a:lnTo>
                        <a:pt x="520458" y="73612"/>
                      </a:lnTo>
                      <a:lnTo>
                        <a:pt x="521916" y="74547"/>
                      </a:lnTo>
                      <a:lnTo>
                        <a:pt x="523089" y="76446"/>
                      </a:lnTo>
                      <a:lnTo>
                        <a:pt x="523965" y="78786"/>
                      </a:lnTo>
                      <a:lnTo>
                        <a:pt x="525319" y="80500"/>
                      </a:lnTo>
                      <a:lnTo>
                        <a:pt x="526959" y="79808"/>
                      </a:lnTo>
                      <a:lnTo>
                        <a:pt x="528606" y="78548"/>
                      </a:lnTo>
                      <a:lnTo>
                        <a:pt x="529955" y="78509"/>
                      </a:lnTo>
                      <a:lnTo>
                        <a:pt x="531522" y="83087"/>
                      </a:lnTo>
                      <a:lnTo>
                        <a:pt x="532786" y="89626"/>
                      </a:lnTo>
                      <a:lnTo>
                        <a:pt x="534425" y="93317"/>
                      </a:lnTo>
                      <a:lnTo>
                        <a:pt x="536943" y="89310"/>
                      </a:lnTo>
                      <a:lnTo>
                        <a:pt x="536658" y="83317"/>
                      </a:lnTo>
                      <a:lnTo>
                        <a:pt x="537554" y="77985"/>
                      </a:lnTo>
                      <a:lnTo>
                        <a:pt x="539533" y="74311"/>
                      </a:lnTo>
                      <a:close/>
                      <a:moveTo>
                        <a:pt x="604487" y="32641"/>
                      </a:moveTo>
                      <a:lnTo>
                        <a:pt x="605558" y="34769"/>
                      </a:lnTo>
                      <a:lnTo>
                        <a:pt x="608446" y="41866"/>
                      </a:lnTo>
                      <a:lnTo>
                        <a:pt x="610349" y="45235"/>
                      </a:lnTo>
                      <a:lnTo>
                        <a:pt x="613133" y="48676"/>
                      </a:lnTo>
                      <a:lnTo>
                        <a:pt x="618490" y="52851"/>
                      </a:lnTo>
                      <a:lnTo>
                        <a:pt x="620288" y="55924"/>
                      </a:lnTo>
                      <a:lnTo>
                        <a:pt x="620582" y="60895"/>
                      </a:lnTo>
                      <a:lnTo>
                        <a:pt x="618920" y="69073"/>
                      </a:lnTo>
                      <a:lnTo>
                        <a:pt x="611931" y="89153"/>
                      </a:lnTo>
                      <a:lnTo>
                        <a:pt x="608864" y="101663"/>
                      </a:lnTo>
                      <a:lnTo>
                        <a:pt x="606490" y="109588"/>
                      </a:lnTo>
                      <a:lnTo>
                        <a:pt x="572260" y="106259"/>
                      </a:lnTo>
                      <a:lnTo>
                        <a:pt x="568228" y="107206"/>
                      </a:lnTo>
                      <a:lnTo>
                        <a:pt x="566561" y="106151"/>
                      </a:lnTo>
                      <a:lnTo>
                        <a:pt x="566202" y="98943"/>
                      </a:lnTo>
                      <a:lnTo>
                        <a:pt x="565210" y="94856"/>
                      </a:lnTo>
                      <a:lnTo>
                        <a:pt x="563031" y="88403"/>
                      </a:lnTo>
                      <a:lnTo>
                        <a:pt x="557222" y="78482"/>
                      </a:lnTo>
                      <a:lnTo>
                        <a:pt x="553851" y="74639"/>
                      </a:lnTo>
                      <a:lnTo>
                        <a:pt x="550200" y="72189"/>
                      </a:lnTo>
                      <a:lnTo>
                        <a:pt x="556675" y="68995"/>
                      </a:lnTo>
                      <a:lnTo>
                        <a:pt x="586344" y="67029"/>
                      </a:lnTo>
                      <a:lnTo>
                        <a:pt x="592331" y="64155"/>
                      </a:lnTo>
                      <a:lnTo>
                        <a:pt x="597170" y="59748"/>
                      </a:lnTo>
                      <a:lnTo>
                        <a:pt x="591610" y="58973"/>
                      </a:lnTo>
                      <a:lnTo>
                        <a:pt x="589088" y="57897"/>
                      </a:lnTo>
                      <a:lnTo>
                        <a:pt x="586973" y="55684"/>
                      </a:lnTo>
                      <a:lnTo>
                        <a:pt x="586249" y="53373"/>
                      </a:lnTo>
                      <a:lnTo>
                        <a:pt x="585667" y="50173"/>
                      </a:lnTo>
                      <a:lnTo>
                        <a:pt x="584902" y="47275"/>
                      </a:lnTo>
                      <a:lnTo>
                        <a:pt x="580047" y="42299"/>
                      </a:lnTo>
                      <a:lnTo>
                        <a:pt x="582106" y="36624"/>
                      </a:lnTo>
                      <a:lnTo>
                        <a:pt x="586615" y="33070"/>
                      </a:lnTo>
                      <a:lnTo>
                        <a:pt x="592994" y="38563"/>
                      </a:lnTo>
                      <a:lnTo>
                        <a:pt x="596752" y="37016"/>
                      </a:lnTo>
                      <a:lnTo>
                        <a:pt x="601073" y="34013"/>
                      </a:lnTo>
                      <a:lnTo>
                        <a:pt x="604485" y="32642"/>
                      </a:lnTo>
                      <a:close/>
                      <a:moveTo>
                        <a:pt x="487181" y="0"/>
                      </a:moveTo>
                      <a:lnTo>
                        <a:pt x="497346" y="1413"/>
                      </a:lnTo>
                      <a:lnTo>
                        <a:pt x="501465" y="5286"/>
                      </a:lnTo>
                      <a:lnTo>
                        <a:pt x="503065" y="18867"/>
                      </a:lnTo>
                      <a:lnTo>
                        <a:pt x="509312" y="26795"/>
                      </a:lnTo>
                      <a:lnTo>
                        <a:pt x="509953" y="32448"/>
                      </a:lnTo>
                      <a:lnTo>
                        <a:pt x="503655" y="42119"/>
                      </a:lnTo>
                      <a:lnTo>
                        <a:pt x="501281" y="44873"/>
                      </a:lnTo>
                      <a:lnTo>
                        <a:pt x="499423" y="45754"/>
                      </a:lnTo>
                      <a:lnTo>
                        <a:pt x="494917" y="46838"/>
                      </a:lnTo>
                      <a:lnTo>
                        <a:pt x="493971" y="47845"/>
                      </a:lnTo>
                      <a:lnTo>
                        <a:pt x="493052" y="50495"/>
                      </a:lnTo>
                      <a:lnTo>
                        <a:pt x="492189" y="51202"/>
                      </a:lnTo>
                      <a:lnTo>
                        <a:pt x="484768" y="50048"/>
                      </a:lnTo>
                      <a:lnTo>
                        <a:pt x="482205" y="50589"/>
                      </a:lnTo>
                      <a:lnTo>
                        <a:pt x="477282" y="53495"/>
                      </a:lnTo>
                      <a:lnTo>
                        <a:pt x="474623" y="53249"/>
                      </a:lnTo>
                      <a:lnTo>
                        <a:pt x="474735" y="49492"/>
                      </a:lnTo>
                      <a:lnTo>
                        <a:pt x="468974" y="45479"/>
                      </a:lnTo>
                      <a:lnTo>
                        <a:pt x="466569" y="42405"/>
                      </a:lnTo>
                      <a:lnTo>
                        <a:pt x="469557" y="41594"/>
                      </a:lnTo>
                      <a:lnTo>
                        <a:pt x="479221" y="44394"/>
                      </a:lnTo>
                      <a:lnTo>
                        <a:pt x="474668" y="39933"/>
                      </a:lnTo>
                      <a:lnTo>
                        <a:pt x="451532" y="29926"/>
                      </a:lnTo>
                      <a:lnTo>
                        <a:pt x="449167" y="25528"/>
                      </a:lnTo>
                      <a:lnTo>
                        <a:pt x="450986" y="18420"/>
                      </a:lnTo>
                      <a:lnTo>
                        <a:pt x="450506" y="17744"/>
                      </a:lnTo>
                      <a:lnTo>
                        <a:pt x="449401" y="15557"/>
                      </a:lnTo>
                      <a:lnTo>
                        <a:pt x="454802" y="12357"/>
                      </a:lnTo>
                      <a:lnTo>
                        <a:pt x="459443" y="11043"/>
                      </a:lnTo>
                      <a:lnTo>
                        <a:pt x="468718" y="11660"/>
                      </a:lnTo>
                      <a:lnTo>
                        <a:pt x="473045" y="10205"/>
                      </a:lnTo>
                      <a:lnTo>
                        <a:pt x="482405" y="1930"/>
                      </a:lnTo>
                      <a:close/>
                    </a:path>
                  </a:pathLst>
                </a:custGeom>
                <a:solidFill>
                  <a:srgbClr val="72AEB8"/>
                </a:solidFill>
                <a:ln w="3175" cap="rnd">
                  <a:solidFill>
                    <a:srgbClr val="72AEB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Freeform 74">
                  <a:extLst>
                    <a:ext uri="{FF2B5EF4-FFF2-40B4-BE49-F238E27FC236}">
                      <a16:creationId xmlns:a16="http://schemas.microsoft.com/office/drawing/2014/main" id="{3B69A8F8-F4FF-44D8-AC06-15174F6558B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8"/>
                  </p:custDataLst>
                </p:nvPr>
              </p:nvSpPr>
              <p:spPr>
                <a:xfrm>
                  <a:off x="2478059" y="2539218"/>
                  <a:ext cx="547260" cy="6935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517" h="748331">
                      <a:moveTo>
                        <a:pt x="225130" y="255307"/>
                      </a:moveTo>
                      <a:lnTo>
                        <a:pt x="228575" y="258476"/>
                      </a:lnTo>
                      <a:lnTo>
                        <a:pt x="227306" y="263862"/>
                      </a:lnTo>
                      <a:lnTo>
                        <a:pt x="229460" y="270468"/>
                      </a:lnTo>
                      <a:lnTo>
                        <a:pt x="235258" y="280777"/>
                      </a:lnTo>
                      <a:lnTo>
                        <a:pt x="236944" y="285192"/>
                      </a:lnTo>
                      <a:lnTo>
                        <a:pt x="237950" y="290400"/>
                      </a:lnTo>
                      <a:lnTo>
                        <a:pt x="237704" y="296129"/>
                      </a:lnTo>
                      <a:lnTo>
                        <a:pt x="235701" y="302259"/>
                      </a:lnTo>
                      <a:lnTo>
                        <a:pt x="248325" y="316542"/>
                      </a:lnTo>
                      <a:lnTo>
                        <a:pt x="254601" y="327033"/>
                      </a:lnTo>
                      <a:lnTo>
                        <a:pt x="255692" y="334773"/>
                      </a:lnTo>
                      <a:lnTo>
                        <a:pt x="251324" y="345814"/>
                      </a:lnTo>
                      <a:lnTo>
                        <a:pt x="248596" y="351502"/>
                      </a:lnTo>
                      <a:lnTo>
                        <a:pt x="231869" y="366257"/>
                      </a:lnTo>
                      <a:lnTo>
                        <a:pt x="235331" y="367875"/>
                      </a:lnTo>
                      <a:lnTo>
                        <a:pt x="241354" y="366621"/>
                      </a:lnTo>
                      <a:lnTo>
                        <a:pt x="247519" y="363708"/>
                      </a:lnTo>
                      <a:lnTo>
                        <a:pt x="255805" y="357183"/>
                      </a:lnTo>
                      <a:lnTo>
                        <a:pt x="261007" y="358383"/>
                      </a:lnTo>
                      <a:lnTo>
                        <a:pt x="265771" y="362321"/>
                      </a:lnTo>
                      <a:lnTo>
                        <a:pt x="272663" y="372712"/>
                      </a:lnTo>
                      <a:lnTo>
                        <a:pt x="278661" y="374340"/>
                      </a:lnTo>
                      <a:lnTo>
                        <a:pt x="290073" y="373472"/>
                      </a:lnTo>
                      <a:lnTo>
                        <a:pt x="294735" y="374900"/>
                      </a:lnTo>
                      <a:lnTo>
                        <a:pt x="296128" y="379207"/>
                      </a:lnTo>
                      <a:lnTo>
                        <a:pt x="294909" y="395489"/>
                      </a:lnTo>
                      <a:lnTo>
                        <a:pt x="296614" y="393695"/>
                      </a:lnTo>
                      <a:lnTo>
                        <a:pt x="297534" y="390786"/>
                      </a:lnTo>
                      <a:lnTo>
                        <a:pt x="298471" y="382819"/>
                      </a:lnTo>
                      <a:lnTo>
                        <a:pt x="298766" y="381834"/>
                      </a:lnTo>
                      <a:lnTo>
                        <a:pt x="299211" y="381306"/>
                      </a:lnTo>
                      <a:lnTo>
                        <a:pt x="299724" y="380418"/>
                      </a:lnTo>
                      <a:lnTo>
                        <a:pt x="300160" y="378359"/>
                      </a:lnTo>
                      <a:lnTo>
                        <a:pt x="300048" y="376417"/>
                      </a:lnTo>
                      <a:lnTo>
                        <a:pt x="299458" y="375283"/>
                      </a:lnTo>
                      <a:lnTo>
                        <a:pt x="298829" y="374484"/>
                      </a:lnTo>
                      <a:lnTo>
                        <a:pt x="298613" y="373410"/>
                      </a:lnTo>
                      <a:lnTo>
                        <a:pt x="295878" y="368856"/>
                      </a:lnTo>
                      <a:lnTo>
                        <a:pt x="271833" y="359933"/>
                      </a:lnTo>
                      <a:lnTo>
                        <a:pt x="269659" y="358176"/>
                      </a:lnTo>
                      <a:lnTo>
                        <a:pt x="268078" y="355429"/>
                      </a:lnTo>
                      <a:lnTo>
                        <a:pt x="267333" y="352188"/>
                      </a:lnTo>
                      <a:lnTo>
                        <a:pt x="266825" y="347645"/>
                      </a:lnTo>
                      <a:lnTo>
                        <a:pt x="267103" y="343623"/>
                      </a:lnTo>
                      <a:lnTo>
                        <a:pt x="268649" y="342098"/>
                      </a:lnTo>
                      <a:lnTo>
                        <a:pt x="270414" y="341040"/>
                      </a:lnTo>
                      <a:lnTo>
                        <a:pt x="274776" y="335450"/>
                      </a:lnTo>
                      <a:lnTo>
                        <a:pt x="276618" y="333550"/>
                      </a:lnTo>
                      <a:lnTo>
                        <a:pt x="286700" y="330019"/>
                      </a:lnTo>
                      <a:lnTo>
                        <a:pt x="309435" y="327816"/>
                      </a:lnTo>
                      <a:lnTo>
                        <a:pt x="311890" y="329101"/>
                      </a:lnTo>
                      <a:lnTo>
                        <a:pt x="316868" y="336241"/>
                      </a:lnTo>
                      <a:lnTo>
                        <a:pt x="319562" y="337666"/>
                      </a:lnTo>
                      <a:lnTo>
                        <a:pt x="321740" y="337456"/>
                      </a:lnTo>
                      <a:lnTo>
                        <a:pt x="326509" y="334787"/>
                      </a:lnTo>
                      <a:lnTo>
                        <a:pt x="331557" y="333836"/>
                      </a:lnTo>
                      <a:lnTo>
                        <a:pt x="336791" y="335184"/>
                      </a:lnTo>
                      <a:lnTo>
                        <a:pt x="341711" y="338392"/>
                      </a:lnTo>
                      <a:lnTo>
                        <a:pt x="345863" y="343124"/>
                      </a:lnTo>
                      <a:lnTo>
                        <a:pt x="350424" y="345095"/>
                      </a:lnTo>
                      <a:lnTo>
                        <a:pt x="368700" y="339660"/>
                      </a:lnTo>
                      <a:lnTo>
                        <a:pt x="369356" y="341476"/>
                      </a:lnTo>
                      <a:lnTo>
                        <a:pt x="378670" y="345543"/>
                      </a:lnTo>
                      <a:lnTo>
                        <a:pt x="381898" y="351343"/>
                      </a:lnTo>
                      <a:lnTo>
                        <a:pt x="383859" y="353531"/>
                      </a:lnTo>
                      <a:lnTo>
                        <a:pt x="385906" y="352427"/>
                      </a:lnTo>
                      <a:lnTo>
                        <a:pt x="389644" y="346103"/>
                      </a:lnTo>
                      <a:lnTo>
                        <a:pt x="391499" y="345120"/>
                      </a:lnTo>
                      <a:lnTo>
                        <a:pt x="396930" y="345056"/>
                      </a:lnTo>
                      <a:lnTo>
                        <a:pt x="396013" y="365557"/>
                      </a:lnTo>
                      <a:lnTo>
                        <a:pt x="397478" y="370259"/>
                      </a:lnTo>
                      <a:lnTo>
                        <a:pt x="399774" y="375203"/>
                      </a:lnTo>
                      <a:lnTo>
                        <a:pt x="402205" y="377520"/>
                      </a:lnTo>
                      <a:lnTo>
                        <a:pt x="406698" y="379862"/>
                      </a:lnTo>
                      <a:lnTo>
                        <a:pt x="482780" y="392100"/>
                      </a:lnTo>
                      <a:lnTo>
                        <a:pt x="506397" y="443061"/>
                      </a:lnTo>
                      <a:lnTo>
                        <a:pt x="571417" y="446477"/>
                      </a:lnTo>
                      <a:lnTo>
                        <a:pt x="590517" y="518787"/>
                      </a:lnTo>
                      <a:lnTo>
                        <a:pt x="569594" y="544038"/>
                      </a:lnTo>
                      <a:lnTo>
                        <a:pt x="567366" y="549362"/>
                      </a:lnTo>
                      <a:lnTo>
                        <a:pt x="567301" y="556606"/>
                      </a:lnTo>
                      <a:lnTo>
                        <a:pt x="571901" y="610097"/>
                      </a:lnTo>
                      <a:lnTo>
                        <a:pt x="570846" y="618049"/>
                      </a:lnTo>
                      <a:lnTo>
                        <a:pt x="567559" y="627406"/>
                      </a:lnTo>
                      <a:lnTo>
                        <a:pt x="560434" y="643664"/>
                      </a:lnTo>
                      <a:lnTo>
                        <a:pt x="557513" y="653017"/>
                      </a:lnTo>
                      <a:lnTo>
                        <a:pt x="557072" y="659929"/>
                      </a:lnTo>
                      <a:lnTo>
                        <a:pt x="579670" y="745995"/>
                      </a:lnTo>
                      <a:lnTo>
                        <a:pt x="579656" y="745998"/>
                      </a:lnTo>
                      <a:lnTo>
                        <a:pt x="561972" y="748331"/>
                      </a:lnTo>
                      <a:lnTo>
                        <a:pt x="537628" y="734620"/>
                      </a:lnTo>
                      <a:lnTo>
                        <a:pt x="508046" y="724970"/>
                      </a:lnTo>
                      <a:lnTo>
                        <a:pt x="503314" y="726888"/>
                      </a:lnTo>
                      <a:lnTo>
                        <a:pt x="490942" y="729289"/>
                      </a:lnTo>
                      <a:lnTo>
                        <a:pt x="488522" y="728229"/>
                      </a:lnTo>
                      <a:lnTo>
                        <a:pt x="485875" y="726321"/>
                      </a:lnTo>
                      <a:lnTo>
                        <a:pt x="483031" y="723458"/>
                      </a:lnTo>
                      <a:lnTo>
                        <a:pt x="478966" y="720582"/>
                      </a:lnTo>
                      <a:lnTo>
                        <a:pt x="468548" y="717455"/>
                      </a:lnTo>
                      <a:lnTo>
                        <a:pt x="463838" y="713334"/>
                      </a:lnTo>
                      <a:lnTo>
                        <a:pt x="460460" y="706379"/>
                      </a:lnTo>
                      <a:lnTo>
                        <a:pt x="457582" y="697865"/>
                      </a:lnTo>
                      <a:lnTo>
                        <a:pt x="455433" y="693681"/>
                      </a:lnTo>
                      <a:lnTo>
                        <a:pt x="420815" y="652533"/>
                      </a:lnTo>
                      <a:lnTo>
                        <a:pt x="418110" y="646950"/>
                      </a:lnTo>
                      <a:lnTo>
                        <a:pt x="416024" y="641483"/>
                      </a:lnTo>
                      <a:lnTo>
                        <a:pt x="414574" y="634620"/>
                      </a:lnTo>
                      <a:lnTo>
                        <a:pt x="413811" y="627451"/>
                      </a:lnTo>
                      <a:lnTo>
                        <a:pt x="414007" y="623212"/>
                      </a:lnTo>
                      <a:lnTo>
                        <a:pt x="413820" y="618134"/>
                      </a:lnTo>
                      <a:lnTo>
                        <a:pt x="407430" y="612695"/>
                      </a:lnTo>
                      <a:lnTo>
                        <a:pt x="372397" y="599176"/>
                      </a:lnTo>
                      <a:lnTo>
                        <a:pt x="357622" y="601697"/>
                      </a:lnTo>
                      <a:lnTo>
                        <a:pt x="348331" y="609543"/>
                      </a:lnTo>
                      <a:lnTo>
                        <a:pt x="346668" y="609805"/>
                      </a:lnTo>
                      <a:lnTo>
                        <a:pt x="344674" y="609626"/>
                      </a:lnTo>
                      <a:lnTo>
                        <a:pt x="343564" y="608259"/>
                      </a:lnTo>
                      <a:lnTo>
                        <a:pt x="342750" y="606685"/>
                      </a:lnTo>
                      <a:lnTo>
                        <a:pt x="342448" y="605176"/>
                      </a:lnTo>
                      <a:lnTo>
                        <a:pt x="341386" y="602718"/>
                      </a:lnTo>
                      <a:lnTo>
                        <a:pt x="336812" y="599314"/>
                      </a:lnTo>
                      <a:lnTo>
                        <a:pt x="322825" y="600388"/>
                      </a:lnTo>
                      <a:lnTo>
                        <a:pt x="276179" y="588283"/>
                      </a:lnTo>
                      <a:lnTo>
                        <a:pt x="253734" y="603849"/>
                      </a:lnTo>
                      <a:lnTo>
                        <a:pt x="241410" y="626435"/>
                      </a:lnTo>
                      <a:lnTo>
                        <a:pt x="236376" y="641033"/>
                      </a:lnTo>
                      <a:lnTo>
                        <a:pt x="234846" y="651766"/>
                      </a:lnTo>
                      <a:lnTo>
                        <a:pt x="235912" y="661035"/>
                      </a:lnTo>
                      <a:lnTo>
                        <a:pt x="236724" y="675737"/>
                      </a:lnTo>
                      <a:lnTo>
                        <a:pt x="233273" y="680294"/>
                      </a:lnTo>
                      <a:lnTo>
                        <a:pt x="230887" y="681215"/>
                      </a:lnTo>
                      <a:lnTo>
                        <a:pt x="216143" y="686327"/>
                      </a:lnTo>
                      <a:lnTo>
                        <a:pt x="213475" y="688895"/>
                      </a:lnTo>
                      <a:lnTo>
                        <a:pt x="209995" y="692963"/>
                      </a:lnTo>
                      <a:lnTo>
                        <a:pt x="206159" y="699013"/>
                      </a:lnTo>
                      <a:lnTo>
                        <a:pt x="203309" y="701384"/>
                      </a:lnTo>
                      <a:lnTo>
                        <a:pt x="200871" y="702250"/>
                      </a:lnTo>
                      <a:lnTo>
                        <a:pt x="194917" y="699087"/>
                      </a:lnTo>
                      <a:lnTo>
                        <a:pt x="193456" y="699955"/>
                      </a:lnTo>
                      <a:lnTo>
                        <a:pt x="192535" y="701901"/>
                      </a:lnTo>
                      <a:lnTo>
                        <a:pt x="191743" y="704630"/>
                      </a:lnTo>
                      <a:lnTo>
                        <a:pt x="188781" y="708993"/>
                      </a:lnTo>
                      <a:lnTo>
                        <a:pt x="187338" y="711890"/>
                      </a:lnTo>
                      <a:lnTo>
                        <a:pt x="178839" y="723169"/>
                      </a:lnTo>
                      <a:lnTo>
                        <a:pt x="148708" y="723293"/>
                      </a:lnTo>
                      <a:lnTo>
                        <a:pt x="135702" y="715755"/>
                      </a:lnTo>
                      <a:lnTo>
                        <a:pt x="128472" y="709120"/>
                      </a:lnTo>
                      <a:lnTo>
                        <a:pt x="95806" y="689634"/>
                      </a:lnTo>
                      <a:lnTo>
                        <a:pt x="72927" y="676172"/>
                      </a:lnTo>
                      <a:lnTo>
                        <a:pt x="86858" y="664381"/>
                      </a:lnTo>
                      <a:lnTo>
                        <a:pt x="89634" y="659241"/>
                      </a:lnTo>
                      <a:lnTo>
                        <a:pt x="92859" y="652070"/>
                      </a:lnTo>
                      <a:lnTo>
                        <a:pt x="94688" y="643192"/>
                      </a:lnTo>
                      <a:lnTo>
                        <a:pt x="97745" y="634266"/>
                      </a:lnTo>
                      <a:lnTo>
                        <a:pt x="100929" y="628134"/>
                      </a:lnTo>
                      <a:lnTo>
                        <a:pt x="104149" y="622944"/>
                      </a:lnTo>
                      <a:lnTo>
                        <a:pt x="105678" y="619003"/>
                      </a:lnTo>
                      <a:lnTo>
                        <a:pt x="105937" y="616342"/>
                      </a:lnTo>
                      <a:lnTo>
                        <a:pt x="105157" y="614369"/>
                      </a:lnTo>
                      <a:lnTo>
                        <a:pt x="104033" y="613467"/>
                      </a:lnTo>
                      <a:lnTo>
                        <a:pt x="96843" y="610220"/>
                      </a:lnTo>
                      <a:lnTo>
                        <a:pt x="94696" y="608246"/>
                      </a:lnTo>
                      <a:lnTo>
                        <a:pt x="65195" y="558478"/>
                      </a:lnTo>
                      <a:lnTo>
                        <a:pt x="64449" y="552938"/>
                      </a:lnTo>
                      <a:lnTo>
                        <a:pt x="65478" y="550900"/>
                      </a:lnTo>
                      <a:lnTo>
                        <a:pt x="67667" y="548952"/>
                      </a:lnTo>
                      <a:lnTo>
                        <a:pt x="126225" y="535136"/>
                      </a:lnTo>
                      <a:lnTo>
                        <a:pt x="137153" y="531614"/>
                      </a:lnTo>
                      <a:lnTo>
                        <a:pt x="145165" y="527853"/>
                      </a:lnTo>
                      <a:lnTo>
                        <a:pt x="153174" y="510040"/>
                      </a:lnTo>
                      <a:lnTo>
                        <a:pt x="153865" y="505921"/>
                      </a:lnTo>
                      <a:lnTo>
                        <a:pt x="154313" y="500660"/>
                      </a:lnTo>
                      <a:lnTo>
                        <a:pt x="153846" y="496739"/>
                      </a:lnTo>
                      <a:lnTo>
                        <a:pt x="153884" y="492481"/>
                      </a:lnTo>
                      <a:lnTo>
                        <a:pt x="155801" y="487704"/>
                      </a:lnTo>
                      <a:lnTo>
                        <a:pt x="159838" y="483173"/>
                      </a:lnTo>
                      <a:lnTo>
                        <a:pt x="174639" y="472443"/>
                      </a:lnTo>
                      <a:lnTo>
                        <a:pt x="179235" y="467088"/>
                      </a:lnTo>
                      <a:lnTo>
                        <a:pt x="177177" y="464060"/>
                      </a:lnTo>
                      <a:lnTo>
                        <a:pt x="173802" y="460939"/>
                      </a:lnTo>
                      <a:lnTo>
                        <a:pt x="170878" y="457074"/>
                      </a:lnTo>
                      <a:lnTo>
                        <a:pt x="166617" y="454014"/>
                      </a:lnTo>
                      <a:lnTo>
                        <a:pt x="166220" y="448659"/>
                      </a:lnTo>
                      <a:lnTo>
                        <a:pt x="167228" y="445079"/>
                      </a:lnTo>
                      <a:lnTo>
                        <a:pt x="167997" y="439609"/>
                      </a:lnTo>
                      <a:lnTo>
                        <a:pt x="167528" y="435364"/>
                      </a:lnTo>
                      <a:lnTo>
                        <a:pt x="167554" y="431833"/>
                      </a:lnTo>
                      <a:lnTo>
                        <a:pt x="169321" y="416740"/>
                      </a:lnTo>
                      <a:lnTo>
                        <a:pt x="169795" y="410366"/>
                      </a:lnTo>
                      <a:lnTo>
                        <a:pt x="169338" y="405887"/>
                      </a:lnTo>
                      <a:lnTo>
                        <a:pt x="162010" y="399501"/>
                      </a:lnTo>
                      <a:lnTo>
                        <a:pt x="148858" y="396598"/>
                      </a:lnTo>
                      <a:lnTo>
                        <a:pt x="141189" y="395280"/>
                      </a:lnTo>
                      <a:lnTo>
                        <a:pt x="134291" y="398462"/>
                      </a:lnTo>
                      <a:lnTo>
                        <a:pt x="131179" y="401087"/>
                      </a:lnTo>
                      <a:lnTo>
                        <a:pt x="129792" y="403874"/>
                      </a:lnTo>
                      <a:lnTo>
                        <a:pt x="129509" y="407579"/>
                      </a:lnTo>
                      <a:lnTo>
                        <a:pt x="129721" y="412001"/>
                      </a:lnTo>
                      <a:lnTo>
                        <a:pt x="128733" y="416341"/>
                      </a:lnTo>
                      <a:lnTo>
                        <a:pt x="126560" y="417956"/>
                      </a:lnTo>
                      <a:lnTo>
                        <a:pt x="117273" y="416120"/>
                      </a:lnTo>
                      <a:lnTo>
                        <a:pt x="101118" y="409491"/>
                      </a:lnTo>
                      <a:lnTo>
                        <a:pt x="94981" y="411105"/>
                      </a:lnTo>
                      <a:lnTo>
                        <a:pt x="86283" y="415387"/>
                      </a:lnTo>
                      <a:lnTo>
                        <a:pt x="78880" y="415459"/>
                      </a:lnTo>
                      <a:lnTo>
                        <a:pt x="72770" y="411394"/>
                      </a:lnTo>
                      <a:lnTo>
                        <a:pt x="72346" y="403171"/>
                      </a:lnTo>
                      <a:lnTo>
                        <a:pt x="67157" y="394591"/>
                      </a:lnTo>
                      <a:lnTo>
                        <a:pt x="66975" y="392786"/>
                      </a:lnTo>
                      <a:lnTo>
                        <a:pt x="67942" y="391309"/>
                      </a:lnTo>
                      <a:lnTo>
                        <a:pt x="74750" y="388799"/>
                      </a:lnTo>
                      <a:lnTo>
                        <a:pt x="89384" y="387894"/>
                      </a:lnTo>
                      <a:lnTo>
                        <a:pt x="77873" y="386816"/>
                      </a:lnTo>
                      <a:lnTo>
                        <a:pt x="80247" y="378891"/>
                      </a:lnTo>
                      <a:lnTo>
                        <a:pt x="83314" y="366381"/>
                      </a:lnTo>
                      <a:lnTo>
                        <a:pt x="90303" y="346301"/>
                      </a:lnTo>
                      <a:lnTo>
                        <a:pt x="91965" y="338123"/>
                      </a:lnTo>
                      <a:lnTo>
                        <a:pt x="91671" y="333152"/>
                      </a:lnTo>
                      <a:lnTo>
                        <a:pt x="89873" y="330079"/>
                      </a:lnTo>
                      <a:lnTo>
                        <a:pt x="84516" y="325904"/>
                      </a:lnTo>
                      <a:lnTo>
                        <a:pt x="81732" y="322463"/>
                      </a:lnTo>
                      <a:lnTo>
                        <a:pt x="79829" y="319094"/>
                      </a:lnTo>
                      <a:lnTo>
                        <a:pt x="76941" y="311997"/>
                      </a:lnTo>
                      <a:lnTo>
                        <a:pt x="75870" y="309869"/>
                      </a:lnTo>
                      <a:lnTo>
                        <a:pt x="76758" y="309514"/>
                      </a:lnTo>
                      <a:lnTo>
                        <a:pt x="81512" y="310836"/>
                      </a:lnTo>
                      <a:lnTo>
                        <a:pt x="84012" y="314350"/>
                      </a:lnTo>
                      <a:lnTo>
                        <a:pt x="85921" y="318818"/>
                      </a:lnTo>
                      <a:lnTo>
                        <a:pt x="88805" y="322968"/>
                      </a:lnTo>
                      <a:lnTo>
                        <a:pt x="91522" y="315079"/>
                      </a:lnTo>
                      <a:lnTo>
                        <a:pt x="96966" y="314956"/>
                      </a:lnTo>
                      <a:lnTo>
                        <a:pt x="103050" y="317692"/>
                      </a:lnTo>
                      <a:lnTo>
                        <a:pt x="107581" y="318457"/>
                      </a:lnTo>
                      <a:lnTo>
                        <a:pt x="107879" y="316324"/>
                      </a:lnTo>
                      <a:lnTo>
                        <a:pt x="104228" y="315810"/>
                      </a:lnTo>
                      <a:lnTo>
                        <a:pt x="103752" y="312588"/>
                      </a:lnTo>
                      <a:lnTo>
                        <a:pt x="105518" y="308231"/>
                      </a:lnTo>
                      <a:lnTo>
                        <a:pt x="110423" y="302097"/>
                      </a:lnTo>
                      <a:lnTo>
                        <a:pt x="111322" y="301840"/>
                      </a:lnTo>
                      <a:lnTo>
                        <a:pt x="113118" y="302334"/>
                      </a:lnTo>
                      <a:lnTo>
                        <a:pt x="117744" y="307940"/>
                      </a:lnTo>
                      <a:lnTo>
                        <a:pt x="125544" y="320962"/>
                      </a:lnTo>
                      <a:lnTo>
                        <a:pt x="126341" y="324867"/>
                      </a:lnTo>
                      <a:lnTo>
                        <a:pt x="126631" y="329042"/>
                      </a:lnTo>
                      <a:lnTo>
                        <a:pt x="127172" y="332968"/>
                      </a:lnTo>
                      <a:lnTo>
                        <a:pt x="128782" y="336160"/>
                      </a:lnTo>
                      <a:lnTo>
                        <a:pt x="124704" y="340371"/>
                      </a:lnTo>
                      <a:lnTo>
                        <a:pt x="120220" y="346400"/>
                      </a:lnTo>
                      <a:lnTo>
                        <a:pt x="116948" y="354046"/>
                      </a:lnTo>
                      <a:lnTo>
                        <a:pt x="116444" y="363057"/>
                      </a:lnTo>
                      <a:lnTo>
                        <a:pt x="122594" y="354616"/>
                      </a:lnTo>
                      <a:lnTo>
                        <a:pt x="125815" y="351480"/>
                      </a:lnTo>
                      <a:lnTo>
                        <a:pt x="133623" y="349912"/>
                      </a:lnTo>
                      <a:lnTo>
                        <a:pt x="145988" y="343050"/>
                      </a:lnTo>
                      <a:lnTo>
                        <a:pt x="172879" y="340566"/>
                      </a:lnTo>
                      <a:lnTo>
                        <a:pt x="180435" y="333392"/>
                      </a:lnTo>
                      <a:lnTo>
                        <a:pt x="176171" y="333848"/>
                      </a:lnTo>
                      <a:lnTo>
                        <a:pt x="166917" y="337596"/>
                      </a:lnTo>
                      <a:lnTo>
                        <a:pt x="146163" y="336682"/>
                      </a:lnTo>
                      <a:lnTo>
                        <a:pt x="141128" y="338921"/>
                      </a:lnTo>
                      <a:lnTo>
                        <a:pt x="139252" y="338963"/>
                      </a:lnTo>
                      <a:lnTo>
                        <a:pt x="137364" y="337127"/>
                      </a:lnTo>
                      <a:lnTo>
                        <a:pt x="135747" y="334433"/>
                      </a:lnTo>
                      <a:lnTo>
                        <a:pt x="132940" y="327625"/>
                      </a:lnTo>
                      <a:lnTo>
                        <a:pt x="134053" y="321071"/>
                      </a:lnTo>
                      <a:lnTo>
                        <a:pt x="136795" y="316803"/>
                      </a:lnTo>
                      <a:lnTo>
                        <a:pt x="184345" y="309716"/>
                      </a:lnTo>
                      <a:lnTo>
                        <a:pt x="184773" y="308780"/>
                      </a:lnTo>
                      <a:lnTo>
                        <a:pt x="185146" y="306529"/>
                      </a:lnTo>
                      <a:lnTo>
                        <a:pt x="184784" y="304948"/>
                      </a:lnTo>
                      <a:lnTo>
                        <a:pt x="183409" y="305290"/>
                      </a:lnTo>
                      <a:lnTo>
                        <a:pt x="180748" y="307023"/>
                      </a:lnTo>
                      <a:lnTo>
                        <a:pt x="166021" y="309696"/>
                      </a:lnTo>
                      <a:lnTo>
                        <a:pt x="161252" y="308955"/>
                      </a:lnTo>
                      <a:lnTo>
                        <a:pt x="156816" y="304435"/>
                      </a:lnTo>
                      <a:lnTo>
                        <a:pt x="154559" y="303503"/>
                      </a:lnTo>
                      <a:lnTo>
                        <a:pt x="153868" y="302429"/>
                      </a:lnTo>
                      <a:lnTo>
                        <a:pt x="152662" y="297662"/>
                      </a:lnTo>
                      <a:lnTo>
                        <a:pt x="151305" y="295900"/>
                      </a:lnTo>
                      <a:lnTo>
                        <a:pt x="151260" y="301094"/>
                      </a:lnTo>
                      <a:lnTo>
                        <a:pt x="151638" y="305236"/>
                      </a:lnTo>
                      <a:lnTo>
                        <a:pt x="152692" y="308405"/>
                      </a:lnTo>
                      <a:lnTo>
                        <a:pt x="154659" y="310648"/>
                      </a:lnTo>
                      <a:lnTo>
                        <a:pt x="142133" y="308840"/>
                      </a:lnTo>
                      <a:lnTo>
                        <a:pt x="135920" y="305386"/>
                      </a:lnTo>
                      <a:lnTo>
                        <a:pt x="133949" y="298494"/>
                      </a:lnTo>
                      <a:lnTo>
                        <a:pt x="136990" y="291467"/>
                      </a:lnTo>
                      <a:lnTo>
                        <a:pt x="141967" y="289892"/>
                      </a:lnTo>
                      <a:lnTo>
                        <a:pt x="149877" y="290933"/>
                      </a:lnTo>
                      <a:lnTo>
                        <a:pt x="149750" y="283669"/>
                      </a:lnTo>
                      <a:lnTo>
                        <a:pt x="152644" y="283781"/>
                      </a:lnTo>
                      <a:lnTo>
                        <a:pt x="156582" y="286277"/>
                      </a:lnTo>
                      <a:lnTo>
                        <a:pt x="159517" y="286277"/>
                      </a:lnTo>
                      <a:lnTo>
                        <a:pt x="162650" y="282355"/>
                      </a:lnTo>
                      <a:lnTo>
                        <a:pt x="166844" y="278618"/>
                      </a:lnTo>
                      <a:lnTo>
                        <a:pt x="171045" y="276499"/>
                      </a:lnTo>
                      <a:lnTo>
                        <a:pt x="174072" y="277289"/>
                      </a:lnTo>
                      <a:lnTo>
                        <a:pt x="172089" y="279935"/>
                      </a:lnTo>
                      <a:lnTo>
                        <a:pt x="171075" y="283832"/>
                      </a:lnTo>
                      <a:lnTo>
                        <a:pt x="171104" y="287968"/>
                      </a:lnTo>
                      <a:lnTo>
                        <a:pt x="172195" y="291353"/>
                      </a:lnTo>
                      <a:lnTo>
                        <a:pt x="174383" y="292598"/>
                      </a:lnTo>
                      <a:lnTo>
                        <a:pt x="176715" y="290667"/>
                      </a:lnTo>
                      <a:lnTo>
                        <a:pt x="185021" y="278937"/>
                      </a:lnTo>
                      <a:lnTo>
                        <a:pt x="188023" y="275815"/>
                      </a:lnTo>
                      <a:lnTo>
                        <a:pt x="191084" y="274432"/>
                      </a:lnTo>
                      <a:lnTo>
                        <a:pt x="194543" y="275486"/>
                      </a:lnTo>
                      <a:lnTo>
                        <a:pt x="196906" y="278551"/>
                      </a:lnTo>
                      <a:lnTo>
                        <a:pt x="199532" y="286379"/>
                      </a:lnTo>
                      <a:lnTo>
                        <a:pt x="201353" y="288308"/>
                      </a:lnTo>
                      <a:lnTo>
                        <a:pt x="200529" y="279525"/>
                      </a:lnTo>
                      <a:lnTo>
                        <a:pt x="198954" y="274193"/>
                      </a:lnTo>
                      <a:lnTo>
                        <a:pt x="195960" y="271328"/>
                      </a:lnTo>
                      <a:lnTo>
                        <a:pt x="190918" y="270036"/>
                      </a:lnTo>
                      <a:lnTo>
                        <a:pt x="195557" y="265666"/>
                      </a:lnTo>
                      <a:lnTo>
                        <a:pt x="200316" y="263993"/>
                      </a:lnTo>
                      <a:lnTo>
                        <a:pt x="210025" y="263010"/>
                      </a:lnTo>
                      <a:lnTo>
                        <a:pt x="220052" y="256991"/>
                      </a:lnTo>
                      <a:close/>
                      <a:moveTo>
                        <a:pt x="128414" y="236517"/>
                      </a:moveTo>
                      <a:lnTo>
                        <a:pt x="132527" y="236835"/>
                      </a:lnTo>
                      <a:lnTo>
                        <a:pt x="135906" y="238000"/>
                      </a:lnTo>
                      <a:lnTo>
                        <a:pt x="137351" y="239764"/>
                      </a:lnTo>
                      <a:lnTo>
                        <a:pt x="137244" y="241000"/>
                      </a:lnTo>
                      <a:lnTo>
                        <a:pt x="137821" y="241747"/>
                      </a:lnTo>
                      <a:lnTo>
                        <a:pt x="141170" y="241315"/>
                      </a:lnTo>
                      <a:lnTo>
                        <a:pt x="141966" y="241937"/>
                      </a:lnTo>
                      <a:lnTo>
                        <a:pt x="142812" y="242935"/>
                      </a:lnTo>
                      <a:lnTo>
                        <a:pt x="143301" y="243229"/>
                      </a:lnTo>
                      <a:lnTo>
                        <a:pt x="144338" y="243572"/>
                      </a:lnTo>
                      <a:lnTo>
                        <a:pt x="144660" y="245633"/>
                      </a:lnTo>
                      <a:lnTo>
                        <a:pt x="142969" y="248043"/>
                      </a:lnTo>
                      <a:lnTo>
                        <a:pt x="138194" y="249203"/>
                      </a:lnTo>
                      <a:lnTo>
                        <a:pt x="134524" y="251309"/>
                      </a:lnTo>
                      <a:lnTo>
                        <a:pt x="128937" y="253389"/>
                      </a:lnTo>
                      <a:lnTo>
                        <a:pt x="122109" y="250944"/>
                      </a:lnTo>
                      <a:lnTo>
                        <a:pt x="120109" y="247367"/>
                      </a:lnTo>
                      <a:lnTo>
                        <a:pt x="122237" y="246399"/>
                      </a:lnTo>
                      <a:lnTo>
                        <a:pt x="122922" y="245557"/>
                      </a:lnTo>
                      <a:lnTo>
                        <a:pt x="123276" y="243830"/>
                      </a:lnTo>
                      <a:lnTo>
                        <a:pt x="124633" y="241873"/>
                      </a:lnTo>
                      <a:lnTo>
                        <a:pt x="125217" y="240207"/>
                      </a:lnTo>
                      <a:lnTo>
                        <a:pt x="125622" y="238387"/>
                      </a:lnTo>
                      <a:lnTo>
                        <a:pt x="126852" y="236968"/>
                      </a:lnTo>
                      <a:close/>
                      <a:moveTo>
                        <a:pt x="112111" y="235508"/>
                      </a:moveTo>
                      <a:lnTo>
                        <a:pt x="114106" y="236203"/>
                      </a:lnTo>
                      <a:lnTo>
                        <a:pt x="115365" y="240616"/>
                      </a:lnTo>
                      <a:lnTo>
                        <a:pt x="114722" y="240440"/>
                      </a:lnTo>
                      <a:lnTo>
                        <a:pt x="113451" y="241768"/>
                      </a:lnTo>
                      <a:lnTo>
                        <a:pt x="112213" y="243583"/>
                      </a:lnTo>
                      <a:lnTo>
                        <a:pt x="111604" y="244862"/>
                      </a:lnTo>
                      <a:lnTo>
                        <a:pt x="111895" y="246922"/>
                      </a:lnTo>
                      <a:lnTo>
                        <a:pt x="113775" y="248723"/>
                      </a:lnTo>
                      <a:lnTo>
                        <a:pt x="114573" y="258445"/>
                      </a:lnTo>
                      <a:lnTo>
                        <a:pt x="118875" y="257484"/>
                      </a:lnTo>
                      <a:lnTo>
                        <a:pt x="124490" y="254517"/>
                      </a:lnTo>
                      <a:lnTo>
                        <a:pt x="129184" y="255798"/>
                      </a:lnTo>
                      <a:lnTo>
                        <a:pt x="134320" y="264966"/>
                      </a:lnTo>
                      <a:lnTo>
                        <a:pt x="134600" y="266696"/>
                      </a:lnTo>
                      <a:lnTo>
                        <a:pt x="134323" y="268249"/>
                      </a:lnTo>
                      <a:lnTo>
                        <a:pt x="134530" y="269500"/>
                      </a:lnTo>
                      <a:lnTo>
                        <a:pt x="136291" y="270198"/>
                      </a:lnTo>
                      <a:lnTo>
                        <a:pt x="141984" y="270983"/>
                      </a:lnTo>
                      <a:lnTo>
                        <a:pt x="141723" y="272894"/>
                      </a:lnTo>
                      <a:lnTo>
                        <a:pt x="136162" y="274727"/>
                      </a:lnTo>
                      <a:lnTo>
                        <a:pt x="129799" y="281350"/>
                      </a:lnTo>
                      <a:lnTo>
                        <a:pt x="89691" y="291870"/>
                      </a:lnTo>
                      <a:lnTo>
                        <a:pt x="68083" y="289801"/>
                      </a:lnTo>
                      <a:lnTo>
                        <a:pt x="58792" y="293941"/>
                      </a:lnTo>
                      <a:lnTo>
                        <a:pt x="44732" y="295096"/>
                      </a:lnTo>
                      <a:lnTo>
                        <a:pt x="32833" y="302047"/>
                      </a:lnTo>
                      <a:lnTo>
                        <a:pt x="28625" y="302474"/>
                      </a:lnTo>
                      <a:lnTo>
                        <a:pt x="18137" y="300907"/>
                      </a:lnTo>
                      <a:lnTo>
                        <a:pt x="15496" y="299601"/>
                      </a:lnTo>
                      <a:lnTo>
                        <a:pt x="9680" y="292247"/>
                      </a:lnTo>
                      <a:lnTo>
                        <a:pt x="9507" y="291794"/>
                      </a:lnTo>
                      <a:lnTo>
                        <a:pt x="9390" y="290965"/>
                      </a:lnTo>
                      <a:lnTo>
                        <a:pt x="8997" y="290109"/>
                      </a:lnTo>
                      <a:lnTo>
                        <a:pt x="8040" y="289622"/>
                      </a:lnTo>
                      <a:lnTo>
                        <a:pt x="6681" y="290214"/>
                      </a:lnTo>
                      <a:lnTo>
                        <a:pt x="5883" y="291801"/>
                      </a:lnTo>
                      <a:lnTo>
                        <a:pt x="5209" y="293408"/>
                      </a:lnTo>
                      <a:lnTo>
                        <a:pt x="4201" y="294024"/>
                      </a:lnTo>
                      <a:lnTo>
                        <a:pt x="2194" y="293506"/>
                      </a:lnTo>
                      <a:lnTo>
                        <a:pt x="661" y="292206"/>
                      </a:lnTo>
                      <a:lnTo>
                        <a:pt x="102" y="289843"/>
                      </a:lnTo>
                      <a:lnTo>
                        <a:pt x="1043" y="285971"/>
                      </a:lnTo>
                      <a:lnTo>
                        <a:pt x="0" y="285813"/>
                      </a:lnTo>
                      <a:lnTo>
                        <a:pt x="2656" y="279153"/>
                      </a:lnTo>
                      <a:lnTo>
                        <a:pt x="5326" y="274418"/>
                      </a:lnTo>
                      <a:lnTo>
                        <a:pt x="8412" y="270771"/>
                      </a:lnTo>
                      <a:lnTo>
                        <a:pt x="25336" y="257702"/>
                      </a:lnTo>
                      <a:lnTo>
                        <a:pt x="28917" y="256701"/>
                      </a:lnTo>
                      <a:lnTo>
                        <a:pt x="57139" y="257891"/>
                      </a:lnTo>
                      <a:lnTo>
                        <a:pt x="67899" y="262022"/>
                      </a:lnTo>
                      <a:lnTo>
                        <a:pt x="70710" y="262360"/>
                      </a:lnTo>
                      <a:lnTo>
                        <a:pt x="73046" y="261247"/>
                      </a:lnTo>
                      <a:lnTo>
                        <a:pt x="67249" y="256550"/>
                      </a:lnTo>
                      <a:lnTo>
                        <a:pt x="52880" y="251545"/>
                      </a:lnTo>
                      <a:lnTo>
                        <a:pt x="47663" y="245398"/>
                      </a:lnTo>
                      <a:lnTo>
                        <a:pt x="51091" y="242616"/>
                      </a:lnTo>
                      <a:lnTo>
                        <a:pt x="53885" y="242430"/>
                      </a:lnTo>
                      <a:lnTo>
                        <a:pt x="59564" y="244545"/>
                      </a:lnTo>
                      <a:lnTo>
                        <a:pt x="86450" y="237923"/>
                      </a:lnTo>
                      <a:lnTo>
                        <a:pt x="92411" y="238934"/>
                      </a:lnTo>
                      <a:lnTo>
                        <a:pt x="92163" y="246876"/>
                      </a:lnTo>
                      <a:lnTo>
                        <a:pt x="94114" y="247454"/>
                      </a:lnTo>
                      <a:lnTo>
                        <a:pt x="95566" y="246296"/>
                      </a:lnTo>
                      <a:lnTo>
                        <a:pt x="96676" y="243541"/>
                      </a:lnTo>
                      <a:lnTo>
                        <a:pt x="97466" y="239401"/>
                      </a:lnTo>
                      <a:lnTo>
                        <a:pt x="98888" y="237556"/>
                      </a:lnTo>
                      <a:lnTo>
                        <a:pt x="101636" y="236853"/>
                      </a:lnTo>
                      <a:lnTo>
                        <a:pt x="106790" y="237045"/>
                      </a:lnTo>
                      <a:close/>
                      <a:moveTo>
                        <a:pt x="97640" y="178249"/>
                      </a:moveTo>
                      <a:lnTo>
                        <a:pt x="96951" y="179473"/>
                      </a:lnTo>
                      <a:lnTo>
                        <a:pt x="96440" y="180594"/>
                      </a:lnTo>
                      <a:lnTo>
                        <a:pt x="95842" y="181617"/>
                      </a:lnTo>
                      <a:lnTo>
                        <a:pt x="94906" y="182634"/>
                      </a:lnTo>
                      <a:lnTo>
                        <a:pt x="94572" y="184963"/>
                      </a:lnTo>
                      <a:lnTo>
                        <a:pt x="96432" y="186609"/>
                      </a:lnTo>
                      <a:lnTo>
                        <a:pt x="96788" y="189917"/>
                      </a:lnTo>
                      <a:lnTo>
                        <a:pt x="96084" y="197126"/>
                      </a:lnTo>
                      <a:lnTo>
                        <a:pt x="96259" y="200833"/>
                      </a:lnTo>
                      <a:lnTo>
                        <a:pt x="96609" y="203486"/>
                      </a:lnTo>
                      <a:lnTo>
                        <a:pt x="96703" y="206529"/>
                      </a:lnTo>
                      <a:lnTo>
                        <a:pt x="96055" y="211427"/>
                      </a:lnTo>
                      <a:lnTo>
                        <a:pt x="89862" y="218133"/>
                      </a:lnTo>
                      <a:lnTo>
                        <a:pt x="81999" y="220540"/>
                      </a:lnTo>
                      <a:lnTo>
                        <a:pt x="51444" y="219674"/>
                      </a:lnTo>
                      <a:lnTo>
                        <a:pt x="40246" y="222681"/>
                      </a:lnTo>
                      <a:lnTo>
                        <a:pt x="37582" y="219807"/>
                      </a:lnTo>
                      <a:lnTo>
                        <a:pt x="49176" y="214371"/>
                      </a:lnTo>
                      <a:lnTo>
                        <a:pt x="40455" y="215652"/>
                      </a:lnTo>
                      <a:lnTo>
                        <a:pt x="37900" y="217662"/>
                      </a:lnTo>
                      <a:lnTo>
                        <a:pt x="36119" y="214806"/>
                      </a:lnTo>
                      <a:lnTo>
                        <a:pt x="31864" y="214938"/>
                      </a:lnTo>
                      <a:lnTo>
                        <a:pt x="23100" y="217635"/>
                      </a:lnTo>
                      <a:lnTo>
                        <a:pt x="19124" y="218159"/>
                      </a:lnTo>
                      <a:lnTo>
                        <a:pt x="15831" y="217660"/>
                      </a:lnTo>
                      <a:lnTo>
                        <a:pt x="13012" y="215439"/>
                      </a:lnTo>
                      <a:lnTo>
                        <a:pt x="10378" y="210924"/>
                      </a:lnTo>
                      <a:lnTo>
                        <a:pt x="20301" y="206562"/>
                      </a:lnTo>
                      <a:lnTo>
                        <a:pt x="49452" y="204635"/>
                      </a:lnTo>
                      <a:lnTo>
                        <a:pt x="86260" y="190932"/>
                      </a:lnTo>
                      <a:lnTo>
                        <a:pt x="84102" y="188657"/>
                      </a:lnTo>
                      <a:lnTo>
                        <a:pt x="81223" y="188509"/>
                      </a:lnTo>
                      <a:lnTo>
                        <a:pt x="78208" y="189820"/>
                      </a:lnTo>
                      <a:lnTo>
                        <a:pt x="75589" y="191773"/>
                      </a:lnTo>
                      <a:lnTo>
                        <a:pt x="77306" y="187640"/>
                      </a:lnTo>
                      <a:lnTo>
                        <a:pt x="87028" y="178895"/>
                      </a:lnTo>
                      <a:lnTo>
                        <a:pt x="88982" y="181695"/>
                      </a:lnTo>
                      <a:lnTo>
                        <a:pt x="91700" y="180850"/>
                      </a:lnTo>
                      <a:lnTo>
                        <a:pt x="94770" y="178860"/>
                      </a:lnTo>
                      <a:close/>
                      <a:moveTo>
                        <a:pt x="271424" y="120131"/>
                      </a:moveTo>
                      <a:lnTo>
                        <a:pt x="273529" y="121644"/>
                      </a:lnTo>
                      <a:lnTo>
                        <a:pt x="275261" y="124756"/>
                      </a:lnTo>
                      <a:lnTo>
                        <a:pt x="275422" y="126734"/>
                      </a:lnTo>
                      <a:lnTo>
                        <a:pt x="275218" y="127772"/>
                      </a:lnTo>
                      <a:lnTo>
                        <a:pt x="276850" y="128318"/>
                      </a:lnTo>
                      <a:lnTo>
                        <a:pt x="277986" y="130347"/>
                      </a:lnTo>
                      <a:lnTo>
                        <a:pt x="278116" y="134081"/>
                      </a:lnTo>
                      <a:lnTo>
                        <a:pt x="275447" y="136640"/>
                      </a:lnTo>
                      <a:lnTo>
                        <a:pt x="272158" y="138197"/>
                      </a:lnTo>
                      <a:lnTo>
                        <a:pt x="269739" y="138063"/>
                      </a:lnTo>
                      <a:lnTo>
                        <a:pt x="268269" y="135919"/>
                      </a:lnTo>
                      <a:lnTo>
                        <a:pt x="266431" y="134338"/>
                      </a:lnTo>
                      <a:lnTo>
                        <a:pt x="264482" y="133239"/>
                      </a:lnTo>
                      <a:lnTo>
                        <a:pt x="264976" y="131884"/>
                      </a:lnTo>
                      <a:lnTo>
                        <a:pt x="267807" y="131009"/>
                      </a:lnTo>
                      <a:lnTo>
                        <a:pt x="269055" y="129974"/>
                      </a:lnTo>
                      <a:lnTo>
                        <a:pt x="268330" y="128933"/>
                      </a:lnTo>
                      <a:lnTo>
                        <a:pt x="267146" y="128470"/>
                      </a:lnTo>
                      <a:lnTo>
                        <a:pt x="265548" y="128339"/>
                      </a:lnTo>
                      <a:lnTo>
                        <a:pt x="264270" y="127155"/>
                      </a:lnTo>
                      <a:lnTo>
                        <a:pt x="264019" y="124726"/>
                      </a:lnTo>
                      <a:lnTo>
                        <a:pt x="265338" y="123132"/>
                      </a:lnTo>
                      <a:lnTo>
                        <a:pt x="268969" y="123566"/>
                      </a:lnTo>
                      <a:lnTo>
                        <a:pt x="269866" y="121863"/>
                      </a:lnTo>
                      <a:close/>
                      <a:moveTo>
                        <a:pt x="380241" y="0"/>
                      </a:moveTo>
                      <a:lnTo>
                        <a:pt x="384845" y="2461"/>
                      </a:lnTo>
                      <a:lnTo>
                        <a:pt x="392048" y="11682"/>
                      </a:lnTo>
                      <a:lnTo>
                        <a:pt x="396197" y="13701"/>
                      </a:lnTo>
                      <a:lnTo>
                        <a:pt x="396046" y="11017"/>
                      </a:lnTo>
                      <a:lnTo>
                        <a:pt x="396089" y="11054"/>
                      </a:lnTo>
                      <a:lnTo>
                        <a:pt x="401006" y="15268"/>
                      </a:lnTo>
                      <a:lnTo>
                        <a:pt x="407498" y="20999"/>
                      </a:lnTo>
                      <a:lnTo>
                        <a:pt x="413918" y="33462"/>
                      </a:lnTo>
                      <a:lnTo>
                        <a:pt x="417699" y="38344"/>
                      </a:lnTo>
                      <a:lnTo>
                        <a:pt x="430934" y="49898"/>
                      </a:lnTo>
                      <a:lnTo>
                        <a:pt x="442148" y="55020"/>
                      </a:lnTo>
                      <a:lnTo>
                        <a:pt x="431265" y="78464"/>
                      </a:lnTo>
                      <a:lnTo>
                        <a:pt x="418876" y="86229"/>
                      </a:lnTo>
                      <a:lnTo>
                        <a:pt x="413715" y="104133"/>
                      </a:lnTo>
                      <a:lnTo>
                        <a:pt x="418182" y="109728"/>
                      </a:lnTo>
                      <a:lnTo>
                        <a:pt x="423169" y="110803"/>
                      </a:lnTo>
                      <a:lnTo>
                        <a:pt x="428057" y="118642"/>
                      </a:lnTo>
                      <a:lnTo>
                        <a:pt x="420497" y="128851"/>
                      </a:lnTo>
                      <a:lnTo>
                        <a:pt x="411491" y="139407"/>
                      </a:lnTo>
                      <a:lnTo>
                        <a:pt x="410472" y="141784"/>
                      </a:lnTo>
                      <a:lnTo>
                        <a:pt x="409955" y="145799"/>
                      </a:lnTo>
                      <a:lnTo>
                        <a:pt x="410919" y="149035"/>
                      </a:lnTo>
                      <a:lnTo>
                        <a:pt x="410854" y="151537"/>
                      </a:lnTo>
                      <a:lnTo>
                        <a:pt x="409940" y="153379"/>
                      </a:lnTo>
                      <a:lnTo>
                        <a:pt x="407332" y="155371"/>
                      </a:lnTo>
                      <a:lnTo>
                        <a:pt x="406135" y="157199"/>
                      </a:lnTo>
                      <a:lnTo>
                        <a:pt x="405880" y="160128"/>
                      </a:lnTo>
                      <a:lnTo>
                        <a:pt x="404986" y="164120"/>
                      </a:lnTo>
                      <a:lnTo>
                        <a:pt x="402093" y="168347"/>
                      </a:lnTo>
                      <a:lnTo>
                        <a:pt x="378600" y="185703"/>
                      </a:lnTo>
                      <a:lnTo>
                        <a:pt x="367895" y="198265"/>
                      </a:lnTo>
                      <a:lnTo>
                        <a:pt x="357361" y="215726"/>
                      </a:lnTo>
                      <a:lnTo>
                        <a:pt x="352132" y="230360"/>
                      </a:lnTo>
                      <a:lnTo>
                        <a:pt x="351497" y="232752"/>
                      </a:lnTo>
                      <a:lnTo>
                        <a:pt x="351108" y="233641"/>
                      </a:lnTo>
                      <a:lnTo>
                        <a:pt x="350739" y="234552"/>
                      </a:lnTo>
                      <a:lnTo>
                        <a:pt x="348127" y="237937"/>
                      </a:lnTo>
                      <a:lnTo>
                        <a:pt x="337028" y="244977"/>
                      </a:lnTo>
                      <a:lnTo>
                        <a:pt x="307866" y="262123"/>
                      </a:lnTo>
                      <a:lnTo>
                        <a:pt x="301213" y="268161"/>
                      </a:lnTo>
                      <a:lnTo>
                        <a:pt x="297187" y="275487"/>
                      </a:lnTo>
                      <a:lnTo>
                        <a:pt x="295588" y="277796"/>
                      </a:lnTo>
                      <a:lnTo>
                        <a:pt x="294205" y="280238"/>
                      </a:lnTo>
                      <a:lnTo>
                        <a:pt x="293459" y="283623"/>
                      </a:lnTo>
                      <a:lnTo>
                        <a:pt x="293639" y="288678"/>
                      </a:lnTo>
                      <a:lnTo>
                        <a:pt x="294292" y="293475"/>
                      </a:lnTo>
                      <a:lnTo>
                        <a:pt x="296836" y="299879"/>
                      </a:lnTo>
                      <a:lnTo>
                        <a:pt x="296850" y="299913"/>
                      </a:lnTo>
                      <a:lnTo>
                        <a:pt x="296138" y="300273"/>
                      </a:lnTo>
                      <a:lnTo>
                        <a:pt x="291801" y="301163"/>
                      </a:lnTo>
                      <a:lnTo>
                        <a:pt x="277414" y="309654"/>
                      </a:lnTo>
                      <a:lnTo>
                        <a:pt x="271151" y="310923"/>
                      </a:lnTo>
                      <a:lnTo>
                        <a:pt x="264557" y="310658"/>
                      </a:lnTo>
                      <a:lnTo>
                        <a:pt x="263435" y="311144"/>
                      </a:lnTo>
                      <a:lnTo>
                        <a:pt x="262399" y="312149"/>
                      </a:lnTo>
                      <a:lnTo>
                        <a:pt x="261482" y="312616"/>
                      </a:lnTo>
                      <a:lnTo>
                        <a:pt x="260663" y="311365"/>
                      </a:lnTo>
                      <a:lnTo>
                        <a:pt x="260103" y="310061"/>
                      </a:lnTo>
                      <a:lnTo>
                        <a:pt x="259258" y="308721"/>
                      </a:lnTo>
                      <a:lnTo>
                        <a:pt x="258330" y="307641"/>
                      </a:lnTo>
                      <a:lnTo>
                        <a:pt x="252918" y="304097"/>
                      </a:lnTo>
                      <a:lnTo>
                        <a:pt x="252173" y="297832"/>
                      </a:lnTo>
                      <a:lnTo>
                        <a:pt x="252454" y="290137"/>
                      </a:lnTo>
                      <a:lnTo>
                        <a:pt x="250893" y="282762"/>
                      </a:lnTo>
                      <a:lnTo>
                        <a:pt x="252976" y="279123"/>
                      </a:lnTo>
                      <a:lnTo>
                        <a:pt x="253666" y="278146"/>
                      </a:lnTo>
                      <a:lnTo>
                        <a:pt x="251388" y="275900"/>
                      </a:lnTo>
                      <a:lnTo>
                        <a:pt x="246041" y="274415"/>
                      </a:lnTo>
                      <a:lnTo>
                        <a:pt x="243732" y="272335"/>
                      </a:lnTo>
                      <a:lnTo>
                        <a:pt x="241941" y="268063"/>
                      </a:lnTo>
                      <a:lnTo>
                        <a:pt x="241381" y="263437"/>
                      </a:lnTo>
                      <a:lnTo>
                        <a:pt x="242422" y="259696"/>
                      </a:lnTo>
                      <a:lnTo>
                        <a:pt x="245538" y="258049"/>
                      </a:lnTo>
                      <a:lnTo>
                        <a:pt x="244906" y="254691"/>
                      </a:lnTo>
                      <a:lnTo>
                        <a:pt x="243726" y="252683"/>
                      </a:lnTo>
                      <a:lnTo>
                        <a:pt x="240186" y="250245"/>
                      </a:lnTo>
                      <a:lnTo>
                        <a:pt x="240867" y="248941"/>
                      </a:lnTo>
                      <a:lnTo>
                        <a:pt x="241281" y="247859"/>
                      </a:lnTo>
                      <a:lnTo>
                        <a:pt x="241817" y="246906"/>
                      </a:lnTo>
                      <a:lnTo>
                        <a:pt x="242836" y="246014"/>
                      </a:lnTo>
                      <a:lnTo>
                        <a:pt x="242624" y="244611"/>
                      </a:lnTo>
                      <a:lnTo>
                        <a:pt x="242416" y="241008"/>
                      </a:lnTo>
                      <a:lnTo>
                        <a:pt x="249346" y="240358"/>
                      </a:lnTo>
                      <a:lnTo>
                        <a:pt x="262427" y="235299"/>
                      </a:lnTo>
                      <a:lnTo>
                        <a:pt x="274290" y="233861"/>
                      </a:lnTo>
                      <a:lnTo>
                        <a:pt x="280281" y="230860"/>
                      </a:lnTo>
                      <a:lnTo>
                        <a:pt x="286191" y="226243"/>
                      </a:lnTo>
                      <a:lnTo>
                        <a:pt x="291548" y="220762"/>
                      </a:lnTo>
                      <a:lnTo>
                        <a:pt x="287612" y="220887"/>
                      </a:lnTo>
                      <a:lnTo>
                        <a:pt x="279934" y="226150"/>
                      </a:lnTo>
                      <a:lnTo>
                        <a:pt x="276069" y="226181"/>
                      </a:lnTo>
                      <a:lnTo>
                        <a:pt x="277208" y="222450"/>
                      </a:lnTo>
                      <a:lnTo>
                        <a:pt x="278770" y="219751"/>
                      </a:lnTo>
                      <a:lnTo>
                        <a:pt x="280580" y="218075"/>
                      </a:lnTo>
                      <a:lnTo>
                        <a:pt x="282422" y="217255"/>
                      </a:lnTo>
                      <a:lnTo>
                        <a:pt x="281328" y="213941"/>
                      </a:lnTo>
                      <a:lnTo>
                        <a:pt x="278520" y="214784"/>
                      </a:lnTo>
                      <a:lnTo>
                        <a:pt x="275130" y="217171"/>
                      </a:lnTo>
                      <a:lnTo>
                        <a:pt x="272213" y="218368"/>
                      </a:lnTo>
                      <a:lnTo>
                        <a:pt x="269420" y="218458"/>
                      </a:lnTo>
                      <a:lnTo>
                        <a:pt x="261568" y="220622"/>
                      </a:lnTo>
                      <a:lnTo>
                        <a:pt x="253030" y="228481"/>
                      </a:lnTo>
                      <a:lnTo>
                        <a:pt x="240819" y="229864"/>
                      </a:lnTo>
                      <a:lnTo>
                        <a:pt x="232195" y="236122"/>
                      </a:lnTo>
                      <a:lnTo>
                        <a:pt x="219935" y="235515"/>
                      </a:lnTo>
                      <a:lnTo>
                        <a:pt x="219310" y="236456"/>
                      </a:lnTo>
                      <a:lnTo>
                        <a:pt x="218816" y="238039"/>
                      </a:lnTo>
                      <a:lnTo>
                        <a:pt x="218471" y="239540"/>
                      </a:lnTo>
                      <a:lnTo>
                        <a:pt x="218264" y="240266"/>
                      </a:lnTo>
                      <a:lnTo>
                        <a:pt x="217465" y="240418"/>
                      </a:lnTo>
                      <a:lnTo>
                        <a:pt x="215827" y="239664"/>
                      </a:lnTo>
                      <a:lnTo>
                        <a:pt x="215074" y="239851"/>
                      </a:lnTo>
                      <a:lnTo>
                        <a:pt x="209244" y="243858"/>
                      </a:lnTo>
                      <a:lnTo>
                        <a:pt x="202504" y="244988"/>
                      </a:lnTo>
                      <a:lnTo>
                        <a:pt x="204378" y="239131"/>
                      </a:lnTo>
                      <a:lnTo>
                        <a:pt x="207962" y="231339"/>
                      </a:lnTo>
                      <a:lnTo>
                        <a:pt x="206250" y="226570"/>
                      </a:lnTo>
                      <a:lnTo>
                        <a:pt x="206529" y="224435"/>
                      </a:lnTo>
                      <a:lnTo>
                        <a:pt x="233451" y="215081"/>
                      </a:lnTo>
                      <a:lnTo>
                        <a:pt x="242535" y="214617"/>
                      </a:lnTo>
                      <a:lnTo>
                        <a:pt x="242835" y="212271"/>
                      </a:lnTo>
                      <a:lnTo>
                        <a:pt x="212344" y="213657"/>
                      </a:lnTo>
                      <a:lnTo>
                        <a:pt x="207668" y="207705"/>
                      </a:lnTo>
                      <a:lnTo>
                        <a:pt x="227335" y="194788"/>
                      </a:lnTo>
                      <a:lnTo>
                        <a:pt x="254677" y="183358"/>
                      </a:lnTo>
                      <a:lnTo>
                        <a:pt x="261247" y="183653"/>
                      </a:lnTo>
                      <a:lnTo>
                        <a:pt x="261514" y="181530"/>
                      </a:lnTo>
                      <a:lnTo>
                        <a:pt x="254992" y="180278"/>
                      </a:lnTo>
                      <a:lnTo>
                        <a:pt x="252224" y="178478"/>
                      </a:lnTo>
                      <a:lnTo>
                        <a:pt x="249752" y="175040"/>
                      </a:lnTo>
                      <a:lnTo>
                        <a:pt x="265636" y="170488"/>
                      </a:lnTo>
                      <a:lnTo>
                        <a:pt x="268618" y="171474"/>
                      </a:lnTo>
                      <a:lnTo>
                        <a:pt x="268550" y="174700"/>
                      </a:lnTo>
                      <a:lnTo>
                        <a:pt x="267300" y="176315"/>
                      </a:lnTo>
                      <a:lnTo>
                        <a:pt x="267053" y="177093"/>
                      </a:lnTo>
                      <a:lnTo>
                        <a:pt x="269909" y="177594"/>
                      </a:lnTo>
                      <a:lnTo>
                        <a:pt x="271692" y="176910"/>
                      </a:lnTo>
                      <a:lnTo>
                        <a:pt x="277531" y="171400"/>
                      </a:lnTo>
                      <a:lnTo>
                        <a:pt x="292821" y="168603"/>
                      </a:lnTo>
                      <a:lnTo>
                        <a:pt x="301034" y="161445"/>
                      </a:lnTo>
                      <a:lnTo>
                        <a:pt x="309437" y="164925"/>
                      </a:lnTo>
                      <a:lnTo>
                        <a:pt x="313134" y="163899"/>
                      </a:lnTo>
                      <a:lnTo>
                        <a:pt x="310205" y="156950"/>
                      </a:lnTo>
                      <a:lnTo>
                        <a:pt x="308440" y="154480"/>
                      </a:lnTo>
                      <a:lnTo>
                        <a:pt x="305944" y="153524"/>
                      </a:lnTo>
                      <a:lnTo>
                        <a:pt x="303445" y="154438"/>
                      </a:lnTo>
                      <a:lnTo>
                        <a:pt x="298298" y="158471"/>
                      </a:lnTo>
                      <a:lnTo>
                        <a:pt x="293302" y="159629"/>
                      </a:lnTo>
                      <a:lnTo>
                        <a:pt x="287977" y="162217"/>
                      </a:lnTo>
                      <a:lnTo>
                        <a:pt x="282140" y="163194"/>
                      </a:lnTo>
                      <a:lnTo>
                        <a:pt x="276868" y="166210"/>
                      </a:lnTo>
                      <a:lnTo>
                        <a:pt x="274015" y="166009"/>
                      </a:lnTo>
                      <a:lnTo>
                        <a:pt x="279470" y="158521"/>
                      </a:lnTo>
                      <a:lnTo>
                        <a:pt x="297774" y="152195"/>
                      </a:lnTo>
                      <a:lnTo>
                        <a:pt x="304772" y="146007"/>
                      </a:lnTo>
                      <a:lnTo>
                        <a:pt x="302519" y="145631"/>
                      </a:lnTo>
                      <a:lnTo>
                        <a:pt x="300685" y="147108"/>
                      </a:lnTo>
                      <a:lnTo>
                        <a:pt x="298911" y="149004"/>
                      </a:lnTo>
                      <a:lnTo>
                        <a:pt x="297008" y="149818"/>
                      </a:lnTo>
                      <a:lnTo>
                        <a:pt x="295529" y="148502"/>
                      </a:lnTo>
                      <a:lnTo>
                        <a:pt x="295032" y="146171"/>
                      </a:lnTo>
                      <a:lnTo>
                        <a:pt x="294319" y="144693"/>
                      </a:lnTo>
                      <a:lnTo>
                        <a:pt x="283503" y="151109"/>
                      </a:lnTo>
                      <a:lnTo>
                        <a:pt x="278786" y="152222"/>
                      </a:lnTo>
                      <a:lnTo>
                        <a:pt x="274744" y="151801"/>
                      </a:lnTo>
                      <a:lnTo>
                        <a:pt x="276554" y="147772"/>
                      </a:lnTo>
                      <a:lnTo>
                        <a:pt x="281215" y="144100"/>
                      </a:lnTo>
                      <a:lnTo>
                        <a:pt x="283402" y="141011"/>
                      </a:lnTo>
                      <a:lnTo>
                        <a:pt x="284857" y="135605"/>
                      </a:lnTo>
                      <a:lnTo>
                        <a:pt x="285841" y="130081"/>
                      </a:lnTo>
                      <a:lnTo>
                        <a:pt x="287319" y="126577"/>
                      </a:lnTo>
                      <a:lnTo>
                        <a:pt x="290299" y="127360"/>
                      </a:lnTo>
                      <a:lnTo>
                        <a:pt x="290041" y="124136"/>
                      </a:lnTo>
                      <a:lnTo>
                        <a:pt x="290326" y="122440"/>
                      </a:lnTo>
                      <a:lnTo>
                        <a:pt x="292573" y="118110"/>
                      </a:lnTo>
                      <a:lnTo>
                        <a:pt x="291291" y="115143"/>
                      </a:lnTo>
                      <a:lnTo>
                        <a:pt x="290035" y="110987"/>
                      </a:lnTo>
                      <a:lnTo>
                        <a:pt x="289499" y="106226"/>
                      </a:lnTo>
                      <a:lnTo>
                        <a:pt x="290406" y="101416"/>
                      </a:lnTo>
                      <a:lnTo>
                        <a:pt x="293175" y="98540"/>
                      </a:lnTo>
                      <a:lnTo>
                        <a:pt x="296348" y="100098"/>
                      </a:lnTo>
                      <a:lnTo>
                        <a:pt x="303012" y="105871"/>
                      </a:lnTo>
                      <a:lnTo>
                        <a:pt x="304727" y="109358"/>
                      </a:lnTo>
                      <a:lnTo>
                        <a:pt x="306065" y="110259"/>
                      </a:lnTo>
                      <a:lnTo>
                        <a:pt x="319168" y="107775"/>
                      </a:lnTo>
                      <a:lnTo>
                        <a:pt x="322024" y="105229"/>
                      </a:lnTo>
                      <a:lnTo>
                        <a:pt x="323916" y="100524"/>
                      </a:lnTo>
                      <a:lnTo>
                        <a:pt x="319732" y="102300"/>
                      </a:lnTo>
                      <a:lnTo>
                        <a:pt x="307178" y="100865"/>
                      </a:lnTo>
                      <a:lnTo>
                        <a:pt x="309188" y="96462"/>
                      </a:lnTo>
                      <a:lnTo>
                        <a:pt x="311987" y="93997"/>
                      </a:lnTo>
                      <a:lnTo>
                        <a:pt x="314895" y="93557"/>
                      </a:lnTo>
                      <a:lnTo>
                        <a:pt x="317291" y="95198"/>
                      </a:lnTo>
                      <a:lnTo>
                        <a:pt x="316437" y="91350"/>
                      </a:lnTo>
                      <a:lnTo>
                        <a:pt x="315842" y="90044"/>
                      </a:lnTo>
                      <a:lnTo>
                        <a:pt x="316128" y="87696"/>
                      </a:lnTo>
                      <a:lnTo>
                        <a:pt x="322262" y="88443"/>
                      </a:lnTo>
                      <a:lnTo>
                        <a:pt x="320616" y="87252"/>
                      </a:lnTo>
                      <a:lnTo>
                        <a:pt x="319763" y="85119"/>
                      </a:lnTo>
                      <a:lnTo>
                        <a:pt x="319937" y="82261"/>
                      </a:lnTo>
                      <a:lnTo>
                        <a:pt x="321356" y="78805"/>
                      </a:lnTo>
                      <a:lnTo>
                        <a:pt x="320645" y="77442"/>
                      </a:lnTo>
                      <a:lnTo>
                        <a:pt x="320331" y="76170"/>
                      </a:lnTo>
                      <a:lnTo>
                        <a:pt x="320156" y="74971"/>
                      </a:lnTo>
                      <a:lnTo>
                        <a:pt x="319880" y="73890"/>
                      </a:lnTo>
                      <a:lnTo>
                        <a:pt x="322534" y="74580"/>
                      </a:lnTo>
                      <a:lnTo>
                        <a:pt x="325011" y="76229"/>
                      </a:lnTo>
                      <a:lnTo>
                        <a:pt x="327456" y="77022"/>
                      </a:lnTo>
                      <a:lnTo>
                        <a:pt x="329980" y="75115"/>
                      </a:lnTo>
                      <a:lnTo>
                        <a:pt x="329630" y="74334"/>
                      </a:lnTo>
                      <a:lnTo>
                        <a:pt x="329498" y="74206"/>
                      </a:lnTo>
                      <a:lnTo>
                        <a:pt x="329339" y="72656"/>
                      </a:lnTo>
                      <a:lnTo>
                        <a:pt x="332840" y="73176"/>
                      </a:lnTo>
                      <a:lnTo>
                        <a:pt x="339365" y="72416"/>
                      </a:lnTo>
                      <a:lnTo>
                        <a:pt x="342610" y="74250"/>
                      </a:lnTo>
                      <a:lnTo>
                        <a:pt x="348499" y="82180"/>
                      </a:lnTo>
                      <a:lnTo>
                        <a:pt x="349924" y="82235"/>
                      </a:lnTo>
                      <a:lnTo>
                        <a:pt x="349448" y="74581"/>
                      </a:lnTo>
                      <a:lnTo>
                        <a:pt x="343805" y="68665"/>
                      </a:lnTo>
                      <a:lnTo>
                        <a:pt x="332623" y="63296"/>
                      </a:lnTo>
                      <a:lnTo>
                        <a:pt x="335113" y="59487"/>
                      </a:lnTo>
                      <a:lnTo>
                        <a:pt x="339111" y="57556"/>
                      </a:lnTo>
                      <a:lnTo>
                        <a:pt x="346860" y="55719"/>
                      </a:lnTo>
                      <a:lnTo>
                        <a:pt x="346609" y="54414"/>
                      </a:lnTo>
                      <a:lnTo>
                        <a:pt x="346424" y="50905"/>
                      </a:lnTo>
                      <a:lnTo>
                        <a:pt x="350145" y="51050"/>
                      </a:lnTo>
                      <a:lnTo>
                        <a:pt x="356530" y="55493"/>
                      </a:lnTo>
                      <a:lnTo>
                        <a:pt x="356260" y="50798"/>
                      </a:lnTo>
                      <a:lnTo>
                        <a:pt x="356594" y="47350"/>
                      </a:lnTo>
                      <a:lnTo>
                        <a:pt x="359054" y="47118"/>
                      </a:lnTo>
                      <a:lnTo>
                        <a:pt x="363170" y="49104"/>
                      </a:lnTo>
                      <a:lnTo>
                        <a:pt x="365342" y="47459"/>
                      </a:lnTo>
                      <a:lnTo>
                        <a:pt x="367453" y="46418"/>
                      </a:lnTo>
                      <a:lnTo>
                        <a:pt x="369570" y="46070"/>
                      </a:lnTo>
                      <a:lnTo>
                        <a:pt x="371763" y="46539"/>
                      </a:lnTo>
                      <a:lnTo>
                        <a:pt x="372011" y="44413"/>
                      </a:lnTo>
                      <a:lnTo>
                        <a:pt x="367003" y="43971"/>
                      </a:lnTo>
                      <a:lnTo>
                        <a:pt x="366266" y="39774"/>
                      </a:lnTo>
                      <a:lnTo>
                        <a:pt x="367386" y="33571"/>
                      </a:lnTo>
                      <a:lnTo>
                        <a:pt x="367852" y="27078"/>
                      </a:lnTo>
                      <a:lnTo>
                        <a:pt x="370960" y="27230"/>
                      </a:lnTo>
                      <a:lnTo>
                        <a:pt x="371915" y="27554"/>
                      </a:lnTo>
                      <a:lnTo>
                        <a:pt x="371174" y="25087"/>
                      </a:lnTo>
                      <a:lnTo>
                        <a:pt x="374612" y="25560"/>
                      </a:lnTo>
                      <a:lnTo>
                        <a:pt x="377839" y="28160"/>
                      </a:lnTo>
                      <a:lnTo>
                        <a:pt x="383271" y="36003"/>
                      </a:lnTo>
                      <a:lnTo>
                        <a:pt x="382960" y="31049"/>
                      </a:lnTo>
                      <a:lnTo>
                        <a:pt x="381232" y="27435"/>
                      </a:lnTo>
                      <a:lnTo>
                        <a:pt x="376525" y="23118"/>
                      </a:lnTo>
                      <a:lnTo>
                        <a:pt x="376774" y="20979"/>
                      </a:lnTo>
                      <a:lnTo>
                        <a:pt x="383075" y="22208"/>
                      </a:lnTo>
                      <a:lnTo>
                        <a:pt x="385828" y="24253"/>
                      </a:lnTo>
                      <a:lnTo>
                        <a:pt x="389706" y="31020"/>
                      </a:lnTo>
                      <a:lnTo>
                        <a:pt x="392151" y="31075"/>
                      </a:lnTo>
                      <a:lnTo>
                        <a:pt x="397657" y="28149"/>
                      </a:lnTo>
                      <a:lnTo>
                        <a:pt x="397949" y="25589"/>
                      </a:lnTo>
                      <a:lnTo>
                        <a:pt x="393732" y="25503"/>
                      </a:lnTo>
                      <a:lnTo>
                        <a:pt x="391792" y="24374"/>
                      </a:lnTo>
                      <a:lnTo>
                        <a:pt x="391229" y="21377"/>
                      </a:lnTo>
                      <a:lnTo>
                        <a:pt x="391187" y="18227"/>
                      </a:lnTo>
                      <a:lnTo>
                        <a:pt x="390333" y="16386"/>
                      </a:lnTo>
                      <a:lnTo>
                        <a:pt x="388950" y="15432"/>
                      </a:lnTo>
                      <a:lnTo>
                        <a:pt x="387327" y="15075"/>
                      </a:lnTo>
                      <a:lnTo>
                        <a:pt x="386908" y="14248"/>
                      </a:lnTo>
                      <a:lnTo>
                        <a:pt x="386703" y="12524"/>
                      </a:lnTo>
                      <a:lnTo>
                        <a:pt x="386305" y="10778"/>
                      </a:lnTo>
                      <a:lnTo>
                        <a:pt x="385323" y="9857"/>
                      </a:lnTo>
                      <a:lnTo>
                        <a:pt x="372105" y="8318"/>
                      </a:lnTo>
                      <a:lnTo>
                        <a:pt x="373594" y="4793"/>
                      </a:lnTo>
                      <a:lnTo>
                        <a:pt x="375701" y="2247"/>
                      </a:lnTo>
                      <a:lnTo>
                        <a:pt x="378027" y="648"/>
                      </a:lnTo>
                      <a:close/>
                    </a:path>
                  </a:pathLst>
                </a:custGeom>
                <a:solidFill>
                  <a:srgbClr val="C7DFE3"/>
                </a:solidFill>
                <a:ln w="3175" cap="rnd">
                  <a:solidFill>
                    <a:srgbClr val="C7DFE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Freeform 80">
                  <a:extLst>
                    <a:ext uri="{FF2B5EF4-FFF2-40B4-BE49-F238E27FC236}">
                      <a16:creationId xmlns:a16="http://schemas.microsoft.com/office/drawing/2014/main" id="{9D5186F9-DFFA-4F53-9D21-148BBE9C84DA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"/>
                  </p:custDataLst>
                </p:nvPr>
              </p:nvSpPr>
              <p:spPr>
                <a:xfrm>
                  <a:off x="2042435" y="3974616"/>
                  <a:ext cx="397168" cy="5109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28561" h="551364">
                      <a:moveTo>
                        <a:pt x="118054" y="14543"/>
                      </a:moveTo>
                      <a:lnTo>
                        <a:pt x="119841" y="14241"/>
                      </a:lnTo>
                      <a:lnTo>
                        <a:pt x="120900" y="12950"/>
                      </a:lnTo>
                      <a:lnTo>
                        <a:pt x="121342" y="10723"/>
                      </a:lnTo>
                      <a:lnTo>
                        <a:pt x="122686" y="9533"/>
                      </a:lnTo>
                      <a:lnTo>
                        <a:pt x="124918" y="8959"/>
                      </a:lnTo>
                      <a:lnTo>
                        <a:pt x="129544" y="9405"/>
                      </a:lnTo>
                      <a:lnTo>
                        <a:pt x="131744" y="10553"/>
                      </a:lnTo>
                      <a:lnTo>
                        <a:pt x="133835" y="12906"/>
                      </a:lnTo>
                      <a:lnTo>
                        <a:pt x="135158" y="14915"/>
                      </a:lnTo>
                      <a:lnTo>
                        <a:pt x="136121" y="16956"/>
                      </a:lnTo>
                      <a:lnTo>
                        <a:pt x="136715" y="18899"/>
                      </a:lnTo>
                      <a:lnTo>
                        <a:pt x="137897" y="24776"/>
                      </a:lnTo>
                      <a:lnTo>
                        <a:pt x="139505" y="29664"/>
                      </a:lnTo>
                      <a:lnTo>
                        <a:pt x="140933" y="31552"/>
                      </a:lnTo>
                      <a:lnTo>
                        <a:pt x="146866" y="34708"/>
                      </a:lnTo>
                      <a:lnTo>
                        <a:pt x="140663" y="42386"/>
                      </a:lnTo>
                      <a:lnTo>
                        <a:pt x="140234" y="44904"/>
                      </a:lnTo>
                      <a:lnTo>
                        <a:pt x="139871" y="48917"/>
                      </a:lnTo>
                      <a:lnTo>
                        <a:pt x="140677" y="56468"/>
                      </a:lnTo>
                      <a:lnTo>
                        <a:pt x="141484" y="59412"/>
                      </a:lnTo>
                      <a:lnTo>
                        <a:pt x="143055" y="61306"/>
                      </a:lnTo>
                      <a:lnTo>
                        <a:pt x="149714" y="66367"/>
                      </a:lnTo>
                      <a:lnTo>
                        <a:pt x="152711" y="73608"/>
                      </a:lnTo>
                      <a:lnTo>
                        <a:pt x="153046" y="78123"/>
                      </a:lnTo>
                      <a:lnTo>
                        <a:pt x="151651" y="82430"/>
                      </a:lnTo>
                      <a:lnTo>
                        <a:pt x="147410" y="89208"/>
                      </a:lnTo>
                      <a:lnTo>
                        <a:pt x="144361" y="92207"/>
                      </a:lnTo>
                      <a:lnTo>
                        <a:pt x="141118" y="94215"/>
                      </a:lnTo>
                      <a:lnTo>
                        <a:pt x="135733" y="95440"/>
                      </a:lnTo>
                      <a:lnTo>
                        <a:pt x="134065" y="96670"/>
                      </a:lnTo>
                      <a:lnTo>
                        <a:pt x="133490" y="98025"/>
                      </a:lnTo>
                      <a:lnTo>
                        <a:pt x="134674" y="99618"/>
                      </a:lnTo>
                      <a:lnTo>
                        <a:pt x="141076" y="105644"/>
                      </a:lnTo>
                      <a:lnTo>
                        <a:pt x="143311" y="112374"/>
                      </a:lnTo>
                      <a:lnTo>
                        <a:pt x="144914" y="119038"/>
                      </a:lnTo>
                      <a:lnTo>
                        <a:pt x="146682" y="122217"/>
                      </a:lnTo>
                      <a:lnTo>
                        <a:pt x="148569" y="124113"/>
                      </a:lnTo>
                      <a:lnTo>
                        <a:pt x="152923" y="125518"/>
                      </a:lnTo>
                      <a:lnTo>
                        <a:pt x="162225" y="140628"/>
                      </a:lnTo>
                      <a:lnTo>
                        <a:pt x="168450" y="162181"/>
                      </a:lnTo>
                      <a:lnTo>
                        <a:pt x="169276" y="167953"/>
                      </a:lnTo>
                      <a:lnTo>
                        <a:pt x="168698" y="171694"/>
                      </a:lnTo>
                      <a:lnTo>
                        <a:pt x="166190" y="174081"/>
                      </a:lnTo>
                      <a:lnTo>
                        <a:pt x="163357" y="178387"/>
                      </a:lnTo>
                      <a:lnTo>
                        <a:pt x="161534" y="183812"/>
                      </a:lnTo>
                      <a:lnTo>
                        <a:pt x="160843" y="192092"/>
                      </a:lnTo>
                      <a:lnTo>
                        <a:pt x="161584" y="197183"/>
                      </a:lnTo>
                      <a:lnTo>
                        <a:pt x="163194" y="200810"/>
                      </a:lnTo>
                      <a:lnTo>
                        <a:pt x="167959" y="205642"/>
                      </a:lnTo>
                      <a:lnTo>
                        <a:pt x="172179" y="211208"/>
                      </a:lnTo>
                      <a:lnTo>
                        <a:pt x="188128" y="255224"/>
                      </a:lnTo>
                      <a:lnTo>
                        <a:pt x="188641" y="256080"/>
                      </a:lnTo>
                      <a:lnTo>
                        <a:pt x="198596" y="264056"/>
                      </a:lnTo>
                      <a:lnTo>
                        <a:pt x="208393" y="268312"/>
                      </a:lnTo>
                      <a:lnTo>
                        <a:pt x="213184" y="268866"/>
                      </a:lnTo>
                      <a:lnTo>
                        <a:pt x="216238" y="268628"/>
                      </a:lnTo>
                      <a:lnTo>
                        <a:pt x="217523" y="267505"/>
                      </a:lnTo>
                      <a:lnTo>
                        <a:pt x="217746" y="266383"/>
                      </a:lnTo>
                      <a:lnTo>
                        <a:pt x="217396" y="265734"/>
                      </a:lnTo>
                      <a:lnTo>
                        <a:pt x="216668" y="265371"/>
                      </a:lnTo>
                      <a:lnTo>
                        <a:pt x="215399" y="265067"/>
                      </a:lnTo>
                      <a:lnTo>
                        <a:pt x="215074" y="264440"/>
                      </a:lnTo>
                      <a:lnTo>
                        <a:pt x="215937" y="263524"/>
                      </a:lnTo>
                      <a:lnTo>
                        <a:pt x="219858" y="261956"/>
                      </a:lnTo>
                      <a:lnTo>
                        <a:pt x="223236" y="261469"/>
                      </a:lnTo>
                      <a:lnTo>
                        <a:pt x="226349" y="262890"/>
                      </a:lnTo>
                      <a:lnTo>
                        <a:pt x="229244" y="265028"/>
                      </a:lnTo>
                      <a:lnTo>
                        <a:pt x="239099" y="274879"/>
                      </a:lnTo>
                      <a:lnTo>
                        <a:pt x="249879" y="281303"/>
                      </a:lnTo>
                      <a:lnTo>
                        <a:pt x="256836" y="279797"/>
                      </a:lnTo>
                      <a:lnTo>
                        <a:pt x="259043" y="280829"/>
                      </a:lnTo>
                      <a:lnTo>
                        <a:pt x="260983" y="282481"/>
                      </a:lnTo>
                      <a:lnTo>
                        <a:pt x="262948" y="287638"/>
                      </a:lnTo>
                      <a:lnTo>
                        <a:pt x="264882" y="291282"/>
                      </a:lnTo>
                      <a:lnTo>
                        <a:pt x="269600" y="296457"/>
                      </a:lnTo>
                      <a:lnTo>
                        <a:pt x="273225" y="298291"/>
                      </a:lnTo>
                      <a:lnTo>
                        <a:pt x="276367" y="298294"/>
                      </a:lnTo>
                      <a:lnTo>
                        <a:pt x="283249" y="293990"/>
                      </a:lnTo>
                      <a:lnTo>
                        <a:pt x="287439" y="292519"/>
                      </a:lnTo>
                      <a:lnTo>
                        <a:pt x="292771" y="292567"/>
                      </a:lnTo>
                      <a:lnTo>
                        <a:pt x="296353" y="294910"/>
                      </a:lnTo>
                      <a:lnTo>
                        <a:pt x="300044" y="299515"/>
                      </a:lnTo>
                      <a:lnTo>
                        <a:pt x="308840" y="313207"/>
                      </a:lnTo>
                      <a:lnTo>
                        <a:pt x="316083" y="322131"/>
                      </a:lnTo>
                      <a:lnTo>
                        <a:pt x="320805" y="326035"/>
                      </a:lnTo>
                      <a:lnTo>
                        <a:pt x="324933" y="326029"/>
                      </a:lnTo>
                      <a:lnTo>
                        <a:pt x="326646" y="325389"/>
                      </a:lnTo>
                      <a:lnTo>
                        <a:pt x="328507" y="324084"/>
                      </a:lnTo>
                      <a:lnTo>
                        <a:pt x="329562" y="322332"/>
                      </a:lnTo>
                      <a:lnTo>
                        <a:pt x="329986" y="320282"/>
                      </a:lnTo>
                      <a:lnTo>
                        <a:pt x="329807" y="318137"/>
                      </a:lnTo>
                      <a:lnTo>
                        <a:pt x="330086" y="315923"/>
                      </a:lnTo>
                      <a:lnTo>
                        <a:pt x="330441" y="314368"/>
                      </a:lnTo>
                      <a:lnTo>
                        <a:pt x="334421" y="308046"/>
                      </a:lnTo>
                      <a:lnTo>
                        <a:pt x="336690" y="304850"/>
                      </a:lnTo>
                      <a:lnTo>
                        <a:pt x="337180" y="302917"/>
                      </a:lnTo>
                      <a:lnTo>
                        <a:pt x="336906" y="300048"/>
                      </a:lnTo>
                      <a:lnTo>
                        <a:pt x="334713" y="291197"/>
                      </a:lnTo>
                      <a:lnTo>
                        <a:pt x="336282" y="286325"/>
                      </a:lnTo>
                      <a:lnTo>
                        <a:pt x="338810" y="281634"/>
                      </a:lnTo>
                      <a:lnTo>
                        <a:pt x="341053" y="278923"/>
                      </a:lnTo>
                      <a:lnTo>
                        <a:pt x="341270" y="278773"/>
                      </a:lnTo>
                      <a:lnTo>
                        <a:pt x="341602" y="278586"/>
                      </a:lnTo>
                      <a:lnTo>
                        <a:pt x="343001" y="278153"/>
                      </a:lnTo>
                      <a:lnTo>
                        <a:pt x="352763" y="277997"/>
                      </a:lnTo>
                      <a:lnTo>
                        <a:pt x="368770" y="279463"/>
                      </a:lnTo>
                      <a:lnTo>
                        <a:pt x="372728" y="281382"/>
                      </a:lnTo>
                      <a:lnTo>
                        <a:pt x="372760" y="282378"/>
                      </a:lnTo>
                      <a:lnTo>
                        <a:pt x="372641" y="283056"/>
                      </a:lnTo>
                      <a:lnTo>
                        <a:pt x="372527" y="283482"/>
                      </a:lnTo>
                      <a:lnTo>
                        <a:pt x="372105" y="284334"/>
                      </a:lnTo>
                      <a:lnTo>
                        <a:pt x="373602" y="288731"/>
                      </a:lnTo>
                      <a:lnTo>
                        <a:pt x="374051" y="293454"/>
                      </a:lnTo>
                      <a:lnTo>
                        <a:pt x="393334" y="319113"/>
                      </a:lnTo>
                      <a:lnTo>
                        <a:pt x="398202" y="327577"/>
                      </a:lnTo>
                      <a:lnTo>
                        <a:pt x="398868" y="330785"/>
                      </a:lnTo>
                      <a:lnTo>
                        <a:pt x="399508" y="333134"/>
                      </a:lnTo>
                      <a:lnTo>
                        <a:pt x="399237" y="338565"/>
                      </a:lnTo>
                      <a:lnTo>
                        <a:pt x="398046" y="350529"/>
                      </a:lnTo>
                      <a:lnTo>
                        <a:pt x="399083" y="352012"/>
                      </a:lnTo>
                      <a:lnTo>
                        <a:pt x="401159" y="353546"/>
                      </a:lnTo>
                      <a:lnTo>
                        <a:pt x="406647" y="354225"/>
                      </a:lnTo>
                      <a:lnTo>
                        <a:pt x="428560" y="366085"/>
                      </a:lnTo>
                      <a:lnTo>
                        <a:pt x="425477" y="368048"/>
                      </a:lnTo>
                      <a:lnTo>
                        <a:pt x="421447" y="371865"/>
                      </a:lnTo>
                      <a:lnTo>
                        <a:pt x="418867" y="376526"/>
                      </a:lnTo>
                      <a:lnTo>
                        <a:pt x="412256" y="379981"/>
                      </a:lnTo>
                      <a:lnTo>
                        <a:pt x="401842" y="380367"/>
                      </a:lnTo>
                      <a:lnTo>
                        <a:pt x="372226" y="372569"/>
                      </a:lnTo>
                      <a:lnTo>
                        <a:pt x="370458" y="373432"/>
                      </a:lnTo>
                      <a:lnTo>
                        <a:pt x="368598" y="375645"/>
                      </a:lnTo>
                      <a:lnTo>
                        <a:pt x="367577" y="377973"/>
                      </a:lnTo>
                      <a:lnTo>
                        <a:pt x="368240" y="379185"/>
                      </a:lnTo>
                      <a:lnTo>
                        <a:pt x="381941" y="385962"/>
                      </a:lnTo>
                      <a:lnTo>
                        <a:pt x="386795" y="384298"/>
                      </a:lnTo>
                      <a:lnTo>
                        <a:pt x="377699" y="377947"/>
                      </a:lnTo>
                      <a:lnTo>
                        <a:pt x="375604" y="375418"/>
                      </a:lnTo>
                      <a:lnTo>
                        <a:pt x="395145" y="383631"/>
                      </a:lnTo>
                      <a:lnTo>
                        <a:pt x="394582" y="390123"/>
                      </a:lnTo>
                      <a:lnTo>
                        <a:pt x="388797" y="393239"/>
                      </a:lnTo>
                      <a:lnTo>
                        <a:pt x="372408" y="391466"/>
                      </a:lnTo>
                      <a:lnTo>
                        <a:pt x="365706" y="393097"/>
                      </a:lnTo>
                      <a:lnTo>
                        <a:pt x="371028" y="393717"/>
                      </a:lnTo>
                      <a:lnTo>
                        <a:pt x="383192" y="393538"/>
                      </a:lnTo>
                      <a:lnTo>
                        <a:pt x="387878" y="394943"/>
                      </a:lnTo>
                      <a:lnTo>
                        <a:pt x="390391" y="400166"/>
                      </a:lnTo>
                      <a:lnTo>
                        <a:pt x="388209" y="402479"/>
                      </a:lnTo>
                      <a:lnTo>
                        <a:pt x="380452" y="408950"/>
                      </a:lnTo>
                      <a:lnTo>
                        <a:pt x="367882" y="417288"/>
                      </a:lnTo>
                      <a:lnTo>
                        <a:pt x="357093" y="422657"/>
                      </a:lnTo>
                      <a:lnTo>
                        <a:pt x="349695" y="419687"/>
                      </a:lnTo>
                      <a:lnTo>
                        <a:pt x="348592" y="420611"/>
                      </a:lnTo>
                      <a:lnTo>
                        <a:pt x="347690" y="422133"/>
                      </a:lnTo>
                      <a:lnTo>
                        <a:pt x="346774" y="423423"/>
                      </a:lnTo>
                      <a:lnTo>
                        <a:pt x="345532" y="423846"/>
                      </a:lnTo>
                      <a:lnTo>
                        <a:pt x="344314" y="422995"/>
                      </a:lnTo>
                      <a:lnTo>
                        <a:pt x="343149" y="419796"/>
                      </a:lnTo>
                      <a:lnTo>
                        <a:pt x="342282" y="418653"/>
                      </a:lnTo>
                      <a:lnTo>
                        <a:pt x="338278" y="415764"/>
                      </a:lnTo>
                      <a:lnTo>
                        <a:pt x="336137" y="415507"/>
                      </a:lnTo>
                      <a:lnTo>
                        <a:pt x="336616" y="419151"/>
                      </a:lnTo>
                      <a:lnTo>
                        <a:pt x="340061" y="423112"/>
                      </a:lnTo>
                      <a:lnTo>
                        <a:pt x="341218" y="425714"/>
                      </a:lnTo>
                      <a:lnTo>
                        <a:pt x="340271" y="429187"/>
                      </a:lnTo>
                      <a:lnTo>
                        <a:pt x="339919" y="436859"/>
                      </a:lnTo>
                      <a:lnTo>
                        <a:pt x="337820" y="443960"/>
                      </a:lnTo>
                      <a:lnTo>
                        <a:pt x="334408" y="447843"/>
                      </a:lnTo>
                      <a:lnTo>
                        <a:pt x="330480" y="451685"/>
                      </a:lnTo>
                      <a:lnTo>
                        <a:pt x="317777" y="461584"/>
                      </a:lnTo>
                      <a:lnTo>
                        <a:pt x="312830" y="465967"/>
                      </a:lnTo>
                      <a:lnTo>
                        <a:pt x="306995" y="469478"/>
                      </a:lnTo>
                      <a:lnTo>
                        <a:pt x="303682" y="471202"/>
                      </a:lnTo>
                      <a:lnTo>
                        <a:pt x="299185" y="472829"/>
                      </a:lnTo>
                      <a:lnTo>
                        <a:pt x="296118" y="476560"/>
                      </a:lnTo>
                      <a:lnTo>
                        <a:pt x="294235" y="480388"/>
                      </a:lnTo>
                      <a:lnTo>
                        <a:pt x="290377" y="484056"/>
                      </a:lnTo>
                      <a:lnTo>
                        <a:pt x="288463" y="488280"/>
                      </a:lnTo>
                      <a:lnTo>
                        <a:pt x="283673" y="490422"/>
                      </a:lnTo>
                      <a:lnTo>
                        <a:pt x="281005" y="491047"/>
                      </a:lnTo>
                      <a:lnTo>
                        <a:pt x="278081" y="491150"/>
                      </a:lnTo>
                      <a:lnTo>
                        <a:pt x="275944" y="491708"/>
                      </a:lnTo>
                      <a:lnTo>
                        <a:pt x="274247" y="493906"/>
                      </a:lnTo>
                      <a:lnTo>
                        <a:pt x="272616" y="496907"/>
                      </a:lnTo>
                      <a:lnTo>
                        <a:pt x="270736" y="499759"/>
                      </a:lnTo>
                      <a:lnTo>
                        <a:pt x="268273" y="501447"/>
                      </a:lnTo>
                      <a:lnTo>
                        <a:pt x="265997" y="501599"/>
                      </a:lnTo>
                      <a:lnTo>
                        <a:pt x="264943" y="500494"/>
                      </a:lnTo>
                      <a:lnTo>
                        <a:pt x="265182" y="497959"/>
                      </a:lnTo>
                      <a:lnTo>
                        <a:pt x="263963" y="495707"/>
                      </a:lnTo>
                      <a:lnTo>
                        <a:pt x="256158" y="506615"/>
                      </a:lnTo>
                      <a:lnTo>
                        <a:pt x="249478" y="512483"/>
                      </a:lnTo>
                      <a:lnTo>
                        <a:pt x="247703" y="515803"/>
                      </a:lnTo>
                      <a:lnTo>
                        <a:pt x="249242" y="520120"/>
                      </a:lnTo>
                      <a:lnTo>
                        <a:pt x="245518" y="524517"/>
                      </a:lnTo>
                      <a:lnTo>
                        <a:pt x="241658" y="523239"/>
                      </a:lnTo>
                      <a:lnTo>
                        <a:pt x="237671" y="520975"/>
                      </a:lnTo>
                      <a:lnTo>
                        <a:pt x="233682" y="522588"/>
                      </a:lnTo>
                      <a:lnTo>
                        <a:pt x="232154" y="518015"/>
                      </a:lnTo>
                      <a:lnTo>
                        <a:pt x="229695" y="517010"/>
                      </a:lnTo>
                      <a:lnTo>
                        <a:pt x="227805" y="518904"/>
                      </a:lnTo>
                      <a:lnTo>
                        <a:pt x="228002" y="522940"/>
                      </a:lnTo>
                      <a:lnTo>
                        <a:pt x="227766" y="526444"/>
                      </a:lnTo>
                      <a:lnTo>
                        <a:pt x="224528" y="526773"/>
                      </a:lnTo>
                      <a:lnTo>
                        <a:pt x="218288" y="524863"/>
                      </a:lnTo>
                      <a:lnTo>
                        <a:pt x="216585" y="525760"/>
                      </a:lnTo>
                      <a:lnTo>
                        <a:pt x="210810" y="530341"/>
                      </a:lnTo>
                      <a:lnTo>
                        <a:pt x="209003" y="532144"/>
                      </a:lnTo>
                      <a:lnTo>
                        <a:pt x="206196" y="534224"/>
                      </a:lnTo>
                      <a:lnTo>
                        <a:pt x="199450" y="535030"/>
                      </a:lnTo>
                      <a:lnTo>
                        <a:pt x="196412" y="536107"/>
                      </a:lnTo>
                      <a:lnTo>
                        <a:pt x="197759" y="536537"/>
                      </a:lnTo>
                      <a:lnTo>
                        <a:pt x="200033" y="538116"/>
                      </a:lnTo>
                      <a:lnTo>
                        <a:pt x="201134" y="539207"/>
                      </a:lnTo>
                      <a:lnTo>
                        <a:pt x="197699" y="544843"/>
                      </a:lnTo>
                      <a:lnTo>
                        <a:pt x="195761" y="547109"/>
                      </a:lnTo>
                      <a:lnTo>
                        <a:pt x="191443" y="549314"/>
                      </a:lnTo>
                      <a:lnTo>
                        <a:pt x="190663" y="551363"/>
                      </a:lnTo>
                      <a:lnTo>
                        <a:pt x="189531" y="546818"/>
                      </a:lnTo>
                      <a:lnTo>
                        <a:pt x="185327" y="538598"/>
                      </a:lnTo>
                      <a:lnTo>
                        <a:pt x="185443" y="536838"/>
                      </a:lnTo>
                      <a:lnTo>
                        <a:pt x="185904" y="534686"/>
                      </a:lnTo>
                      <a:lnTo>
                        <a:pt x="187303" y="533147"/>
                      </a:lnTo>
                      <a:lnTo>
                        <a:pt x="188612" y="530855"/>
                      </a:lnTo>
                      <a:lnTo>
                        <a:pt x="189624" y="529609"/>
                      </a:lnTo>
                      <a:lnTo>
                        <a:pt x="190309" y="529027"/>
                      </a:lnTo>
                      <a:lnTo>
                        <a:pt x="191248" y="528537"/>
                      </a:lnTo>
                      <a:lnTo>
                        <a:pt x="192558" y="527400"/>
                      </a:lnTo>
                      <a:lnTo>
                        <a:pt x="194771" y="524774"/>
                      </a:lnTo>
                      <a:lnTo>
                        <a:pt x="195870" y="520986"/>
                      </a:lnTo>
                      <a:lnTo>
                        <a:pt x="196282" y="518377"/>
                      </a:lnTo>
                      <a:lnTo>
                        <a:pt x="196073" y="514554"/>
                      </a:lnTo>
                      <a:lnTo>
                        <a:pt x="194770" y="505963"/>
                      </a:lnTo>
                      <a:lnTo>
                        <a:pt x="177866" y="498315"/>
                      </a:lnTo>
                      <a:lnTo>
                        <a:pt x="174748" y="494695"/>
                      </a:lnTo>
                      <a:lnTo>
                        <a:pt x="175614" y="493853"/>
                      </a:lnTo>
                      <a:lnTo>
                        <a:pt x="176783" y="493146"/>
                      </a:lnTo>
                      <a:lnTo>
                        <a:pt x="177715" y="492053"/>
                      </a:lnTo>
                      <a:lnTo>
                        <a:pt x="177956" y="490437"/>
                      </a:lnTo>
                      <a:lnTo>
                        <a:pt x="177407" y="488384"/>
                      </a:lnTo>
                      <a:lnTo>
                        <a:pt x="176869" y="487020"/>
                      </a:lnTo>
                      <a:lnTo>
                        <a:pt x="176848" y="484615"/>
                      </a:lnTo>
                      <a:lnTo>
                        <a:pt x="176894" y="479529"/>
                      </a:lnTo>
                      <a:lnTo>
                        <a:pt x="167307" y="474118"/>
                      </a:lnTo>
                      <a:lnTo>
                        <a:pt x="162303" y="475602"/>
                      </a:lnTo>
                      <a:lnTo>
                        <a:pt x="161096" y="477383"/>
                      </a:lnTo>
                      <a:lnTo>
                        <a:pt x="159844" y="480026"/>
                      </a:lnTo>
                      <a:lnTo>
                        <a:pt x="157565" y="481353"/>
                      </a:lnTo>
                      <a:lnTo>
                        <a:pt x="155366" y="480200"/>
                      </a:lnTo>
                      <a:lnTo>
                        <a:pt x="153634" y="477148"/>
                      </a:lnTo>
                      <a:lnTo>
                        <a:pt x="152795" y="473098"/>
                      </a:lnTo>
                      <a:lnTo>
                        <a:pt x="152213" y="466972"/>
                      </a:lnTo>
                      <a:lnTo>
                        <a:pt x="149929" y="461955"/>
                      </a:lnTo>
                      <a:lnTo>
                        <a:pt x="145482" y="456726"/>
                      </a:lnTo>
                      <a:lnTo>
                        <a:pt x="133068" y="448415"/>
                      </a:lnTo>
                      <a:lnTo>
                        <a:pt x="130845" y="446357"/>
                      </a:lnTo>
                      <a:lnTo>
                        <a:pt x="130672" y="444893"/>
                      </a:lnTo>
                      <a:lnTo>
                        <a:pt x="131314" y="439969"/>
                      </a:lnTo>
                      <a:lnTo>
                        <a:pt x="130845" y="436552"/>
                      </a:lnTo>
                      <a:lnTo>
                        <a:pt x="128822" y="431985"/>
                      </a:lnTo>
                      <a:lnTo>
                        <a:pt x="124759" y="427962"/>
                      </a:lnTo>
                      <a:lnTo>
                        <a:pt x="117693" y="424958"/>
                      </a:lnTo>
                      <a:lnTo>
                        <a:pt x="115714" y="425094"/>
                      </a:lnTo>
                      <a:lnTo>
                        <a:pt x="109587" y="429757"/>
                      </a:lnTo>
                      <a:lnTo>
                        <a:pt x="97560" y="427609"/>
                      </a:lnTo>
                      <a:lnTo>
                        <a:pt x="93955" y="425419"/>
                      </a:lnTo>
                      <a:lnTo>
                        <a:pt x="91773" y="422806"/>
                      </a:lnTo>
                      <a:lnTo>
                        <a:pt x="90347" y="414546"/>
                      </a:lnTo>
                      <a:lnTo>
                        <a:pt x="89743" y="409194"/>
                      </a:lnTo>
                      <a:lnTo>
                        <a:pt x="89175" y="399489"/>
                      </a:lnTo>
                      <a:lnTo>
                        <a:pt x="90774" y="395280"/>
                      </a:lnTo>
                      <a:lnTo>
                        <a:pt x="92283" y="394151"/>
                      </a:lnTo>
                      <a:lnTo>
                        <a:pt x="99379" y="391047"/>
                      </a:lnTo>
                      <a:lnTo>
                        <a:pt x="101407" y="389313"/>
                      </a:lnTo>
                      <a:lnTo>
                        <a:pt x="104078" y="386180"/>
                      </a:lnTo>
                      <a:lnTo>
                        <a:pt x="105046" y="383072"/>
                      </a:lnTo>
                      <a:lnTo>
                        <a:pt x="105155" y="380387"/>
                      </a:lnTo>
                      <a:lnTo>
                        <a:pt x="102795" y="373079"/>
                      </a:lnTo>
                      <a:lnTo>
                        <a:pt x="101594" y="367171"/>
                      </a:lnTo>
                      <a:lnTo>
                        <a:pt x="102841" y="355651"/>
                      </a:lnTo>
                      <a:lnTo>
                        <a:pt x="104007" y="351110"/>
                      </a:lnTo>
                      <a:lnTo>
                        <a:pt x="105255" y="348915"/>
                      </a:lnTo>
                      <a:lnTo>
                        <a:pt x="107340" y="349352"/>
                      </a:lnTo>
                      <a:lnTo>
                        <a:pt x="108555" y="349340"/>
                      </a:lnTo>
                      <a:lnTo>
                        <a:pt x="109730" y="349040"/>
                      </a:lnTo>
                      <a:lnTo>
                        <a:pt x="112260" y="347658"/>
                      </a:lnTo>
                      <a:lnTo>
                        <a:pt x="113617" y="347279"/>
                      </a:lnTo>
                      <a:lnTo>
                        <a:pt x="115354" y="346094"/>
                      </a:lnTo>
                      <a:lnTo>
                        <a:pt x="118210" y="342673"/>
                      </a:lnTo>
                      <a:lnTo>
                        <a:pt x="121669" y="334773"/>
                      </a:lnTo>
                      <a:lnTo>
                        <a:pt x="124545" y="326989"/>
                      </a:lnTo>
                      <a:lnTo>
                        <a:pt x="125625" y="320606"/>
                      </a:lnTo>
                      <a:lnTo>
                        <a:pt x="118639" y="300323"/>
                      </a:lnTo>
                      <a:lnTo>
                        <a:pt x="116581" y="289645"/>
                      </a:lnTo>
                      <a:lnTo>
                        <a:pt x="115540" y="287343"/>
                      </a:lnTo>
                      <a:lnTo>
                        <a:pt x="113489" y="285691"/>
                      </a:lnTo>
                      <a:lnTo>
                        <a:pt x="106616" y="283013"/>
                      </a:lnTo>
                      <a:lnTo>
                        <a:pt x="85731" y="279683"/>
                      </a:lnTo>
                      <a:lnTo>
                        <a:pt x="71611" y="283094"/>
                      </a:lnTo>
                      <a:lnTo>
                        <a:pt x="44479" y="283713"/>
                      </a:lnTo>
                      <a:lnTo>
                        <a:pt x="41070" y="286164"/>
                      </a:lnTo>
                      <a:lnTo>
                        <a:pt x="40347" y="288523"/>
                      </a:lnTo>
                      <a:lnTo>
                        <a:pt x="38460" y="289220"/>
                      </a:lnTo>
                      <a:lnTo>
                        <a:pt x="36167" y="289142"/>
                      </a:lnTo>
                      <a:lnTo>
                        <a:pt x="28141" y="286402"/>
                      </a:lnTo>
                      <a:lnTo>
                        <a:pt x="21628" y="282698"/>
                      </a:lnTo>
                      <a:lnTo>
                        <a:pt x="21161" y="277872"/>
                      </a:lnTo>
                      <a:lnTo>
                        <a:pt x="22677" y="274996"/>
                      </a:lnTo>
                      <a:lnTo>
                        <a:pt x="25023" y="271174"/>
                      </a:lnTo>
                      <a:lnTo>
                        <a:pt x="40670" y="255728"/>
                      </a:lnTo>
                      <a:lnTo>
                        <a:pt x="43694" y="250804"/>
                      </a:lnTo>
                      <a:lnTo>
                        <a:pt x="44803" y="246609"/>
                      </a:lnTo>
                      <a:lnTo>
                        <a:pt x="44296" y="243382"/>
                      </a:lnTo>
                      <a:lnTo>
                        <a:pt x="42262" y="235079"/>
                      </a:lnTo>
                      <a:lnTo>
                        <a:pt x="39534" y="225471"/>
                      </a:lnTo>
                      <a:lnTo>
                        <a:pt x="42025" y="223936"/>
                      </a:lnTo>
                      <a:lnTo>
                        <a:pt x="44703" y="223873"/>
                      </a:lnTo>
                      <a:lnTo>
                        <a:pt x="47316" y="221931"/>
                      </a:lnTo>
                      <a:lnTo>
                        <a:pt x="48306" y="219309"/>
                      </a:lnTo>
                      <a:lnTo>
                        <a:pt x="48255" y="215533"/>
                      </a:lnTo>
                      <a:lnTo>
                        <a:pt x="47743" y="211508"/>
                      </a:lnTo>
                      <a:lnTo>
                        <a:pt x="47889" y="205185"/>
                      </a:lnTo>
                      <a:lnTo>
                        <a:pt x="48919" y="199608"/>
                      </a:lnTo>
                      <a:lnTo>
                        <a:pt x="51836" y="190183"/>
                      </a:lnTo>
                      <a:lnTo>
                        <a:pt x="53441" y="183482"/>
                      </a:lnTo>
                      <a:lnTo>
                        <a:pt x="55101" y="179994"/>
                      </a:lnTo>
                      <a:lnTo>
                        <a:pt x="56912" y="178125"/>
                      </a:lnTo>
                      <a:lnTo>
                        <a:pt x="59067" y="176369"/>
                      </a:lnTo>
                      <a:lnTo>
                        <a:pt x="59583" y="174754"/>
                      </a:lnTo>
                      <a:lnTo>
                        <a:pt x="59164" y="173234"/>
                      </a:lnTo>
                      <a:lnTo>
                        <a:pt x="57610" y="172012"/>
                      </a:lnTo>
                      <a:lnTo>
                        <a:pt x="33292" y="158975"/>
                      </a:lnTo>
                      <a:lnTo>
                        <a:pt x="19503" y="155650"/>
                      </a:lnTo>
                      <a:lnTo>
                        <a:pt x="4209" y="155093"/>
                      </a:lnTo>
                      <a:lnTo>
                        <a:pt x="67" y="151273"/>
                      </a:lnTo>
                      <a:lnTo>
                        <a:pt x="0" y="148388"/>
                      </a:lnTo>
                      <a:lnTo>
                        <a:pt x="2510" y="133922"/>
                      </a:lnTo>
                      <a:lnTo>
                        <a:pt x="3279" y="116316"/>
                      </a:lnTo>
                      <a:lnTo>
                        <a:pt x="4306" y="112070"/>
                      </a:lnTo>
                      <a:lnTo>
                        <a:pt x="6263" y="108060"/>
                      </a:lnTo>
                      <a:lnTo>
                        <a:pt x="10579" y="101749"/>
                      </a:lnTo>
                      <a:lnTo>
                        <a:pt x="13307" y="97102"/>
                      </a:lnTo>
                      <a:lnTo>
                        <a:pt x="16036" y="87042"/>
                      </a:lnTo>
                      <a:lnTo>
                        <a:pt x="18475" y="81519"/>
                      </a:lnTo>
                      <a:lnTo>
                        <a:pt x="21225" y="79004"/>
                      </a:lnTo>
                      <a:lnTo>
                        <a:pt x="24143" y="76954"/>
                      </a:lnTo>
                      <a:lnTo>
                        <a:pt x="25262" y="75732"/>
                      </a:lnTo>
                      <a:lnTo>
                        <a:pt x="25876" y="74225"/>
                      </a:lnTo>
                      <a:lnTo>
                        <a:pt x="25899" y="72779"/>
                      </a:lnTo>
                      <a:lnTo>
                        <a:pt x="26652" y="70443"/>
                      </a:lnTo>
                      <a:lnTo>
                        <a:pt x="27979" y="69622"/>
                      </a:lnTo>
                      <a:lnTo>
                        <a:pt x="33688" y="68921"/>
                      </a:lnTo>
                      <a:lnTo>
                        <a:pt x="38017" y="67327"/>
                      </a:lnTo>
                      <a:lnTo>
                        <a:pt x="44727" y="63096"/>
                      </a:lnTo>
                      <a:lnTo>
                        <a:pt x="47351" y="60446"/>
                      </a:lnTo>
                      <a:lnTo>
                        <a:pt x="48583" y="58853"/>
                      </a:lnTo>
                      <a:lnTo>
                        <a:pt x="48634" y="58381"/>
                      </a:lnTo>
                      <a:lnTo>
                        <a:pt x="48559" y="58007"/>
                      </a:lnTo>
                      <a:lnTo>
                        <a:pt x="48316" y="57150"/>
                      </a:lnTo>
                      <a:lnTo>
                        <a:pt x="47490" y="55323"/>
                      </a:lnTo>
                      <a:lnTo>
                        <a:pt x="45164" y="47638"/>
                      </a:lnTo>
                      <a:lnTo>
                        <a:pt x="45921" y="42295"/>
                      </a:lnTo>
                      <a:lnTo>
                        <a:pt x="48017" y="33900"/>
                      </a:lnTo>
                      <a:lnTo>
                        <a:pt x="48400" y="30795"/>
                      </a:lnTo>
                      <a:lnTo>
                        <a:pt x="48508" y="28176"/>
                      </a:lnTo>
                      <a:lnTo>
                        <a:pt x="48890" y="24916"/>
                      </a:lnTo>
                      <a:lnTo>
                        <a:pt x="49665" y="22095"/>
                      </a:lnTo>
                      <a:lnTo>
                        <a:pt x="51341" y="20298"/>
                      </a:lnTo>
                      <a:lnTo>
                        <a:pt x="63165" y="14580"/>
                      </a:lnTo>
                      <a:lnTo>
                        <a:pt x="68726" y="10217"/>
                      </a:lnTo>
                      <a:lnTo>
                        <a:pt x="74669" y="3255"/>
                      </a:lnTo>
                      <a:lnTo>
                        <a:pt x="77167" y="1757"/>
                      </a:lnTo>
                      <a:lnTo>
                        <a:pt x="81996" y="654"/>
                      </a:lnTo>
                      <a:lnTo>
                        <a:pt x="84797" y="637"/>
                      </a:lnTo>
                      <a:lnTo>
                        <a:pt x="86633" y="1146"/>
                      </a:lnTo>
                      <a:lnTo>
                        <a:pt x="87659" y="2080"/>
                      </a:lnTo>
                      <a:lnTo>
                        <a:pt x="89358" y="2421"/>
                      </a:lnTo>
                      <a:lnTo>
                        <a:pt x="90764" y="2439"/>
                      </a:lnTo>
                      <a:lnTo>
                        <a:pt x="99007" y="0"/>
                      </a:lnTo>
                      <a:lnTo>
                        <a:pt x="102209" y="5634"/>
                      </a:lnTo>
                      <a:lnTo>
                        <a:pt x="107561" y="6627"/>
                      </a:lnTo>
                      <a:lnTo>
                        <a:pt x="109070" y="7800"/>
                      </a:lnTo>
                      <a:lnTo>
                        <a:pt x="111502" y="10957"/>
                      </a:lnTo>
                      <a:lnTo>
                        <a:pt x="113839" y="12614"/>
                      </a:lnTo>
                      <a:close/>
                    </a:path>
                  </a:pathLst>
                </a:custGeom>
                <a:solidFill>
                  <a:srgbClr val="72AEB8"/>
                </a:solidFill>
                <a:ln w="3175" cap="rnd">
                  <a:solidFill>
                    <a:srgbClr val="72AEB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Freeform 81">
                  <a:extLst>
                    <a:ext uri="{FF2B5EF4-FFF2-40B4-BE49-F238E27FC236}">
                      <a16:creationId xmlns:a16="http://schemas.microsoft.com/office/drawing/2014/main" id="{4753C8FC-541D-4F17-A0FD-86F58B04A1D4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"/>
                  </p:custDataLst>
                </p:nvPr>
              </p:nvSpPr>
              <p:spPr>
                <a:xfrm>
                  <a:off x="1792249" y="3516822"/>
                  <a:ext cx="452453" cy="4639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8216" h="500661">
                      <a:moveTo>
                        <a:pt x="70696" y="423276"/>
                      </a:moveTo>
                      <a:lnTo>
                        <a:pt x="69172" y="426634"/>
                      </a:lnTo>
                      <a:lnTo>
                        <a:pt x="68501" y="427878"/>
                      </a:lnTo>
                      <a:lnTo>
                        <a:pt x="70079" y="430123"/>
                      </a:lnTo>
                      <a:lnTo>
                        <a:pt x="70800" y="431641"/>
                      </a:lnTo>
                      <a:lnTo>
                        <a:pt x="71108" y="433206"/>
                      </a:lnTo>
                      <a:lnTo>
                        <a:pt x="70560" y="439249"/>
                      </a:lnTo>
                      <a:lnTo>
                        <a:pt x="69039" y="446305"/>
                      </a:lnTo>
                      <a:lnTo>
                        <a:pt x="66544" y="453300"/>
                      </a:lnTo>
                      <a:lnTo>
                        <a:pt x="63159" y="459190"/>
                      </a:lnTo>
                      <a:lnTo>
                        <a:pt x="61628" y="462646"/>
                      </a:lnTo>
                      <a:lnTo>
                        <a:pt x="61287" y="466550"/>
                      </a:lnTo>
                      <a:lnTo>
                        <a:pt x="61324" y="470599"/>
                      </a:lnTo>
                      <a:lnTo>
                        <a:pt x="60899" y="474488"/>
                      </a:lnTo>
                      <a:lnTo>
                        <a:pt x="59878" y="478617"/>
                      </a:lnTo>
                      <a:lnTo>
                        <a:pt x="59146" y="480322"/>
                      </a:lnTo>
                      <a:lnTo>
                        <a:pt x="54409" y="482849"/>
                      </a:lnTo>
                      <a:lnTo>
                        <a:pt x="53540" y="483825"/>
                      </a:lnTo>
                      <a:lnTo>
                        <a:pt x="52164" y="486609"/>
                      </a:lnTo>
                      <a:lnTo>
                        <a:pt x="51658" y="487127"/>
                      </a:lnTo>
                      <a:lnTo>
                        <a:pt x="48609" y="486212"/>
                      </a:lnTo>
                      <a:lnTo>
                        <a:pt x="46989" y="486180"/>
                      </a:lnTo>
                      <a:lnTo>
                        <a:pt x="45573" y="487119"/>
                      </a:lnTo>
                      <a:lnTo>
                        <a:pt x="44180" y="489757"/>
                      </a:lnTo>
                      <a:lnTo>
                        <a:pt x="42640" y="493983"/>
                      </a:lnTo>
                      <a:lnTo>
                        <a:pt x="42305" y="495877"/>
                      </a:lnTo>
                      <a:lnTo>
                        <a:pt x="37132" y="496303"/>
                      </a:lnTo>
                      <a:lnTo>
                        <a:pt x="32317" y="494986"/>
                      </a:lnTo>
                      <a:lnTo>
                        <a:pt x="30913" y="494891"/>
                      </a:lnTo>
                      <a:lnTo>
                        <a:pt x="24939" y="497840"/>
                      </a:lnTo>
                      <a:lnTo>
                        <a:pt x="18242" y="498968"/>
                      </a:lnTo>
                      <a:lnTo>
                        <a:pt x="7851" y="500592"/>
                      </a:lnTo>
                      <a:lnTo>
                        <a:pt x="2465" y="500660"/>
                      </a:lnTo>
                      <a:lnTo>
                        <a:pt x="2416" y="500661"/>
                      </a:lnTo>
                      <a:lnTo>
                        <a:pt x="3251" y="494584"/>
                      </a:lnTo>
                      <a:lnTo>
                        <a:pt x="3219" y="492812"/>
                      </a:lnTo>
                      <a:lnTo>
                        <a:pt x="2944" y="491395"/>
                      </a:lnTo>
                      <a:lnTo>
                        <a:pt x="3158" y="489859"/>
                      </a:lnTo>
                      <a:lnTo>
                        <a:pt x="4614" y="487625"/>
                      </a:lnTo>
                      <a:lnTo>
                        <a:pt x="7043" y="485917"/>
                      </a:lnTo>
                      <a:lnTo>
                        <a:pt x="9531" y="485684"/>
                      </a:lnTo>
                      <a:lnTo>
                        <a:pt x="14513" y="486982"/>
                      </a:lnTo>
                      <a:lnTo>
                        <a:pt x="14925" y="484869"/>
                      </a:lnTo>
                      <a:lnTo>
                        <a:pt x="8367" y="480931"/>
                      </a:lnTo>
                      <a:lnTo>
                        <a:pt x="8819" y="478626"/>
                      </a:lnTo>
                      <a:lnTo>
                        <a:pt x="12758" y="477506"/>
                      </a:lnTo>
                      <a:lnTo>
                        <a:pt x="15912" y="475339"/>
                      </a:lnTo>
                      <a:lnTo>
                        <a:pt x="27666" y="463137"/>
                      </a:lnTo>
                      <a:lnTo>
                        <a:pt x="31815" y="454323"/>
                      </a:lnTo>
                      <a:lnTo>
                        <a:pt x="35432" y="451513"/>
                      </a:lnTo>
                      <a:lnTo>
                        <a:pt x="39984" y="449103"/>
                      </a:lnTo>
                      <a:lnTo>
                        <a:pt x="44302" y="448193"/>
                      </a:lnTo>
                      <a:lnTo>
                        <a:pt x="47252" y="449938"/>
                      </a:lnTo>
                      <a:lnTo>
                        <a:pt x="47807" y="454048"/>
                      </a:lnTo>
                      <a:lnTo>
                        <a:pt x="47064" y="465345"/>
                      </a:lnTo>
                      <a:lnTo>
                        <a:pt x="48366" y="469430"/>
                      </a:lnTo>
                      <a:lnTo>
                        <a:pt x="49870" y="463877"/>
                      </a:lnTo>
                      <a:lnTo>
                        <a:pt x="52874" y="459637"/>
                      </a:lnTo>
                      <a:lnTo>
                        <a:pt x="53391" y="455967"/>
                      </a:lnTo>
                      <a:lnTo>
                        <a:pt x="52707" y="451014"/>
                      </a:lnTo>
                      <a:lnTo>
                        <a:pt x="50679" y="446585"/>
                      </a:lnTo>
                      <a:lnTo>
                        <a:pt x="50935" y="443452"/>
                      </a:lnTo>
                      <a:lnTo>
                        <a:pt x="54250" y="437280"/>
                      </a:lnTo>
                      <a:lnTo>
                        <a:pt x="59866" y="431689"/>
                      </a:lnTo>
                      <a:close/>
                      <a:moveTo>
                        <a:pt x="18169" y="364575"/>
                      </a:moveTo>
                      <a:lnTo>
                        <a:pt x="22535" y="365570"/>
                      </a:lnTo>
                      <a:lnTo>
                        <a:pt x="22521" y="370762"/>
                      </a:lnTo>
                      <a:lnTo>
                        <a:pt x="23326" y="374427"/>
                      </a:lnTo>
                      <a:lnTo>
                        <a:pt x="26646" y="380849"/>
                      </a:lnTo>
                      <a:lnTo>
                        <a:pt x="28124" y="382279"/>
                      </a:lnTo>
                      <a:lnTo>
                        <a:pt x="29650" y="382872"/>
                      </a:lnTo>
                      <a:lnTo>
                        <a:pt x="30612" y="384141"/>
                      </a:lnTo>
                      <a:lnTo>
                        <a:pt x="30391" y="387627"/>
                      </a:lnTo>
                      <a:lnTo>
                        <a:pt x="30525" y="390925"/>
                      </a:lnTo>
                      <a:lnTo>
                        <a:pt x="32179" y="391901"/>
                      </a:lnTo>
                      <a:lnTo>
                        <a:pt x="34277" y="392235"/>
                      </a:lnTo>
                      <a:lnTo>
                        <a:pt x="35768" y="393609"/>
                      </a:lnTo>
                      <a:lnTo>
                        <a:pt x="37508" y="402665"/>
                      </a:lnTo>
                      <a:lnTo>
                        <a:pt x="38949" y="407714"/>
                      </a:lnTo>
                      <a:lnTo>
                        <a:pt x="40939" y="410176"/>
                      </a:lnTo>
                      <a:lnTo>
                        <a:pt x="42314" y="412687"/>
                      </a:lnTo>
                      <a:lnTo>
                        <a:pt x="43121" y="423721"/>
                      </a:lnTo>
                      <a:lnTo>
                        <a:pt x="44217" y="427911"/>
                      </a:lnTo>
                      <a:lnTo>
                        <a:pt x="36870" y="433509"/>
                      </a:lnTo>
                      <a:lnTo>
                        <a:pt x="33189" y="435102"/>
                      </a:lnTo>
                      <a:lnTo>
                        <a:pt x="29591" y="434629"/>
                      </a:lnTo>
                      <a:lnTo>
                        <a:pt x="30043" y="432309"/>
                      </a:lnTo>
                      <a:lnTo>
                        <a:pt x="32034" y="432117"/>
                      </a:lnTo>
                      <a:lnTo>
                        <a:pt x="37836" y="429054"/>
                      </a:lnTo>
                      <a:lnTo>
                        <a:pt x="37484" y="423648"/>
                      </a:lnTo>
                      <a:lnTo>
                        <a:pt x="37881" y="417443"/>
                      </a:lnTo>
                      <a:lnTo>
                        <a:pt x="37315" y="412554"/>
                      </a:lnTo>
                      <a:lnTo>
                        <a:pt x="34149" y="411234"/>
                      </a:lnTo>
                      <a:lnTo>
                        <a:pt x="33625" y="417041"/>
                      </a:lnTo>
                      <a:lnTo>
                        <a:pt x="31352" y="416989"/>
                      </a:lnTo>
                      <a:lnTo>
                        <a:pt x="28613" y="413400"/>
                      </a:lnTo>
                      <a:lnTo>
                        <a:pt x="26786" y="408558"/>
                      </a:lnTo>
                      <a:lnTo>
                        <a:pt x="25927" y="408300"/>
                      </a:lnTo>
                      <a:lnTo>
                        <a:pt x="24127" y="408714"/>
                      </a:lnTo>
                      <a:lnTo>
                        <a:pt x="22153" y="409653"/>
                      </a:lnTo>
                      <a:lnTo>
                        <a:pt x="20740" y="410962"/>
                      </a:lnTo>
                      <a:lnTo>
                        <a:pt x="19449" y="413716"/>
                      </a:lnTo>
                      <a:lnTo>
                        <a:pt x="19101" y="415929"/>
                      </a:lnTo>
                      <a:lnTo>
                        <a:pt x="19072" y="418291"/>
                      </a:lnTo>
                      <a:lnTo>
                        <a:pt x="18672" y="421512"/>
                      </a:lnTo>
                      <a:lnTo>
                        <a:pt x="16867" y="425110"/>
                      </a:lnTo>
                      <a:lnTo>
                        <a:pt x="10761" y="431000"/>
                      </a:lnTo>
                      <a:lnTo>
                        <a:pt x="8862" y="435067"/>
                      </a:lnTo>
                      <a:lnTo>
                        <a:pt x="8946" y="440236"/>
                      </a:lnTo>
                      <a:lnTo>
                        <a:pt x="11902" y="438463"/>
                      </a:lnTo>
                      <a:lnTo>
                        <a:pt x="15921" y="434362"/>
                      </a:lnTo>
                      <a:lnTo>
                        <a:pt x="19061" y="432524"/>
                      </a:lnTo>
                      <a:lnTo>
                        <a:pt x="14889" y="438518"/>
                      </a:lnTo>
                      <a:lnTo>
                        <a:pt x="13732" y="441098"/>
                      </a:lnTo>
                      <a:lnTo>
                        <a:pt x="13603" y="443970"/>
                      </a:lnTo>
                      <a:lnTo>
                        <a:pt x="14386" y="446409"/>
                      </a:lnTo>
                      <a:lnTo>
                        <a:pt x="14559" y="449156"/>
                      </a:lnTo>
                      <a:lnTo>
                        <a:pt x="12524" y="452880"/>
                      </a:lnTo>
                      <a:lnTo>
                        <a:pt x="13354" y="455457"/>
                      </a:lnTo>
                      <a:lnTo>
                        <a:pt x="11527" y="457674"/>
                      </a:lnTo>
                      <a:lnTo>
                        <a:pt x="9772" y="459302"/>
                      </a:lnTo>
                      <a:lnTo>
                        <a:pt x="8002" y="460410"/>
                      </a:lnTo>
                      <a:lnTo>
                        <a:pt x="3847" y="461613"/>
                      </a:lnTo>
                      <a:lnTo>
                        <a:pt x="3450" y="461561"/>
                      </a:lnTo>
                      <a:lnTo>
                        <a:pt x="3609" y="460532"/>
                      </a:lnTo>
                      <a:lnTo>
                        <a:pt x="2980" y="458195"/>
                      </a:lnTo>
                      <a:lnTo>
                        <a:pt x="1680" y="454919"/>
                      </a:lnTo>
                      <a:lnTo>
                        <a:pt x="540" y="450469"/>
                      </a:lnTo>
                      <a:lnTo>
                        <a:pt x="0" y="445193"/>
                      </a:lnTo>
                      <a:lnTo>
                        <a:pt x="453" y="439514"/>
                      </a:lnTo>
                      <a:lnTo>
                        <a:pt x="3543" y="428398"/>
                      </a:lnTo>
                      <a:lnTo>
                        <a:pt x="7806" y="419985"/>
                      </a:lnTo>
                      <a:lnTo>
                        <a:pt x="13467" y="412974"/>
                      </a:lnTo>
                      <a:lnTo>
                        <a:pt x="20594" y="406111"/>
                      </a:lnTo>
                      <a:lnTo>
                        <a:pt x="13159" y="404990"/>
                      </a:lnTo>
                      <a:lnTo>
                        <a:pt x="10030" y="402837"/>
                      </a:lnTo>
                      <a:lnTo>
                        <a:pt x="10082" y="396791"/>
                      </a:lnTo>
                      <a:lnTo>
                        <a:pt x="7064" y="400229"/>
                      </a:lnTo>
                      <a:lnTo>
                        <a:pt x="4030" y="401480"/>
                      </a:lnTo>
                      <a:lnTo>
                        <a:pt x="2022" y="399653"/>
                      </a:lnTo>
                      <a:lnTo>
                        <a:pt x="2185" y="393871"/>
                      </a:lnTo>
                      <a:lnTo>
                        <a:pt x="3924" y="390046"/>
                      </a:lnTo>
                      <a:lnTo>
                        <a:pt x="6262" y="388295"/>
                      </a:lnTo>
                      <a:lnTo>
                        <a:pt x="8531" y="385797"/>
                      </a:lnTo>
                      <a:lnTo>
                        <a:pt x="9956" y="379682"/>
                      </a:lnTo>
                      <a:lnTo>
                        <a:pt x="10563" y="380551"/>
                      </a:lnTo>
                      <a:lnTo>
                        <a:pt x="12224" y="382065"/>
                      </a:lnTo>
                      <a:lnTo>
                        <a:pt x="12826" y="382889"/>
                      </a:lnTo>
                      <a:lnTo>
                        <a:pt x="14025" y="380246"/>
                      </a:lnTo>
                      <a:lnTo>
                        <a:pt x="15307" y="379299"/>
                      </a:lnTo>
                      <a:lnTo>
                        <a:pt x="16653" y="379786"/>
                      </a:lnTo>
                      <a:lnTo>
                        <a:pt x="18107" y="381327"/>
                      </a:lnTo>
                      <a:lnTo>
                        <a:pt x="17710" y="376540"/>
                      </a:lnTo>
                      <a:lnTo>
                        <a:pt x="13759" y="365981"/>
                      </a:lnTo>
                      <a:lnTo>
                        <a:pt x="16017" y="364757"/>
                      </a:lnTo>
                      <a:close/>
                      <a:moveTo>
                        <a:pt x="54874" y="335709"/>
                      </a:moveTo>
                      <a:lnTo>
                        <a:pt x="56594" y="335864"/>
                      </a:lnTo>
                      <a:lnTo>
                        <a:pt x="58552" y="336856"/>
                      </a:lnTo>
                      <a:lnTo>
                        <a:pt x="60201" y="338776"/>
                      </a:lnTo>
                      <a:lnTo>
                        <a:pt x="60922" y="341716"/>
                      </a:lnTo>
                      <a:lnTo>
                        <a:pt x="67844" y="345310"/>
                      </a:lnTo>
                      <a:lnTo>
                        <a:pt x="72091" y="352975"/>
                      </a:lnTo>
                      <a:lnTo>
                        <a:pt x="74639" y="363012"/>
                      </a:lnTo>
                      <a:lnTo>
                        <a:pt x="76469" y="373683"/>
                      </a:lnTo>
                      <a:lnTo>
                        <a:pt x="78689" y="381530"/>
                      </a:lnTo>
                      <a:lnTo>
                        <a:pt x="78404" y="384672"/>
                      </a:lnTo>
                      <a:lnTo>
                        <a:pt x="76845" y="394317"/>
                      </a:lnTo>
                      <a:lnTo>
                        <a:pt x="76428" y="401388"/>
                      </a:lnTo>
                      <a:lnTo>
                        <a:pt x="72669" y="406115"/>
                      </a:lnTo>
                      <a:lnTo>
                        <a:pt x="60566" y="413931"/>
                      </a:lnTo>
                      <a:lnTo>
                        <a:pt x="55036" y="412970"/>
                      </a:lnTo>
                      <a:lnTo>
                        <a:pt x="50889" y="410228"/>
                      </a:lnTo>
                      <a:lnTo>
                        <a:pt x="50548" y="407293"/>
                      </a:lnTo>
                      <a:lnTo>
                        <a:pt x="52793" y="406877"/>
                      </a:lnTo>
                      <a:lnTo>
                        <a:pt x="55277" y="408285"/>
                      </a:lnTo>
                      <a:lnTo>
                        <a:pt x="57558" y="409023"/>
                      </a:lnTo>
                      <a:lnTo>
                        <a:pt x="59251" y="406603"/>
                      </a:lnTo>
                      <a:lnTo>
                        <a:pt x="59000" y="403641"/>
                      </a:lnTo>
                      <a:lnTo>
                        <a:pt x="57311" y="401630"/>
                      </a:lnTo>
                      <a:lnTo>
                        <a:pt x="55284" y="400928"/>
                      </a:lnTo>
                      <a:lnTo>
                        <a:pt x="54123" y="401861"/>
                      </a:lnTo>
                      <a:lnTo>
                        <a:pt x="52494" y="404765"/>
                      </a:lnTo>
                      <a:lnTo>
                        <a:pt x="49906" y="405243"/>
                      </a:lnTo>
                      <a:lnTo>
                        <a:pt x="47260" y="404231"/>
                      </a:lnTo>
                      <a:lnTo>
                        <a:pt x="45506" y="402563"/>
                      </a:lnTo>
                      <a:lnTo>
                        <a:pt x="44196" y="399950"/>
                      </a:lnTo>
                      <a:lnTo>
                        <a:pt x="43894" y="397939"/>
                      </a:lnTo>
                      <a:lnTo>
                        <a:pt x="44012" y="391550"/>
                      </a:lnTo>
                      <a:lnTo>
                        <a:pt x="43053" y="379007"/>
                      </a:lnTo>
                      <a:lnTo>
                        <a:pt x="41945" y="374052"/>
                      </a:lnTo>
                      <a:lnTo>
                        <a:pt x="39954" y="369063"/>
                      </a:lnTo>
                      <a:lnTo>
                        <a:pt x="41536" y="365677"/>
                      </a:lnTo>
                      <a:lnTo>
                        <a:pt x="42263" y="362321"/>
                      </a:lnTo>
                      <a:lnTo>
                        <a:pt x="42135" y="359368"/>
                      </a:lnTo>
                      <a:lnTo>
                        <a:pt x="41206" y="357060"/>
                      </a:lnTo>
                      <a:lnTo>
                        <a:pt x="49447" y="348689"/>
                      </a:lnTo>
                      <a:lnTo>
                        <a:pt x="52005" y="344550"/>
                      </a:lnTo>
                      <a:lnTo>
                        <a:pt x="49447" y="342060"/>
                      </a:lnTo>
                      <a:lnTo>
                        <a:pt x="48821" y="340859"/>
                      </a:lnTo>
                      <a:lnTo>
                        <a:pt x="50552" y="338751"/>
                      </a:lnTo>
                      <a:lnTo>
                        <a:pt x="53072" y="336713"/>
                      </a:lnTo>
                      <a:close/>
                      <a:moveTo>
                        <a:pt x="119678" y="312318"/>
                      </a:moveTo>
                      <a:lnTo>
                        <a:pt x="121248" y="313081"/>
                      </a:lnTo>
                      <a:lnTo>
                        <a:pt x="121073" y="317403"/>
                      </a:lnTo>
                      <a:lnTo>
                        <a:pt x="117890" y="334243"/>
                      </a:lnTo>
                      <a:lnTo>
                        <a:pt x="115578" y="339428"/>
                      </a:lnTo>
                      <a:lnTo>
                        <a:pt x="105002" y="351009"/>
                      </a:lnTo>
                      <a:lnTo>
                        <a:pt x="104399" y="355020"/>
                      </a:lnTo>
                      <a:lnTo>
                        <a:pt x="106340" y="359610"/>
                      </a:lnTo>
                      <a:lnTo>
                        <a:pt x="107894" y="367994"/>
                      </a:lnTo>
                      <a:lnTo>
                        <a:pt x="104634" y="368910"/>
                      </a:lnTo>
                      <a:lnTo>
                        <a:pt x="100134" y="363952"/>
                      </a:lnTo>
                      <a:lnTo>
                        <a:pt x="96745" y="363207"/>
                      </a:lnTo>
                      <a:lnTo>
                        <a:pt x="87973" y="368995"/>
                      </a:lnTo>
                      <a:lnTo>
                        <a:pt x="84394" y="369227"/>
                      </a:lnTo>
                      <a:lnTo>
                        <a:pt x="82240" y="362999"/>
                      </a:lnTo>
                      <a:lnTo>
                        <a:pt x="83468" y="349776"/>
                      </a:lnTo>
                      <a:lnTo>
                        <a:pt x="83235" y="346504"/>
                      </a:lnTo>
                      <a:lnTo>
                        <a:pt x="81342" y="346879"/>
                      </a:lnTo>
                      <a:lnTo>
                        <a:pt x="79299" y="348700"/>
                      </a:lnTo>
                      <a:lnTo>
                        <a:pt x="78626" y="349815"/>
                      </a:lnTo>
                      <a:lnTo>
                        <a:pt x="75064" y="348641"/>
                      </a:lnTo>
                      <a:lnTo>
                        <a:pt x="71570" y="346074"/>
                      </a:lnTo>
                      <a:lnTo>
                        <a:pt x="68529" y="342434"/>
                      </a:lnTo>
                      <a:lnTo>
                        <a:pt x="66473" y="338011"/>
                      </a:lnTo>
                      <a:lnTo>
                        <a:pt x="65839" y="331661"/>
                      </a:lnTo>
                      <a:lnTo>
                        <a:pt x="68588" y="329679"/>
                      </a:lnTo>
                      <a:lnTo>
                        <a:pt x="81326" y="331302"/>
                      </a:lnTo>
                      <a:lnTo>
                        <a:pt x="82341" y="329896"/>
                      </a:lnTo>
                      <a:lnTo>
                        <a:pt x="81605" y="325234"/>
                      </a:lnTo>
                      <a:lnTo>
                        <a:pt x="81473" y="321680"/>
                      </a:lnTo>
                      <a:lnTo>
                        <a:pt x="82779" y="318912"/>
                      </a:lnTo>
                      <a:lnTo>
                        <a:pt x="84725" y="316827"/>
                      </a:lnTo>
                      <a:lnTo>
                        <a:pt x="86527" y="315489"/>
                      </a:lnTo>
                      <a:lnTo>
                        <a:pt x="87620" y="315832"/>
                      </a:lnTo>
                      <a:lnTo>
                        <a:pt x="88666" y="317315"/>
                      </a:lnTo>
                      <a:lnTo>
                        <a:pt x="89913" y="318420"/>
                      </a:lnTo>
                      <a:lnTo>
                        <a:pt x="91550" y="317565"/>
                      </a:lnTo>
                      <a:lnTo>
                        <a:pt x="92419" y="316760"/>
                      </a:lnTo>
                      <a:lnTo>
                        <a:pt x="94910" y="314953"/>
                      </a:lnTo>
                      <a:lnTo>
                        <a:pt x="95695" y="314662"/>
                      </a:lnTo>
                      <a:lnTo>
                        <a:pt x="107097" y="314693"/>
                      </a:lnTo>
                      <a:lnTo>
                        <a:pt x="107925" y="315370"/>
                      </a:lnTo>
                      <a:lnTo>
                        <a:pt x="108622" y="316667"/>
                      </a:lnTo>
                      <a:lnTo>
                        <a:pt x="109502" y="317454"/>
                      </a:lnTo>
                      <a:lnTo>
                        <a:pt x="110985" y="316567"/>
                      </a:lnTo>
                      <a:lnTo>
                        <a:pt x="112068" y="314928"/>
                      </a:lnTo>
                      <a:lnTo>
                        <a:pt x="112521" y="313898"/>
                      </a:lnTo>
                      <a:lnTo>
                        <a:pt x="113086" y="313405"/>
                      </a:lnTo>
                      <a:lnTo>
                        <a:pt x="114565" y="313520"/>
                      </a:lnTo>
                      <a:close/>
                      <a:moveTo>
                        <a:pt x="47433" y="284960"/>
                      </a:moveTo>
                      <a:lnTo>
                        <a:pt x="49568" y="285001"/>
                      </a:lnTo>
                      <a:lnTo>
                        <a:pt x="50235" y="285608"/>
                      </a:lnTo>
                      <a:lnTo>
                        <a:pt x="51226" y="287543"/>
                      </a:lnTo>
                      <a:lnTo>
                        <a:pt x="53357" y="292792"/>
                      </a:lnTo>
                      <a:lnTo>
                        <a:pt x="53766" y="295958"/>
                      </a:lnTo>
                      <a:lnTo>
                        <a:pt x="53082" y="295950"/>
                      </a:lnTo>
                      <a:lnTo>
                        <a:pt x="53203" y="297524"/>
                      </a:lnTo>
                      <a:lnTo>
                        <a:pt x="53815" y="300976"/>
                      </a:lnTo>
                      <a:lnTo>
                        <a:pt x="54297" y="301144"/>
                      </a:lnTo>
                      <a:lnTo>
                        <a:pt x="55358" y="298788"/>
                      </a:lnTo>
                      <a:lnTo>
                        <a:pt x="56584" y="298660"/>
                      </a:lnTo>
                      <a:lnTo>
                        <a:pt x="57534" y="299724"/>
                      </a:lnTo>
                      <a:lnTo>
                        <a:pt x="58835" y="302437"/>
                      </a:lnTo>
                      <a:lnTo>
                        <a:pt x="59331" y="307672"/>
                      </a:lnTo>
                      <a:lnTo>
                        <a:pt x="59028" y="310769"/>
                      </a:lnTo>
                      <a:lnTo>
                        <a:pt x="58570" y="312241"/>
                      </a:lnTo>
                      <a:lnTo>
                        <a:pt x="57924" y="315112"/>
                      </a:lnTo>
                      <a:lnTo>
                        <a:pt x="56982" y="318553"/>
                      </a:lnTo>
                      <a:lnTo>
                        <a:pt x="52983" y="323051"/>
                      </a:lnTo>
                      <a:lnTo>
                        <a:pt x="52103" y="326017"/>
                      </a:lnTo>
                      <a:lnTo>
                        <a:pt x="50033" y="328691"/>
                      </a:lnTo>
                      <a:lnTo>
                        <a:pt x="47351" y="328771"/>
                      </a:lnTo>
                      <a:lnTo>
                        <a:pt x="46421" y="326706"/>
                      </a:lnTo>
                      <a:lnTo>
                        <a:pt x="46700" y="324695"/>
                      </a:lnTo>
                      <a:lnTo>
                        <a:pt x="45936" y="323768"/>
                      </a:lnTo>
                      <a:lnTo>
                        <a:pt x="44369" y="323568"/>
                      </a:lnTo>
                      <a:lnTo>
                        <a:pt x="42372" y="322350"/>
                      </a:lnTo>
                      <a:lnTo>
                        <a:pt x="40504" y="319306"/>
                      </a:lnTo>
                      <a:lnTo>
                        <a:pt x="40195" y="316504"/>
                      </a:lnTo>
                      <a:lnTo>
                        <a:pt x="40784" y="314669"/>
                      </a:lnTo>
                      <a:lnTo>
                        <a:pt x="40617" y="313043"/>
                      </a:lnTo>
                      <a:lnTo>
                        <a:pt x="37356" y="308068"/>
                      </a:lnTo>
                      <a:lnTo>
                        <a:pt x="37221" y="306864"/>
                      </a:lnTo>
                      <a:lnTo>
                        <a:pt x="37669" y="305318"/>
                      </a:lnTo>
                      <a:lnTo>
                        <a:pt x="39847" y="300789"/>
                      </a:lnTo>
                      <a:lnTo>
                        <a:pt x="43685" y="296694"/>
                      </a:lnTo>
                      <a:lnTo>
                        <a:pt x="45206" y="294775"/>
                      </a:lnTo>
                      <a:lnTo>
                        <a:pt x="45639" y="295407"/>
                      </a:lnTo>
                      <a:lnTo>
                        <a:pt x="45242" y="297868"/>
                      </a:lnTo>
                      <a:lnTo>
                        <a:pt x="45336" y="300815"/>
                      </a:lnTo>
                      <a:lnTo>
                        <a:pt x="45674" y="304342"/>
                      </a:lnTo>
                      <a:lnTo>
                        <a:pt x="45422" y="307965"/>
                      </a:lnTo>
                      <a:lnTo>
                        <a:pt x="45573" y="311066"/>
                      </a:lnTo>
                      <a:lnTo>
                        <a:pt x="46776" y="311939"/>
                      </a:lnTo>
                      <a:lnTo>
                        <a:pt x="48367" y="311052"/>
                      </a:lnTo>
                      <a:lnTo>
                        <a:pt x="49005" y="310203"/>
                      </a:lnTo>
                      <a:lnTo>
                        <a:pt x="48845" y="309196"/>
                      </a:lnTo>
                      <a:lnTo>
                        <a:pt x="49231" y="308612"/>
                      </a:lnTo>
                      <a:lnTo>
                        <a:pt x="50024" y="308728"/>
                      </a:lnTo>
                      <a:lnTo>
                        <a:pt x="49402" y="307226"/>
                      </a:lnTo>
                      <a:lnTo>
                        <a:pt x="48063" y="302739"/>
                      </a:lnTo>
                      <a:lnTo>
                        <a:pt x="47849" y="298649"/>
                      </a:lnTo>
                      <a:lnTo>
                        <a:pt x="47993" y="296310"/>
                      </a:lnTo>
                      <a:lnTo>
                        <a:pt x="47660" y="295382"/>
                      </a:lnTo>
                      <a:lnTo>
                        <a:pt x="47222" y="294993"/>
                      </a:lnTo>
                      <a:lnTo>
                        <a:pt x="46679" y="288440"/>
                      </a:lnTo>
                      <a:close/>
                      <a:moveTo>
                        <a:pt x="29594" y="166156"/>
                      </a:moveTo>
                      <a:lnTo>
                        <a:pt x="30847" y="167317"/>
                      </a:lnTo>
                      <a:lnTo>
                        <a:pt x="31388" y="169066"/>
                      </a:lnTo>
                      <a:lnTo>
                        <a:pt x="32290" y="182178"/>
                      </a:lnTo>
                      <a:lnTo>
                        <a:pt x="40209" y="202274"/>
                      </a:lnTo>
                      <a:lnTo>
                        <a:pt x="42239" y="212350"/>
                      </a:lnTo>
                      <a:lnTo>
                        <a:pt x="41410" y="219964"/>
                      </a:lnTo>
                      <a:lnTo>
                        <a:pt x="38074" y="223740"/>
                      </a:lnTo>
                      <a:lnTo>
                        <a:pt x="32652" y="222409"/>
                      </a:lnTo>
                      <a:lnTo>
                        <a:pt x="33277" y="226413"/>
                      </a:lnTo>
                      <a:lnTo>
                        <a:pt x="37018" y="231997"/>
                      </a:lnTo>
                      <a:lnTo>
                        <a:pt x="38429" y="235859"/>
                      </a:lnTo>
                      <a:lnTo>
                        <a:pt x="38719" y="239350"/>
                      </a:lnTo>
                      <a:lnTo>
                        <a:pt x="38564" y="243654"/>
                      </a:lnTo>
                      <a:lnTo>
                        <a:pt x="38029" y="248514"/>
                      </a:lnTo>
                      <a:lnTo>
                        <a:pt x="37199" y="253571"/>
                      </a:lnTo>
                      <a:lnTo>
                        <a:pt x="35118" y="256596"/>
                      </a:lnTo>
                      <a:lnTo>
                        <a:pt x="31817" y="256560"/>
                      </a:lnTo>
                      <a:lnTo>
                        <a:pt x="28818" y="255147"/>
                      </a:lnTo>
                      <a:lnTo>
                        <a:pt x="27557" y="254030"/>
                      </a:lnTo>
                      <a:lnTo>
                        <a:pt x="28090" y="248912"/>
                      </a:lnTo>
                      <a:lnTo>
                        <a:pt x="27871" y="243209"/>
                      </a:lnTo>
                      <a:lnTo>
                        <a:pt x="26958" y="238284"/>
                      </a:lnTo>
                      <a:lnTo>
                        <a:pt x="25286" y="235387"/>
                      </a:lnTo>
                      <a:lnTo>
                        <a:pt x="22703" y="243478"/>
                      </a:lnTo>
                      <a:lnTo>
                        <a:pt x="18902" y="241108"/>
                      </a:lnTo>
                      <a:lnTo>
                        <a:pt x="15345" y="234046"/>
                      </a:lnTo>
                      <a:lnTo>
                        <a:pt x="13604" y="228174"/>
                      </a:lnTo>
                      <a:lnTo>
                        <a:pt x="13120" y="222358"/>
                      </a:lnTo>
                      <a:lnTo>
                        <a:pt x="13385" y="218705"/>
                      </a:lnTo>
                      <a:lnTo>
                        <a:pt x="14715" y="216967"/>
                      </a:lnTo>
                      <a:lnTo>
                        <a:pt x="23671" y="216759"/>
                      </a:lnTo>
                      <a:lnTo>
                        <a:pt x="26115" y="217761"/>
                      </a:lnTo>
                      <a:lnTo>
                        <a:pt x="28061" y="221475"/>
                      </a:lnTo>
                      <a:lnTo>
                        <a:pt x="32199" y="212696"/>
                      </a:lnTo>
                      <a:lnTo>
                        <a:pt x="29050" y="214093"/>
                      </a:lnTo>
                      <a:lnTo>
                        <a:pt x="27159" y="211755"/>
                      </a:lnTo>
                      <a:lnTo>
                        <a:pt x="25593" y="208217"/>
                      </a:lnTo>
                      <a:lnTo>
                        <a:pt x="23337" y="206076"/>
                      </a:lnTo>
                      <a:lnTo>
                        <a:pt x="22499" y="203879"/>
                      </a:lnTo>
                      <a:lnTo>
                        <a:pt x="23326" y="194653"/>
                      </a:lnTo>
                      <a:lnTo>
                        <a:pt x="23193" y="191566"/>
                      </a:lnTo>
                      <a:lnTo>
                        <a:pt x="26139" y="186566"/>
                      </a:lnTo>
                      <a:lnTo>
                        <a:pt x="26123" y="183676"/>
                      </a:lnTo>
                      <a:lnTo>
                        <a:pt x="25021" y="181468"/>
                      </a:lnTo>
                      <a:lnTo>
                        <a:pt x="24734" y="178521"/>
                      </a:lnTo>
                      <a:lnTo>
                        <a:pt x="24715" y="169941"/>
                      </a:lnTo>
                      <a:lnTo>
                        <a:pt x="26042" y="167066"/>
                      </a:lnTo>
                      <a:close/>
                      <a:moveTo>
                        <a:pt x="36247" y="126531"/>
                      </a:moveTo>
                      <a:lnTo>
                        <a:pt x="37534" y="128835"/>
                      </a:lnTo>
                      <a:lnTo>
                        <a:pt x="38336" y="129057"/>
                      </a:lnTo>
                      <a:lnTo>
                        <a:pt x="39304" y="129570"/>
                      </a:lnTo>
                      <a:lnTo>
                        <a:pt x="44659" y="141307"/>
                      </a:lnTo>
                      <a:lnTo>
                        <a:pt x="63849" y="152795"/>
                      </a:lnTo>
                      <a:lnTo>
                        <a:pt x="69174" y="164534"/>
                      </a:lnTo>
                      <a:lnTo>
                        <a:pt x="69473" y="172345"/>
                      </a:lnTo>
                      <a:lnTo>
                        <a:pt x="68248" y="178214"/>
                      </a:lnTo>
                      <a:lnTo>
                        <a:pt x="65374" y="182245"/>
                      </a:lnTo>
                      <a:lnTo>
                        <a:pt x="55457" y="186221"/>
                      </a:lnTo>
                      <a:lnTo>
                        <a:pt x="53003" y="185523"/>
                      </a:lnTo>
                      <a:lnTo>
                        <a:pt x="52616" y="181684"/>
                      </a:lnTo>
                      <a:lnTo>
                        <a:pt x="53174" y="176512"/>
                      </a:lnTo>
                      <a:lnTo>
                        <a:pt x="54265" y="174148"/>
                      </a:lnTo>
                      <a:lnTo>
                        <a:pt x="57089" y="171746"/>
                      </a:lnTo>
                      <a:lnTo>
                        <a:pt x="48879" y="165935"/>
                      </a:lnTo>
                      <a:lnTo>
                        <a:pt x="47091" y="162269"/>
                      </a:lnTo>
                      <a:lnTo>
                        <a:pt x="48412" y="161029"/>
                      </a:lnTo>
                      <a:lnTo>
                        <a:pt x="48970" y="160711"/>
                      </a:lnTo>
                      <a:lnTo>
                        <a:pt x="49794" y="160620"/>
                      </a:lnTo>
                      <a:lnTo>
                        <a:pt x="50255" y="158301"/>
                      </a:lnTo>
                      <a:lnTo>
                        <a:pt x="47703" y="158200"/>
                      </a:lnTo>
                      <a:lnTo>
                        <a:pt x="47382" y="156124"/>
                      </a:lnTo>
                      <a:lnTo>
                        <a:pt x="47862" y="152861"/>
                      </a:lnTo>
                      <a:lnTo>
                        <a:pt x="47814" y="149275"/>
                      </a:lnTo>
                      <a:lnTo>
                        <a:pt x="46474" y="147494"/>
                      </a:lnTo>
                      <a:lnTo>
                        <a:pt x="44287" y="147695"/>
                      </a:lnTo>
                      <a:lnTo>
                        <a:pt x="41821" y="148586"/>
                      </a:lnTo>
                      <a:lnTo>
                        <a:pt x="39582" y="148905"/>
                      </a:lnTo>
                      <a:lnTo>
                        <a:pt x="37556" y="145762"/>
                      </a:lnTo>
                      <a:lnTo>
                        <a:pt x="36659" y="139172"/>
                      </a:lnTo>
                      <a:close/>
                      <a:moveTo>
                        <a:pt x="157344" y="103859"/>
                      </a:moveTo>
                      <a:lnTo>
                        <a:pt x="162018" y="106110"/>
                      </a:lnTo>
                      <a:lnTo>
                        <a:pt x="164883" y="110964"/>
                      </a:lnTo>
                      <a:lnTo>
                        <a:pt x="160709" y="133006"/>
                      </a:lnTo>
                      <a:lnTo>
                        <a:pt x="159381" y="138312"/>
                      </a:lnTo>
                      <a:lnTo>
                        <a:pt x="154252" y="154621"/>
                      </a:lnTo>
                      <a:lnTo>
                        <a:pt x="153145" y="160614"/>
                      </a:lnTo>
                      <a:lnTo>
                        <a:pt x="151297" y="176998"/>
                      </a:lnTo>
                      <a:lnTo>
                        <a:pt x="149820" y="179809"/>
                      </a:lnTo>
                      <a:lnTo>
                        <a:pt x="147459" y="180355"/>
                      </a:lnTo>
                      <a:lnTo>
                        <a:pt x="143105" y="179125"/>
                      </a:lnTo>
                      <a:lnTo>
                        <a:pt x="140828" y="180189"/>
                      </a:lnTo>
                      <a:lnTo>
                        <a:pt x="138914" y="183129"/>
                      </a:lnTo>
                      <a:lnTo>
                        <a:pt x="137489" y="186164"/>
                      </a:lnTo>
                      <a:lnTo>
                        <a:pt x="136722" y="187520"/>
                      </a:lnTo>
                      <a:lnTo>
                        <a:pt x="122790" y="187889"/>
                      </a:lnTo>
                      <a:lnTo>
                        <a:pt x="118406" y="186356"/>
                      </a:lnTo>
                      <a:lnTo>
                        <a:pt x="116187" y="183340"/>
                      </a:lnTo>
                      <a:lnTo>
                        <a:pt x="113146" y="174926"/>
                      </a:lnTo>
                      <a:lnTo>
                        <a:pt x="110976" y="172850"/>
                      </a:lnTo>
                      <a:lnTo>
                        <a:pt x="109859" y="170736"/>
                      </a:lnTo>
                      <a:lnTo>
                        <a:pt x="105062" y="157238"/>
                      </a:lnTo>
                      <a:lnTo>
                        <a:pt x="95869" y="143176"/>
                      </a:lnTo>
                      <a:lnTo>
                        <a:pt x="98672" y="141881"/>
                      </a:lnTo>
                      <a:lnTo>
                        <a:pt x="106618" y="143113"/>
                      </a:lnTo>
                      <a:lnTo>
                        <a:pt x="110784" y="142186"/>
                      </a:lnTo>
                      <a:lnTo>
                        <a:pt x="112010" y="141023"/>
                      </a:lnTo>
                      <a:lnTo>
                        <a:pt x="114050" y="138341"/>
                      </a:lnTo>
                      <a:lnTo>
                        <a:pt x="116304" y="136289"/>
                      </a:lnTo>
                      <a:lnTo>
                        <a:pt x="124214" y="132122"/>
                      </a:lnTo>
                      <a:lnTo>
                        <a:pt x="132755" y="129538"/>
                      </a:lnTo>
                      <a:lnTo>
                        <a:pt x="137025" y="126401"/>
                      </a:lnTo>
                      <a:lnTo>
                        <a:pt x="141925" y="124660"/>
                      </a:lnTo>
                      <a:lnTo>
                        <a:pt x="144367" y="122613"/>
                      </a:lnTo>
                      <a:lnTo>
                        <a:pt x="146064" y="119316"/>
                      </a:lnTo>
                      <a:lnTo>
                        <a:pt x="147716" y="111550"/>
                      </a:lnTo>
                      <a:lnTo>
                        <a:pt x="148910" y="107868"/>
                      </a:lnTo>
                      <a:lnTo>
                        <a:pt x="152476" y="104390"/>
                      </a:lnTo>
                      <a:close/>
                      <a:moveTo>
                        <a:pt x="17135" y="84694"/>
                      </a:moveTo>
                      <a:lnTo>
                        <a:pt x="18158" y="86991"/>
                      </a:lnTo>
                      <a:lnTo>
                        <a:pt x="19565" y="88993"/>
                      </a:lnTo>
                      <a:lnTo>
                        <a:pt x="19793" y="90780"/>
                      </a:lnTo>
                      <a:lnTo>
                        <a:pt x="19438" y="92459"/>
                      </a:lnTo>
                      <a:lnTo>
                        <a:pt x="19479" y="93503"/>
                      </a:lnTo>
                      <a:lnTo>
                        <a:pt x="20056" y="94887"/>
                      </a:lnTo>
                      <a:lnTo>
                        <a:pt x="19843" y="96424"/>
                      </a:lnTo>
                      <a:lnTo>
                        <a:pt x="18962" y="97708"/>
                      </a:lnTo>
                      <a:lnTo>
                        <a:pt x="19196" y="98360"/>
                      </a:lnTo>
                      <a:lnTo>
                        <a:pt x="20657" y="98375"/>
                      </a:lnTo>
                      <a:lnTo>
                        <a:pt x="21816" y="99463"/>
                      </a:lnTo>
                      <a:lnTo>
                        <a:pt x="22278" y="102046"/>
                      </a:lnTo>
                      <a:lnTo>
                        <a:pt x="21846" y="104385"/>
                      </a:lnTo>
                      <a:lnTo>
                        <a:pt x="20477" y="105093"/>
                      </a:lnTo>
                      <a:lnTo>
                        <a:pt x="19509" y="106531"/>
                      </a:lnTo>
                      <a:lnTo>
                        <a:pt x="18854" y="112404"/>
                      </a:lnTo>
                      <a:lnTo>
                        <a:pt x="17456" y="113178"/>
                      </a:lnTo>
                      <a:lnTo>
                        <a:pt x="14672" y="113421"/>
                      </a:lnTo>
                      <a:lnTo>
                        <a:pt x="11665" y="111849"/>
                      </a:lnTo>
                      <a:lnTo>
                        <a:pt x="8918" y="109281"/>
                      </a:lnTo>
                      <a:lnTo>
                        <a:pt x="8749" y="107204"/>
                      </a:lnTo>
                      <a:lnTo>
                        <a:pt x="10244" y="107889"/>
                      </a:lnTo>
                      <a:lnTo>
                        <a:pt x="10749" y="107001"/>
                      </a:lnTo>
                      <a:lnTo>
                        <a:pt x="10746" y="102933"/>
                      </a:lnTo>
                      <a:lnTo>
                        <a:pt x="10927" y="101561"/>
                      </a:lnTo>
                      <a:lnTo>
                        <a:pt x="11355" y="102297"/>
                      </a:lnTo>
                      <a:lnTo>
                        <a:pt x="11938" y="102202"/>
                      </a:lnTo>
                      <a:lnTo>
                        <a:pt x="12483" y="102014"/>
                      </a:lnTo>
                      <a:lnTo>
                        <a:pt x="12435" y="101141"/>
                      </a:lnTo>
                      <a:lnTo>
                        <a:pt x="12876" y="96762"/>
                      </a:lnTo>
                      <a:lnTo>
                        <a:pt x="12970" y="94093"/>
                      </a:lnTo>
                      <a:lnTo>
                        <a:pt x="13256" y="91997"/>
                      </a:lnTo>
                      <a:lnTo>
                        <a:pt x="13302" y="90526"/>
                      </a:lnTo>
                      <a:lnTo>
                        <a:pt x="13831" y="87932"/>
                      </a:lnTo>
                      <a:lnTo>
                        <a:pt x="15372" y="84716"/>
                      </a:lnTo>
                      <a:close/>
                      <a:moveTo>
                        <a:pt x="241424" y="0"/>
                      </a:moveTo>
                      <a:lnTo>
                        <a:pt x="243603" y="392"/>
                      </a:lnTo>
                      <a:lnTo>
                        <a:pt x="245435" y="1335"/>
                      </a:lnTo>
                      <a:lnTo>
                        <a:pt x="246946" y="2590"/>
                      </a:lnTo>
                      <a:lnTo>
                        <a:pt x="248022" y="4201"/>
                      </a:lnTo>
                      <a:lnTo>
                        <a:pt x="248793" y="6037"/>
                      </a:lnTo>
                      <a:lnTo>
                        <a:pt x="249376" y="7892"/>
                      </a:lnTo>
                      <a:lnTo>
                        <a:pt x="250234" y="9689"/>
                      </a:lnTo>
                      <a:lnTo>
                        <a:pt x="251269" y="11292"/>
                      </a:lnTo>
                      <a:lnTo>
                        <a:pt x="254789" y="15284"/>
                      </a:lnTo>
                      <a:lnTo>
                        <a:pt x="255930" y="17134"/>
                      </a:lnTo>
                      <a:lnTo>
                        <a:pt x="256506" y="18604"/>
                      </a:lnTo>
                      <a:lnTo>
                        <a:pt x="256198" y="22602"/>
                      </a:lnTo>
                      <a:lnTo>
                        <a:pt x="255484" y="30268"/>
                      </a:lnTo>
                      <a:lnTo>
                        <a:pt x="256525" y="32007"/>
                      </a:lnTo>
                      <a:lnTo>
                        <a:pt x="265630" y="39438"/>
                      </a:lnTo>
                      <a:lnTo>
                        <a:pt x="276557" y="47103"/>
                      </a:lnTo>
                      <a:lnTo>
                        <a:pt x="279070" y="47410"/>
                      </a:lnTo>
                      <a:lnTo>
                        <a:pt x="282393" y="47229"/>
                      </a:lnTo>
                      <a:lnTo>
                        <a:pt x="289121" y="43944"/>
                      </a:lnTo>
                      <a:lnTo>
                        <a:pt x="315606" y="39507"/>
                      </a:lnTo>
                      <a:lnTo>
                        <a:pt x="316929" y="40090"/>
                      </a:lnTo>
                      <a:lnTo>
                        <a:pt x="317213" y="40877"/>
                      </a:lnTo>
                      <a:lnTo>
                        <a:pt x="317248" y="41873"/>
                      </a:lnTo>
                      <a:lnTo>
                        <a:pt x="316803" y="43046"/>
                      </a:lnTo>
                      <a:lnTo>
                        <a:pt x="314703" y="46100"/>
                      </a:lnTo>
                      <a:lnTo>
                        <a:pt x="314660" y="48291"/>
                      </a:lnTo>
                      <a:lnTo>
                        <a:pt x="315900" y="50548"/>
                      </a:lnTo>
                      <a:lnTo>
                        <a:pt x="320258" y="53627"/>
                      </a:lnTo>
                      <a:lnTo>
                        <a:pt x="324280" y="53912"/>
                      </a:lnTo>
                      <a:lnTo>
                        <a:pt x="328440" y="52812"/>
                      </a:lnTo>
                      <a:lnTo>
                        <a:pt x="336081" y="47867"/>
                      </a:lnTo>
                      <a:lnTo>
                        <a:pt x="338647" y="45427"/>
                      </a:lnTo>
                      <a:lnTo>
                        <a:pt x="341565" y="41625"/>
                      </a:lnTo>
                      <a:lnTo>
                        <a:pt x="343193" y="40163"/>
                      </a:lnTo>
                      <a:lnTo>
                        <a:pt x="345747" y="39137"/>
                      </a:lnTo>
                      <a:lnTo>
                        <a:pt x="347512" y="39459"/>
                      </a:lnTo>
                      <a:lnTo>
                        <a:pt x="349973" y="42661"/>
                      </a:lnTo>
                      <a:lnTo>
                        <a:pt x="355285" y="47046"/>
                      </a:lnTo>
                      <a:lnTo>
                        <a:pt x="356299" y="53087"/>
                      </a:lnTo>
                      <a:lnTo>
                        <a:pt x="367427" y="54676"/>
                      </a:lnTo>
                      <a:lnTo>
                        <a:pt x="368414" y="56464"/>
                      </a:lnTo>
                      <a:lnTo>
                        <a:pt x="369121" y="58501"/>
                      </a:lnTo>
                      <a:lnTo>
                        <a:pt x="367469" y="60581"/>
                      </a:lnTo>
                      <a:lnTo>
                        <a:pt x="353815" y="68220"/>
                      </a:lnTo>
                      <a:lnTo>
                        <a:pt x="351058" y="70239"/>
                      </a:lnTo>
                      <a:lnTo>
                        <a:pt x="348545" y="72828"/>
                      </a:lnTo>
                      <a:lnTo>
                        <a:pt x="347999" y="75062"/>
                      </a:lnTo>
                      <a:lnTo>
                        <a:pt x="348546" y="77255"/>
                      </a:lnTo>
                      <a:lnTo>
                        <a:pt x="350197" y="79343"/>
                      </a:lnTo>
                      <a:lnTo>
                        <a:pt x="352667" y="81193"/>
                      </a:lnTo>
                      <a:lnTo>
                        <a:pt x="368415" y="87469"/>
                      </a:lnTo>
                      <a:lnTo>
                        <a:pt x="370647" y="89490"/>
                      </a:lnTo>
                      <a:lnTo>
                        <a:pt x="371224" y="91540"/>
                      </a:lnTo>
                      <a:lnTo>
                        <a:pt x="370809" y="94126"/>
                      </a:lnTo>
                      <a:lnTo>
                        <a:pt x="369903" y="97105"/>
                      </a:lnTo>
                      <a:lnTo>
                        <a:pt x="367736" y="102752"/>
                      </a:lnTo>
                      <a:lnTo>
                        <a:pt x="367498" y="104761"/>
                      </a:lnTo>
                      <a:lnTo>
                        <a:pt x="368455" y="105579"/>
                      </a:lnTo>
                      <a:lnTo>
                        <a:pt x="380799" y="107754"/>
                      </a:lnTo>
                      <a:lnTo>
                        <a:pt x="383363" y="109684"/>
                      </a:lnTo>
                      <a:lnTo>
                        <a:pt x="384485" y="111673"/>
                      </a:lnTo>
                      <a:lnTo>
                        <a:pt x="385072" y="114477"/>
                      </a:lnTo>
                      <a:lnTo>
                        <a:pt x="385191" y="117126"/>
                      </a:lnTo>
                      <a:lnTo>
                        <a:pt x="384937" y="125696"/>
                      </a:lnTo>
                      <a:lnTo>
                        <a:pt x="464684" y="155420"/>
                      </a:lnTo>
                      <a:lnTo>
                        <a:pt x="477890" y="167816"/>
                      </a:lnTo>
                      <a:lnTo>
                        <a:pt x="480955" y="172775"/>
                      </a:lnTo>
                      <a:lnTo>
                        <a:pt x="482525" y="181691"/>
                      </a:lnTo>
                      <a:lnTo>
                        <a:pt x="482998" y="188095"/>
                      </a:lnTo>
                      <a:lnTo>
                        <a:pt x="488176" y="213528"/>
                      </a:lnTo>
                      <a:lnTo>
                        <a:pt x="488216" y="221732"/>
                      </a:lnTo>
                      <a:lnTo>
                        <a:pt x="487939" y="226195"/>
                      </a:lnTo>
                      <a:lnTo>
                        <a:pt x="481592" y="251849"/>
                      </a:lnTo>
                      <a:lnTo>
                        <a:pt x="479909" y="259288"/>
                      </a:lnTo>
                      <a:lnTo>
                        <a:pt x="477542" y="281773"/>
                      </a:lnTo>
                      <a:lnTo>
                        <a:pt x="476169" y="287244"/>
                      </a:lnTo>
                      <a:lnTo>
                        <a:pt x="473951" y="291592"/>
                      </a:lnTo>
                      <a:lnTo>
                        <a:pt x="463974" y="305302"/>
                      </a:lnTo>
                      <a:lnTo>
                        <a:pt x="449483" y="332664"/>
                      </a:lnTo>
                      <a:lnTo>
                        <a:pt x="434018" y="350940"/>
                      </a:lnTo>
                      <a:lnTo>
                        <a:pt x="430666" y="356093"/>
                      </a:lnTo>
                      <a:lnTo>
                        <a:pt x="420495" y="374701"/>
                      </a:lnTo>
                      <a:lnTo>
                        <a:pt x="412798" y="383517"/>
                      </a:lnTo>
                      <a:lnTo>
                        <a:pt x="404666" y="387750"/>
                      </a:lnTo>
                      <a:lnTo>
                        <a:pt x="388722" y="392701"/>
                      </a:lnTo>
                      <a:lnTo>
                        <a:pt x="384693" y="395504"/>
                      </a:lnTo>
                      <a:lnTo>
                        <a:pt x="380615" y="399477"/>
                      </a:lnTo>
                      <a:lnTo>
                        <a:pt x="370390" y="411778"/>
                      </a:lnTo>
                      <a:lnTo>
                        <a:pt x="367537" y="416025"/>
                      </a:lnTo>
                      <a:lnTo>
                        <a:pt x="366182" y="419112"/>
                      </a:lnTo>
                      <a:lnTo>
                        <a:pt x="364895" y="428552"/>
                      </a:lnTo>
                      <a:lnTo>
                        <a:pt x="363742" y="434046"/>
                      </a:lnTo>
                      <a:lnTo>
                        <a:pt x="363181" y="439097"/>
                      </a:lnTo>
                      <a:lnTo>
                        <a:pt x="361729" y="441606"/>
                      </a:lnTo>
                      <a:lnTo>
                        <a:pt x="360529" y="443415"/>
                      </a:lnTo>
                      <a:lnTo>
                        <a:pt x="348664" y="454432"/>
                      </a:lnTo>
                      <a:lnTo>
                        <a:pt x="333717" y="450649"/>
                      </a:lnTo>
                      <a:lnTo>
                        <a:pt x="328586" y="451564"/>
                      </a:lnTo>
                      <a:lnTo>
                        <a:pt x="290900" y="467349"/>
                      </a:lnTo>
                      <a:lnTo>
                        <a:pt x="277158" y="470651"/>
                      </a:lnTo>
                      <a:lnTo>
                        <a:pt x="272614" y="468153"/>
                      </a:lnTo>
                      <a:lnTo>
                        <a:pt x="270848" y="466144"/>
                      </a:lnTo>
                      <a:lnTo>
                        <a:pt x="269736" y="463535"/>
                      </a:lnTo>
                      <a:lnTo>
                        <a:pt x="270479" y="459239"/>
                      </a:lnTo>
                      <a:lnTo>
                        <a:pt x="272475" y="455310"/>
                      </a:lnTo>
                      <a:lnTo>
                        <a:pt x="275243" y="450866"/>
                      </a:lnTo>
                      <a:lnTo>
                        <a:pt x="277572" y="446414"/>
                      </a:lnTo>
                      <a:lnTo>
                        <a:pt x="279289" y="441384"/>
                      </a:lnTo>
                      <a:lnTo>
                        <a:pt x="280196" y="435339"/>
                      </a:lnTo>
                      <a:lnTo>
                        <a:pt x="280182" y="429242"/>
                      </a:lnTo>
                      <a:lnTo>
                        <a:pt x="279108" y="424225"/>
                      </a:lnTo>
                      <a:lnTo>
                        <a:pt x="276408" y="420718"/>
                      </a:lnTo>
                      <a:lnTo>
                        <a:pt x="272467" y="418495"/>
                      </a:lnTo>
                      <a:lnTo>
                        <a:pt x="267292" y="418083"/>
                      </a:lnTo>
                      <a:lnTo>
                        <a:pt x="261028" y="416187"/>
                      </a:lnTo>
                      <a:lnTo>
                        <a:pt x="255935" y="415621"/>
                      </a:lnTo>
                      <a:lnTo>
                        <a:pt x="247596" y="417138"/>
                      </a:lnTo>
                      <a:lnTo>
                        <a:pt x="237888" y="421271"/>
                      </a:lnTo>
                      <a:lnTo>
                        <a:pt x="233009" y="424983"/>
                      </a:lnTo>
                      <a:lnTo>
                        <a:pt x="220375" y="429009"/>
                      </a:lnTo>
                      <a:lnTo>
                        <a:pt x="216386" y="432486"/>
                      </a:lnTo>
                      <a:lnTo>
                        <a:pt x="214646" y="433177"/>
                      </a:lnTo>
                      <a:lnTo>
                        <a:pt x="213078" y="432745"/>
                      </a:lnTo>
                      <a:lnTo>
                        <a:pt x="211766" y="432678"/>
                      </a:lnTo>
                      <a:lnTo>
                        <a:pt x="209616" y="434583"/>
                      </a:lnTo>
                      <a:lnTo>
                        <a:pt x="206991" y="438225"/>
                      </a:lnTo>
                      <a:lnTo>
                        <a:pt x="203075" y="446608"/>
                      </a:lnTo>
                      <a:lnTo>
                        <a:pt x="199047" y="453860"/>
                      </a:lnTo>
                      <a:lnTo>
                        <a:pt x="190321" y="464954"/>
                      </a:lnTo>
                      <a:lnTo>
                        <a:pt x="184200" y="474144"/>
                      </a:lnTo>
                      <a:lnTo>
                        <a:pt x="182200" y="484929"/>
                      </a:lnTo>
                      <a:lnTo>
                        <a:pt x="179853" y="487095"/>
                      </a:lnTo>
                      <a:lnTo>
                        <a:pt x="152803" y="482154"/>
                      </a:lnTo>
                      <a:lnTo>
                        <a:pt x="147656" y="483915"/>
                      </a:lnTo>
                      <a:lnTo>
                        <a:pt x="146076" y="483655"/>
                      </a:lnTo>
                      <a:lnTo>
                        <a:pt x="142400" y="480200"/>
                      </a:lnTo>
                      <a:lnTo>
                        <a:pt x="140984" y="479507"/>
                      </a:lnTo>
                      <a:lnTo>
                        <a:pt x="134953" y="480959"/>
                      </a:lnTo>
                      <a:lnTo>
                        <a:pt x="129192" y="484170"/>
                      </a:lnTo>
                      <a:lnTo>
                        <a:pt x="120970" y="486338"/>
                      </a:lnTo>
                      <a:lnTo>
                        <a:pt x="103645" y="482620"/>
                      </a:lnTo>
                      <a:lnTo>
                        <a:pt x="89227" y="483168"/>
                      </a:lnTo>
                      <a:lnTo>
                        <a:pt x="77541" y="486611"/>
                      </a:lnTo>
                      <a:lnTo>
                        <a:pt x="65805" y="485801"/>
                      </a:lnTo>
                      <a:lnTo>
                        <a:pt x="65807" y="485796"/>
                      </a:lnTo>
                      <a:lnTo>
                        <a:pt x="68515" y="479659"/>
                      </a:lnTo>
                      <a:lnTo>
                        <a:pt x="70363" y="472466"/>
                      </a:lnTo>
                      <a:lnTo>
                        <a:pt x="68668" y="468810"/>
                      </a:lnTo>
                      <a:lnTo>
                        <a:pt x="68809" y="465255"/>
                      </a:lnTo>
                      <a:lnTo>
                        <a:pt x="72064" y="457905"/>
                      </a:lnTo>
                      <a:lnTo>
                        <a:pt x="76371" y="450489"/>
                      </a:lnTo>
                      <a:lnTo>
                        <a:pt x="79560" y="446653"/>
                      </a:lnTo>
                      <a:lnTo>
                        <a:pt x="82530" y="446399"/>
                      </a:lnTo>
                      <a:lnTo>
                        <a:pt x="86877" y="449708"/>
                      </a:lnTo>
                      <a:lnTo>
                        <a:pt x="89763" y="451041"/>
                      </a:lnTo>
                      <a:lnTo>
                        <a:pt x="101484" y="453303"/>
                      </a:lnTo>
                      <a:lnTo>
                        <a:pt x="105768" y="456362"/>
                      </a:lnTo>
                      <a:lnTo>
                        <a:pt x="106309" y="462038"/>
                      </a:lnTo>
                      <a:lnTo>
                        <a:pt x="104348" y="468795"/>
                      </a:lnTo>
                      <a:lnTo>
                        <a:pt x="101124" y="475095"/>
                      </a:lnTo>
                      <a:lnTo>
                        <a:pt x="105844" y="475958"/>
                      </a:lnTo>
                      <a:lnTo>
                        <a:pt x="107929" y="475656"/>
                      </a:lnTo>
                      <a:lnTo>
                        <a:pt x="109781" y="474348"/>
                      </a:lnTo>
                      <a:lnTo>
                        <a:pt x="110474" y="472419"/>
                      </a:lnTo>
                      <a:lnTo>
                        <a:pt x="111426" y="466241"/>
                      </a:lnTo>
                      <a:lnTo>
                        <a:pt x="112337" y="463923"/>
                      </a:lnTo>
                      <a:lnTo>
                        <a:pt x="116839" y="460960"/>
                      </a:lnTo>
                      <a:lnTo>
                        <a:pt x="122326" y="461161"/>
                      </a:lnTo>
                      <a:lnTo>
                        <a:pt x="132283" y="464227"/>
                      </a:lnTo>
                      <a:lnTo>
                        <a:pt x="133615" y="457034"/>
                      </a:lnTo>
                      <a:lnTo>
                        <a:pt x="116990" y="459686"/>
                      </a:lnTo>
                      <a:lnTo>
                        <a:pt x="112815" y="458114"/>
                      </a:lnTo>
                      <a:lnTo>
                        <a:pt x="110681" y="453065"/>
                      </a:lnTo>
                      <a:lnTo>
                        <a:pt x="113126" y="449034"/>
                      </a:lnTo>
                      <a:lnTo>
                        <a:pt x="121695" y="442981"/>
                      </a:lnTo>
                      <a:lnTo>
                        <a:pt x="123131" y="440935"/>
                      </a:lnTo>
                      <a:lnTo>
                        <a:pt x="124249" y="438728"/>
                      </a:lnTo>
                      <a:lnTo>
                        <a:pt x="125751" y="437094"/>
                      </a:lnTo>
                      <a:lnTo>
                        <a:pt x="136512" y="436949"/>
                      </a:lnTo>
                      <a:lnTo>
                        <a:pt x="138654" y="436367"/>
                      </a:lnTo>
                      <a:lnTo>
                        <a:pt x="140300" y="434015"/>
                      </a:lnTo>
                      <a:lnTo>
                        <a:pt x="140853" y="431027"/>
                      </a:lnTo>
                      <a:lnTo>
                        <a:pt x="141481" y="428569"/>
                      </a:lnTo>
                      <a:lnTo>
                        <a:pt x="143216" y="427838"/>
                      </a:lnTo>
                      <a:lnTo>
                        <a:pt x="144681" y="429031"/>
                      </a:lnTo>
                      <a:lnTo>
                        <a:pt x="145696" y="431341"/>
                      </a:lnTo>
                      <a:lnTo>
                        <a:pt x="146447" y="433832"/>
                      </a:lnTo>
                      <a:lnTo>
                        <a:pt x="147276" y="435591"/>
                      </a:lnTo>
                      <a:lnTo>
                        <a:pt x="155565" y="440386"/>
                      </a:lnTo>
                      <a:lnTo>
                        <a:pt x="165101" y="438852"/>
                      </a:lnTo>
                      <a:lnTo>
                        <a:pt x="189553" y="425227"/>
                      </a:lnTo>
                      <a:lnTo>
                        <a:pt x="191386" y="423519"/>
                      </a:lnTo>
                      <a:lnTo>
                        <a:pt x="192680" y="422728"/>
                      </a:lnTo>
                      <a:lnTo>
                        <a:pt x="195152" y="423055"/>
                      </a:lnTo>
                      <a:lnTo>
                        <a:pt x="196480" y="422070"/>
                      </a:lnTo>
                      <a:lnTo>
                        <a:pt x="199569" y="417375"/>
                      </a:lnTo>
                      <a:lnTo>
                        <a:pt x="200477" y="416483"/>
                      </a:lnTo>
                      <a:lnTo>
                        <a:pt x="214350" y="414510"/>
                      </a:lnTo>
                      <a:lnTo>
                        <a:pt x="218574" y="410404"/>
                      </a:lnTo>
                      <a:lnTo>
                        <a:pt x="206442" y="411915"/>
                      </a:lnTo>
                      <a:lnTo>
                        <a:pt x="183136" y="421261"/>
                      </a:lnTo>
                      <a:lnTo>
                        <a:pt x="166153" y="432151"/>
                      </a:lnTo>
                      <a:lnTo>
                        <a:pt x="163023" y="433197"/>
                      </a:lnTo>
                      <a:lnTo>
                        <a:pt x="159806" y="433138"/>
                      </a:lnTo>
                      <a:lnTo>
                        <a:pt x="153315" y="431446"/>
                      </a:lnTo>
                      <a:lnTo>
                        <a:pt x="150514" y="428814"/>
                      </a:lnTo>
                      <a:lnTo>
                        <a:pt x="149414" y="423998"/>
                      </a:lnTo>
                      <a:lnTo>
                        <a:pt x="150447" y="418708"/>
                      </a:lnTo>
                      <a:lnTo>
                        <a:pt x="152523" y="416738"/>
                      </a:lnTo>
                      <a:lnTo>
                        <a:pt x="154839" y="415413"/>
                      </a:lnTo>
                      <a:lnTo>
                        <a:pt x="156441" y="412107"/>
                      </a:lnTo>
                      <a:lnTo>
                        <a:pt x="157317" y="403596"/>
                      </a:lnTo>
                      <a:lnTo>
                        <a:pt x="158176" y="400494"/>
                      </a:lnTo>
                      <a:lnTo>
                        <a:pt x="160499" y="397238"/>
                      </a:lnTo>
                      <a:lnTo>
                        <a:pt x="156378" y="398394"/>
                      </a:lnTo>
                      <a:lnTo>
                        <a:pt x="153359" y="402764"/>
                      </a:lnTo>
                      <a:lnTo>
                        <a:pt x="151199" y="409014"/>
                      </a:lnTo>
                      <a:lnTo>
                        <a:pt x="149728" y="415738"/>
                      </a:lnTo>
                      <a:lnTo>
                        <a:pt x="146825" y="419141"/>
                      </a:lnTo>
                      <a:lnTo>
                        <a:pt x="141165" y="421636"/>
                      </a:lnTo>
                      <a:lnTo>
                        <a:pt x="135221" y="423000"/>
                      </a:lnTo>
                      <a:lnTo>
                        <a:pt x="131474" y="423004"/>
                      </a:lnTo>
                      <a:lnTo>
                        <a:pt x="127987" y="420220"/>
                      </a:lnTo>
                      <a:lnTo>
                        <a:pt x="125486" y="415861"/>
                      </a:lnTo>
                      <a:lnTo>
                        <a:pt x="121969" y="405562"/>
                      </a:lnTo>
                      <a:lnTo>
                        <a:pt x="118634" y="400626"/>
                      </a:lnTo>
                      <a:lnTo>
                        <a:pt x="115335" y="398960"/>
                      </a:lnTo>
                      <a:lnTo>
                        <a:pt x="114451" y="396542"/>
                      </a:lnTo>
                      <a:lnTo>
                        <a:pt x="118358" y="389226"/>
                      </a:lnTo>
                      <a:lnTo>
                        <a:pt x="114756" y="392015"/>
                      </a:lnTo>
                      <a:lnTo>
                        <a:pt x="110211" y="394536"/>
                      </a:lnTo>
                      <a:lnTo>
                        <a:pt x="106436" y="394338"/>
                      </a:lnTo>
                      <a:lnTo>
                        <a:pt x="105016" y="389062"/>
                      </a:lnTo>
                      <a:lnTo>
                        <a:pt x="109261" y="389280"/>
                      </a:lnTo>
                      <a:lnTo>
                        <a:pt x="114121" y="387981"/>
                      </a:lnTo>
                      <a:lnTo>
                        <a:pt x="123292" y="382768"/>
                      </a:lnTo>
                      <a:lnTo>
                        <a:pt x="124609" y="373221"/>
                      </a:lnTo>
                      <a:lnTo>
                        <a:pt x="131380" y="367182"/>
                      </a:lnTo>
                      <a:lnTo>
                        <a:pt x="140186" y="364023"/>
                      </a:lnTo>
                      <a:lnTo>
                        <a:pt x="147534" y="363129"/>
                      </a:lnTo>
                      <a:lnTo>
                        <a:pt x="165829" y="364612"/>
                      </a:lnTo>
                      <a:lnTo>
                        <a:pt x="167106" y="363821"/>
                      </a:lnTo>
                      <a:lnTo>
                        <a:pt x="168513" y="361624"/>
                      </a:lnTo>
                      <a:lnTo>
                        <a:pt x="169691" y="358953"/>
                      </a:lnTo>
                      <a:lnTo>
                        <a:pt x="170337" y="356842"/>
                      </a:lnTo>
                      <a:lnTo>
                        <a:pt x="169794" y="355436"/>
                      </a:lnTo>
                      <a:lnTo>
                        <a:pt x="165445" y="350151"/>
                      </a:lnTo>
                      <a:lnTo>
                        <a:pt x="179764" y="331754"/>
                      </a:lnTo>
                      <a:lnTo>
                        <a:pt x="196822" y="322832"/>
                      </a:lnTo>
                      <a:lnTo>
                        <a:pt x="231365" y="318733"/>
                      </a:lnTo>
                      <a:lnTo>
                        <a:pt x="231819" y="316199"/>
                      </a:lnTo>
                      <a:lnTo>
                        <a:pt x="227567" y="315935"/>
                      </a:lnTo>
                      <a:lnTo>
                        <a:pt x="227387" y="312340"/>
                      </a:lnTo>
                      <a:lnTo>
                        <a:pt x="228459" y="307559"/>
                      </a:lnTo>
                      <a:lnTo>
                        <a:pt x="228083" y="303713"/>
                      </a:lnTo>
                      <a:lnTo>
                        <a:pt x="226404" y="303877"/>
                      </a:lnTo>
                      <a:lnTo>
                        <a:pt x="223631" y="305685"/>
                      </a:lnTo>
                      <a:lnTo>
                        <a:pt x="220956" y="308211"/>
                      </a:lnTo>
                      <a:lnTo>
                        <a:pt x="219565" y="310558"/>
                      </a:lnTo>
                      <a:lnTo>
                        <a:pt x="216267" y="314629"/>
                      </a:lnTo>
                      <a:lnTo>
                        <a:pt x="209921" y="317106"/>
                      </a:lnTo>
                      <a:lnTo>
                        <a:pt x="203270" y="318105"/>
                      </a:lnTo>
                      <a:lnTo>
                        <a:pt x="199023" y="317789"/>
                      </a:lnTo>
                      <a:lnTo>
                        <a:pt x="201093" y="308771"/>
                      </a:lnTo>
                      <a:lnTo>
                        <a:pt x="199267" y="296295"/>
                      </a:lnTo>
                      <a:lnTo>
                        <a:pt x="199536" y="285868"/>
                      </a:lnTo>
                      <a:lnTo>
                        <a:pt x="211976" y="282170"/>
                      </a:lnTo>
                      <a:lnTo>
                        <a:pt x="214936" y="278769"/>
                      </a:lnTo>
                      <a:lnTo>
                        <a:pt x="217701" y="273857"/>
                      </a:lnTo>
                      <a:lnTo>
                        <a:pt x="221203" y="268624"/>
                      </a:lnTo>
                      <a:lnTo>
                        <a:pt x="227028" y="263389"/>
                      </a:lnTo>
                      <a:lnTo>
                        <a:pt x="228324" y="260294"/>
                      </a:lnTo>
                      <a:lnTo>
                        <a:pt x="227180" y="255333"/>
                      </a:lnTo>
                      <a:lnTo>
                        <a:pt x="237258" y="254270"/>
                      </a:lnTo>
                      <a:lnTo>
                        <a:pt x="240767" y="253025"/>
                      </a:lnTo>
                      <a:lnTo>
                        <a:pt x="242948" y="251050"/>
                      </a:lnTo>
                      <a:lnTo>
                        <a:pt x="247654" y="245716"/>
                      </a:lnTo>
                      <a:lnTo>
                        <a:pt x="249924" y="244886"/>
                      </a:lnTo>
                      <a:lnTo>
                        <a:pt x="251971" y="244831"/>
                      </a:lnTo>
                      <a:lnTo>
                        <a:pt x="252570" y="243854"/>
                      </a:lnTo>
                      <a:lnTo>
                        <a:pt x="252782" y="242348"/>
                      </a:lnTo>
                      <a:lnTo>
                        <a:pt x="253632" y="240757"/>
                      </a:lnTo>
                      <a:lnTo>
                        <a:pt x="253559" y="240615"/>
                      </a:lnTo>
                      <a:lnTo>
                        <a:pt x="254253" y="239497"/>
                      </a:lnTo>
                      <a:lnTo>
                        <a:pt x="255380" y="238015"/>
                      </a:lnTo>
                      <a:lnTo>
                        <a:pt x="256630" y="236712"/>
                      </a:lnTo>
                      <a:lnTo>
                        <a:pt x="262508" y="234649"/>
                      </a:lnTo>
                      <a:lnTo>
                        <a:pt x="268567" y="233860"/>
                      </a:lnTo>
                      <a:lnTo>
                        <a:pt x="272993" y="232386"/>
                      </a:lnTo>
                      <a:lnTo>
                        <a:pt x="281097" y="222867"/>
                      </a:lnTo>
                      <a:lnTo>
                        <a:pt x="285772" y="219948"/>
                      </a:lnTo>
                      <a:lnTo>
                        <a:pt x="291889" y="219873"/>
                      </a:lnTo>
                      <a:lnTo>
                        <a:pt x="297853" y="221711"/>
                      </a:lnTo>
                      <a:lnTo>
                        <a:pt x="308050" y="228958"/>
                      </a:lnTo>
                      <a:lnTo>
                        <a:pt x="296769" y="245501"/>
                      </a:lnTo>
                      <a:lnTo>
                        <a:pt x="291410" y="256108"/>
                      </a:lnTo>
                      <a:lnTo>
                        <a:pt x="291083" y="264526"/>
                      </a:lnTo>
                      <a:lnTo>
                        <a:pt x="288513" y="268540"/>
                      </a:lnTo>
                      <a:lnTo>
                        <a:pt x="282047" y="274974"/>
                      </a:lnTo>
                      <a:lnTo>
                        <a:pt x="280364" y="278188"/>
                      </a:lnTo>
                      <a:lnTo>
                        <a:pt x="274309" y="303948"/>
                      </a:lnTo>
                      <a:lnTo>
                        <a:pt x="270808" y="314898"/>
                      </a:lnTo>
                      <a:lnTo>
                        <a:pt x="269315" y="320805"/>
                      </a:lnTo>
                      <a:lnTo>
                        <a:pt x="267805" y="329398"/>
                      </a:lnTo>
                      <a:lnTo>
                        <a:pt x="267211" y="339596"/>
                      </a:lnTo>
                      <a:lnTo>
                        <a:pt x="268371" y="339804"/>
                      </a:lnTo>
                      <a:lnTo>
                        <a:pt x="271694" y="321275"/>
                      </a:lnTo>
                      <a:lnTo>
                        <a:pt x="274249" y="311656"/>
                      </a:lnTo>
                      <a:lnTo>
                        <a:pt x="278600" y="305803"/>
                      </a:lnTo>
                      <a:lnTo>
                        <a:pt x="286205" y="292439"/>
                      </a:lnTo>
                      <a:lnTo>
                        <a:pt x="287589" y="287927"/>
                      </a:lnTo>
                      <a:lnTo>
                        <a:pt x="288075" y="284412"/>
                      </a:lnTo>
                      <a:lnTo>
                        <a:pt x="287900" y="275934"/>
                      </a:lnTo>
                      <a:lnTo>
                        <a:pt x="293417" y="269071"/>
                      </a:lnTo>
                      <a:lnTo>
                        <a:pt x="302868" y="248758"/>
                      </a:lnTo>
                      <a:lnTo>
                        <a:pt x="308330" y="240981"/>
                      </a:lnTo>
                      <a:lnTo>
                        <a:pt x="311727" y="238726"/>
                      </a:lnTo>
                      <a:lnTo>
                        <a:pt x="317302" y="236596"/>
                      </a:lnTo>
                      <a:lnTo>
                        <a:pt x="320287" y="233522"/>
                      </a:lnTo>
                      <a:lnTo>
                        <a:pt x="327943" y="221981"/>
                      </a:lnTo>
                      <a:lnTo>
                        <a:pt x="331219" y="218656"/>
                      </a:lnTo>
                      <a:lnTo>
                        <a:pt x="335035" y="216025"/>
                      </a:lnTo>
                      <a:lnTo>
                        <a:pt x="338607" y="214565"/>
                      </a:lnTo>
                      <a:lnTo>
                        <a:pt x="363161" y="212004"/>
                      </a:lnTo>
                      <a:lnTo>
                        <a:pt x="377497" y="219521"/>
                      </a:lnTo>
                      <a:lnTo>
                        <a:pt x="385362" y="220322"/>
                      </a:lnTo>
                      <a:lnTo>
                        <a:pt x="391431" y="212078"/>
                      </a:lnTo>
                      <a:lnTo>
                        <a:pt x="356970" y="206164"/>
                      </a:lnTo>
                      <a:lnTo>
                        <a:pt x="357333" y="204028"/>
                      </a:lnTo>
                      <a:lnTo>
                        <a:pt x="358644" y="204083"/>
                      </a:lnTo>
                      <a:lnTo>
                        <a:pt x="360315" y="203673"/>
                      </a:lnTo>
                      <a:lnTo>
                        <a:pt x="361789" y="202771"/>
                      </a:lnTo>
                      <a:lnTo>
                        <a:pt x="362607" y="201342"/>
                      </a:lnTo>
                      <a:lnTo>
                        <a:pt x="363901" y="197768"/>
                      </a:lnTo>
                      <a:lnTo>
                        <a:pt x="365721" y="196882"/>
                      </a:lnTo>
                      <a:lnTo>
                        <a:pt x="367636" y="197012"/>
                      </a:lnTo>
                      <a:lnTo>
                        <a:pt x="369317" y="196531"/>
                      </a:lnTo>
                      <a:lnTo>
                        <a:pt x="381249" y="181577"/>
                      </a:lnTo>
                      <a:lnTo>
                        <a:pt x="376458" y="180155"/>
                      </a:lnTo>
                      <a:lnTo>
                        <a:pt x="369281" y="184059"/>
                      </a:lnTo>
                      <a:lnTo>
                        <a:pt x="361854" y="190474"/>
                      </a:lnTo>
                      <a:lnTo>
                        <a:pt x="356359" y="196462"/>
                      </a:lnTo>
                      <a:lnTo>
                        <a:pt x="349339" y="205753"/>
                      </a:lnTo>
                      <a:lnTo>
                        <a:pt x="346192" y="207719"/>
                      </a:lnTo>
                      <a:lnTo>
                        <a:pt x="334260" y="209405"/>
                      </a:lnTo>
                      <a:lnTo>
                        <a:pt x="327349" y="213176"/>
                      </a:lnTo>
                      <a:lnTo>
                        <a:pt x="315005" y="223001"/>
                      </a:lnTo>
                      <a:lnTo>
                        <a:pt x="311668" y="223797"/>
                      </a:lnTo>
                      <a:lnTo>
                        <a:pt x="307177" y="223686"/>
                      </a:lnTo>
                      <a:lnTo>
                        <a:pt x="303236" y="222042"/>
                      </a:lnTo>
                      <a:lnTo>
                        <a:pt x="301552" y="218211"/>
                      </a:lnTo>
                      <a:lnTo>
                        <a:pt x="304549" y="211214"/>
                      </a:lnTo>
                      <a:lnTo>
                        <a:pt x="318601" y="201303"/>
                      </a:lnTo>
                      <a:lnTo>
                        <a:pt x="323288" y="195673"/>
                      </a:lnTo>
                      <a:lnTo>
                        <a:pt x="315000" y="196292"/>
                      </a:lnTo>
                      <a:lnTo>
                        <a:pt x="297627" y="210779"/>
                      </a:lnTo>
                      <a:lnTo>
                        <a:pt x="288777" y="213525"/>
                      </a:lnTo>
                      <a:lnTo>
                        <a:pt x="283454" y="213670"/>
                      </a:lnTo>
                      <a:lnTo>
                        <a:pt x="273333" y="216618"/>
                      </a:lnTo>
                      <a:lnTo>
                        <a:pt x="268064" y="216751"/>
                      </a:lnTo>
                      <a:lnTo>
                        <a:pt x="263262" y="218053"/>
                      </a:lnTo>
                      <a:lnTo>
                        <a:pt x="252952" y="226073"/>
                      </a:lnTo>
                      <a:lnTo>
                        <a:pt x="248697" y="228070"/>
                      </a:lnTo>
                      <a:lnTo>
                        <a:pt x="244317" y="226896"/>
                      </a:lnTo>
                      <a:lnTo>
                        <a:pt x="240734" y="223262"/>
                      </a:lnTo>
                      <a:lnTo>
                        <a:pt x="238067" y="217777"/>
                      </a:lnTo>
                      <a:lnTo>
                        <a:pt x="236364" y="210953"/>
                      </a:lnTo>
                      <a:lnTo>
                        <a:pt x="236243" y="199154"/>
                      </a:lnTo>
                      <a:lnTo>
                        <a:pt x="235546" y="196621"/>
                      </a:lnTo>
                      <a:lnTo>
                        <a:pt x="233670" y="196317"/>
                      </a:lnTo>
                      <a:lnTo>
                        <a:pt x="232776" y="199458"/>
                      </a:lnTo>
                      <a:lnTo>
                        <a:pt x="232616" y="203764"/>
                      </a:lnTo>
                      <a:lnTo>
                        <a:pt x="233008" y="206970"/>
                      </a:lnTo>
                      <a:lnTo>
                        <a:pt x="233755" y="209856"/>
                      </a:lnTo>
                      <a:lnTo>
                        <a:pt x="235408" y="219519"/>
                      </a:lnTo>
                      <a:lnTo>
                        <a:pt x="238190" y="223824"/>
                      </a:lnTo>
                      <a:lnTo>
                        <a:pt x="239205" y="226571"/>
                      </a:lnTo>
                      <a:lnTo>
                        <a:pt x="238399" y="229556"/>
                      </a:lnTo>
                      <a:lnTo>
                        <a:pt x="235739" y="230826"/>
                      </a:lnTo>
                      <a:lnTo>
                        <a:pt x="230729" y="226569"/>
                      </a:lnTo>
                      <a:lnTo>
                        <a:pt x="225609" y="229085"/>
                      </a:lnTo>
                      <a:lnTo>
                        <a:pt x="220173" y="228192"/>
                      </a:lnTo>
                      <a:lnTo>
                        <a:pt x="217487" y="229511"/>
                      </a:lnTo>
                      <a:lnTo>
                        <a:pt x="219673" y="232106"/>
                      </a:lnTo>
                      <a:lnTo>
                        <a:pt x="228391" y="236125"/>
                      </a:lnTo>
                      <a:lnTo>
                        <a:pt x="225952" y="240997"/>
                      </a:lnTo>
                      <a:lnTo>
                        <a:pt x="219966" y="246530"/>
                      </a:lnTo>
                      <a:lnTo>
                        <a:pt x="217267" y="251096"/>
                      </a:lnTo>
                      <a:lnTo>
                        <a:pt x="217989" y="254922"/>
                      </a:lnTo>
                      <a:lnTo>
                        <a:pt x="218533" y="256839"/>
                      </a:lnTo>
                      <a:lnTo>
                        <a:pt x="219432" y="258680"/>
                      </a:lnTo>
                      <a:lnTo>
                        <a:pt x="216778" y="264714"/>
                      </a:lnTo>
                      <a:lnTo>
                        <a:pt x="213965" y="268872"/>
                      </a:lnTo>
                      <a:lnTo>
                        <a:pt x="210941" y="270988"/>
                      </a:lnTo>
                      <a:lnTo>
                        <a:pt x="207565" y="270903"/>
                      </a:lnTo>
                      <a:lnTo>
                        <a:pt x="204281" y="268359"/>
                      </a:lnTo>
                      <a:lnTo>
                        <a:pt x="197584" y="260452"/>
                      </a:lnTo>
                      <a:lnTo>
                        <a:pt x="194311" y="258808"/>
                      </a:lnTo>
                      <a:lnTo>
                        <a:pt x="190436" y="260744"/>
                      </a:lnTo>
                      <a:lnTo>
                        <a:pt x="187710" y="265300"/>
                      </a:lnTo>
                      <a:lnTo>
                        <a:pt x="185407" y="270939"/>
                      </a:lnTo>
                      <a:lnTo>
                        <a:pt x="182807" y="276105"/>
                      </a:lnTo>
                      <a:lnTo>
                        <a:pt x="175256" y="284045"/>
                      </a:lnTo>
                      <a:lnTo>
                        <a:pt x="170614" y="290830"/>
                      </a:lnTo>
                      <a:lnTo>
                        <a:pt x="168876" y="292677"/>
                      </a:lnTo>
                      <a:lnTo>
                        <a:pt x="165863" y="293110"/>
                      </a:lnTo>
                      <a:lnTo>
                        <a:pt x="163356" y="291431"/>
                      </a:lnTo>
                      <a:lnTo>
                        <a:pt x="161090" y="291059"/>
                      </a:lnTo>
                      <a:lnTo>
                        <a:pt x="158725" y="295349"/>
                      </a:lnTo>
                      <a:lnTo>
                        <a:pt x="158140" y="299635"/>
                      </a:lnTo>
                      <a:lnTo>
                        <a:pt x="158382" y="317126"/>
                      </a:lnTo>
                      <a:lnTo>
                        <a:pt x="156180" y="329598"/>
                      </a:lnTo>
                      <a:lnTo>
                        <a:pt x="151509" y="338277"/>
                      </a:lnTo>
                      <a:lnTo>
                        <a:pt x="145167" y="342685"/>
                      </a:lnTo>
                      <a:lnTo>
                        <a:pt x="138078" y="342334"/>
                      </a:lnTo>
                      <a:lnTo>
                        <a:pt x="138989" y="340059"/>
                      </a:lnTo>
                      <a:lnTo>
                        <a:pt x="140148" y="337689"/>
                      </a:lnTo>
                      <a:lnTo>
                        <a:pt x="137186" y="335632"/>
                      </a:lnTo>
                      <a:lnTo>
                        <a:pt x="132442" y="346284"/>
                      </a:lnTo>
                      <a:lnTo>
                        <a:pt x="129836" y="344452"/>
                      </a:lnTo>
                      <a:lnTo>
                        <a:pt x="125120" y="338474"/>
                      </a:lnTo>
                      <a:lnTo>
                        <a:pt x="124760" y="336055"/>
                      </a:lnTo>
                      <a:lnTo>
                        <a:pt x="124947" y="333239"/>
                      </a:lnTo>
                      <a:lnTo>
                        <a:pt x="124611" y="330696"/>
                      </a:lnTo>
                      <a:lnTo>
                        <a:pt x="123862" y="328602"/>
                      </a:lnTo>
                      <a:lnTo>
                        <a:pt x="122915" y="327173"/>
                      </a:lnTo>
                      <a:lnTo>
                        <a:pt x="125497" y="320234"/>
                      </a:lnTo>
                      <a:lnTo>
                        <a:pt x="127701" y="318625"/>
                      </a:lnTo>
                      <a:lnTo>
                        <a:pt x="133401" y="321969"/>
                      </a:lnTo>
                      <a:lnTo>
                        <a:pt x="136967" y="322610"/>
                      </a:lnTo>
                      <a:lnTo>
                        <a:pt x="140549" y="321491"/>
                      </a:lnTo>
                      <a:lnTo>
                        <a:pt x="143765" y="318195"/>
                      </a:lnTo>
                      <a:lnTo>
                        <a:pt x="146080" y="312378"/>
                      </a:lnTo>
                      <a:lnTo>
                        <a:pt x="139150" y="311052"/>
                      </a:lnTo>
                      <a:lnTo>
                        <a:pt x="138006" y="311592"/>
                      </a:lnTo>
                      <a:lnTo>
                        <a:pt x="137129" y="313071"/>
                      </a:lnTo>
                      <a:lnTo>
                        <a:pt x="136015" y="314519"/>
                      </a:lnTo>
                      <a:lnTo>
                        <a:pt x="134187" y="314899"/>
                      </a:lnTo>
                      <a:lnTo>
                        <a:pt x="132485" y="313469"/>
                      </a:lnTo>
                      <a:lnTo>
                        <a:pt x="131822" y="310849"/>
                      </a:lnTo>
                      <a:lnTo>
                        <a:pt x="131490" y="308291"/>
                      </a:lnTo>
                      <a:lnTo>
                        <a:pt x="130212" y="305982"/>
                      </a:lnTo>
                      <a:lnTo>
                        <a:pt x="131951" y="304253"/>
                      </a:lnTo>
                      <a:lnTo>
                        <a:pt x="135425" y="301941"/>
                      </a:lnTo>
                      <a:lnTo>
                        <a:pt x="136936" y="297244"/>
                      </a:lnTo>
                      <a:lnTo>
                        <a:pt x="134733" y="286992"/>
                      </a:lnTo>
                      <a:lnTo>
                        <a:pt x="136213" y="281631"/>
                      </a:lnTo>
                      <a:lnTo>
                        <a:pt x="139659" y="278682"/>
                      </a:lnTo>
                      <a:lnTo>
                        <a:pt x="151911" y="274813"/>
                      </a:lnTo>
                      <a:lnTo>
                        <a:pt x="152346" y="272489"/>
                      </a:lnTo>
                      <a:lnTo>
                        <a:pt x="146773" y="271794"/>
                      </a:lnTo>
                      <a:lnTo>
                        <a:pt x="139658" y="273094"/>
                      </a:lnTo>
                      <a:lnTo>
                        <a:pt x="132555" y="275895"/>
                      </a:lnTo>
                      <a:lnTo>
                        <a:pt x="126980" y="279849"/>
                      </a:lnTo>
                      <a:lnTo>
                        <a:pt x="126337" y="281445"/>
                      </a:lnTo>
                      <a:lnTo>
                        <a:pt x="125204" y="286600"/>
                      </a:lnTo>
                      <a:lnTo>
                        <a:pt x="124010" y="288691"/>
                      </a:lnTo>
                      <a:lnTo>
                        <a:pt x="122413" y="289070"/>
                      </a:lnTo>
                      <a:lnTo>
                        <a:pt x="119111" y="287613"/>
                      </a:lnTo>
                      <a:lnTo>
                        <a:pt x="114319" y="290696"/>
                      </a:lnTo>
                      <a:lnTo>
                        <a:pt x="111071" y="289104"/>
                      </a:lnTo>
                      <a:lnTo>
                        <a:pt x="108508" y="285351"/>
                      </a:lnTo>
                      <a:lnTo>
                        <a:pt x="107549" y="280891"/>
                      </a:lnTo>
                      <a:lnTo>
                        <a:pt x="110588" y="279978"/>
                      </a:lnTo>
                      <a:lnTo>
                        <a:pt x="113586" y="277108"/>
                      </a:lnTo>
                      <a:lnTo>
                        <a:pt x="114999" y="273427"/>
                      </a:lnTo>
                      <a:lnTo>
                        <a:pt x="113208" y="269981"/>
                      </a:lnTo>
                      <a:lnTo>
                        <a:pt x="113693" y="267437"/>
                      </a:lnTo>
                      <a:lnTo>
                        <a:pt x="119899" y="268028"/>
                      </a:lnTo>
                      <a:lnTo>
                        <a:pt x="133038" y="263177"/>
                      </a:lnTo>
                      <a:lnTo>
                        <a:pt x="139789" y="262659"/>
                      </a:lnTo>
                      <a:lnTo>
                        <a:pt x="140186" y="260556"/>
                      </a:lnTo>
                      <a:lnTo>
                        <a:pt x="125986" y="258301"/>
                      </a:lnTo>
                      <a:lnTo>
                        <a:pt x="121275" y="259079"/>
                      </a:lnTo>
                      <a:lnTo>
                        <a:pt x="127463" y="253068"/>
                      </a:lnTo>
                      <a:lnTo>
                        <a:pt x="130039" y="249526"/>
                      </a:lnTo>
                      <a:lnTo>
                        <a:pt x="129719" y="246496"/>
                      </a:lnTo>
                      <a:lnTo>
                        <a:pt x="126613" y="246024"/>
                      </a:lnTo>
                      <a:lnTo>
                        <a:pt x="123529" y="249396"/>
                      </a:lnTo>
                      <a:lnTo>
                        <a:pt x="120404" y="253719"/>
                      </a:lnTo>
                      <a:lnTo>
                        <a:pt x="117150" y="256097"/>
                      </a:lnTo>
                      <a:lnTo>
                        <a:pt x="118865" y="250237"/>
                      </a:lnTo>
                      <a:lnTo>
                        <a:pt x="121442" y="247672"/>
                      </a:lnTo>
                      <a:lnTo>
                        <a:pt x="123920" y="246447"/>
                      </a:lnTo>
                      <a:lnTo>
                        <a:pt x="125314" y="244567"/>
                      </a:lnTo>
                      <a:lnTo>
                        <a:pt x="126802" y="241746"/>
                      </a:lnTo>
                      <a:lnTo>
                        <a:pt x="133110" y="232662"/>
                      </a:lnTo>
                      <a:lnTo>
                        <a:pt x="135043" y="230471"/>
                      </a:lnTo>
                      <a:lnTo>
                        <a:pt x="135619" y="228633"/>
                      </a:lnTo>
                      <a:lnTo>
                        <a:pt x="137219" y="225274"/>
                      </a:lnTo>
                      <a:lnTo>
                        <a:pt x="139157" y="221779"/>
                      </a:lnTo>
                      <a:lnTo>
                        <a:pt x="140779" y="219569"/>
                      </a:lnTo>
                      <a:lnTo>
                        <a:pt x="144013" y="217671"/>
                      </a:lnTo>
                      <a:lnTo>
                        <a:pt x="150455" y="216017"/>
                      </a:lnTo>
                      <a:lnTo>
                        <a:pt x="153256" y="213546"/>
                      </a:lnTo>
                      <a:lnTo>
                        <a:pt x="154788" y="209241"/>
                      </a:lnTo>
                      <a:lnTo>
                        <a:pt x="151517" y="209558"/>
                      </a:lnTo>
                      <a:lnTo>
                        <a:pt x="147216" y="211812"/>
                      </a:lnTo>
                      <a:lnTo>
                        <a:pt x="145622" y="213281"/>
                      </a:lnTo>
                      <a:lnTo>
                        <a:pt x="142931" y="213664"/>
                      </a:lnTo>
                      <a:lnTo>
                        <a:pt x="140379" y="215479"/>
                      </a:lnTo>
                      <a:lnTo>
                        <a:pt x="137972" y="218166"/>
                      </a:lnTo>
                      <a:lnTo>
                        <a:pt x="135708" y="221211"/>
                      </a:lnTo>
                      <a:lnTo>
                        <a:pt x="135846" y="219217"/>
                      </a:lnTo>
                      <a:lnTo>
                        <a:pt x="135724" y="215983"/>
                      </a:lnTo>
                      <a:lnTo>
                        <a:pt x="135884" y="214021"/>
                      </a:lnTo>
                      <a:lnTo>
                        <a:pt x="132302" y="218186"/>
                      </a:lnTo>
                      <a:lnTo>
                        <a:pt x="127906" y="224686"/>
                      </a:lnTo>
                      <a:lnTo>
                        <a:pt x="123932" y="232071"/>
                      </a:lnTo>
                      <a:lnTo>
                        <a:pt x="121535" y="238916"/>
                      </a:lnTo>
                      <a:lnTo>
                        <a:pt x="119410" y="241197"/>
                      </a:lnTo>
                      <a:lnTo>
                        <a:pt x="109599" y="257664"/>
                      </a:lnTo>
                      <a:lnTo>
                        <a:pt x="108211" y="261794"/>
                      </a:lnTo>
                      <a:lnTo>
                        <a:pt x="106240" y="262800"/>
                      </a:lnTo>
                      <a:lnTo>
                        <a:pt x="97528" y="270284"/>
                      </a:lnTo>
                      <a:lnTo>
                        <a:pt x="90405" y="274205"/>
                      </a:lnTo>
                      <a:lnTo>
                        <a:pt x="87851" y="277028"/>
                      </a:lnTo>
                      <a:lnTo>
                        <a:pt x="86290" y="280464"/>
                      </a:lnTo>
                      <a:lnTo>
                        <a:pt x="84634" y="284827"/>
                      </a:lnTo>
                      <a:lnTo>
                        <a:pt x="82898" y="287096"/>
                      </a:lnTo>
                      <a:lnTo>
                        <a:pt x="79874" y="281779"/>
                      </a:lnTo>
                      <a:lnTo>
                        <a:pt x="74711" y="276841"/>
                      </a:lnTo>
                      <a:lnTo>
                        <a:pt x="77457" y="275405"/>
                      </a:lnTo>
                      <a:lnTo>
                        <a:pt x="78636" y="275208"/>
                      </a:lnTo>
                      <a:lnTo>
                        <a:pt x="79126" y="272680"/>
                      </a:lnTo>
                      <a:lnTo>
                        <a:pt x="71095" y="266913"/>
                      </a:lnTo>
                      <a:lnTo>
                        <a:pt x="68952" y="263430"/>
                      </a:lnTo>
                      <a:lnTo>
                        <a:pt x="71055" y="260678"/>
                      </a:lnTo>
                      <a:lnTo>
                        <a:pt x="73431" y="259156"/>
                      </a:lnTo>
                      <a:lnTo>
                        <a:pt x="78353" y="258082"/>
                      </a:lnTo>
                      <a:lnTo>
                        <a:pt x="78758" y="255995"/>
                      </a:lnTo>
                      <a:lnTo>
                        <a:pt x="73834" y="253425"/>
                      </a:lnTo>
                      <a:lnTo>
                        <a:pt x="61101" y="255923"/>
                      </a:lnTo>
                      <a:lnTo>
                        <a:pt x="56627" y="253751"/>
                      </a:lnTo>
                      <a:lnTo>
                        <a:pt x="71665" y="243308"/>
                      </a:lnTo>
                      <a:lnTo>
                        <a:pt x="74973" y="238156"/>
                      </a:lnTo>
                      <a:lnTo>
                        <a:pt x="69246" y="237273"/>
                      </a:lnTo>
                      <a:lnTo>
                        <a:pt x="52365" y="229039"/>
                      </a:lnTo>
                      <a:lnTo>
                        <a:pt x="51300" y="227087"/>
                      </a:lnTo>
                      <a:lnTo>
                        <a:pt x="51937" y="223210"/>
                      </a:lnTo>
                      <a:lnTo>
                        <a:pt x="53459" y="218952"/>
                      </a:lnTo>
                      <a:lnTo>
                        <a:pt x="54941" y="215977"/>
                      </a:lnTo>
                      <a:lnTo>
                        <a:pt x="57056" y="214680"/>
                      </a:lnTo>
                      <a:lnTo>
                        <a:pt x="59823" y="214977"/>
                      </a:lnTo>
                      <a:lnTo>
                        <a:pt x="64860" y="216649"/>
                      </a:lnTo>
                      <a:lnTo>
                        <a:pt x="62891" y="212006"/>
                      </a:lnTo>
                      <a:lnTo>
                        <a:pt x="61065" y="209745"/>
                      </a:lnTo>
                      <a:lnTo>
                        <a:pt x="54519" y="207250"/>
                      </a:lnTo>
                      <a:lnTo>
                        <a:pt x="52786" y="206183"/>
                      </a:lnTo>
                      <a:lnTo>
                        <a:pt x="52249" y="203375"/>
                      </a:lnTo>
                      <a:lnTo>
                        <a:pt x="54298" y="197888"/>
                      </a:lnTo>
                      <a:lnTo>
                        <a:pt x="60903" y="191998"/>
                      </a:lnTo>
                      <a:lnTo>
                        <a:pt x="75520" y="195474"/>
                      </a:lnTo>
                      <a:lnTo>
                        <a:pt x="81512" y="193513"/>
                      </a:lnTo>
                      <a:lnTo>
                        <a:pt x="79393" y="191310"/>
                      </a:lnTo>
                      <a:lnTo>
                        <a:pt x="75843" y="180096"/>
                      </a:lnTo>
                      <a:lnTo>
                        <a:pt x="78344" y="174984"/>
                      </a:lnTo>
                      <a:lnTo>
                        <a:pt x="79338" y="173805"/>
                      </a:lnTo>
                      <a:lnTo>
                        <a:pt x="76514" y="165074"/>
                      </a:lnTo>
                      <a:lnTo>
                        <a:pt x="77746" y="159880"/>
                      </a:lnTo>
                      <a:lnTo>
                        <a:pt x="86960" y="150026"/>
                      </a:lnTo>
                      <a:lnTo>
                        <a:pt x="91614" y="148872"/>
                      </a:lnTo>
                      <a:lnTo>
                        <a:pt x="95768" y="154621"/>
                      </a:lnTo>
                      <a:lnTo>
                        <a:pt x="99335" y="162102"/>
                      </a:lnTo>
                      <a:lnTo>
                        <a:pt x="102163" y="166075"/>
                      </a:lnTo>
                      <a:lnTo>
                        <a:pt x="103796" y="167775"/>
                      </a:lnTo>
                      <a:lnTo>
                        <a:pt x="110081" y="181438"/>
                      </a:lnTo>
                      <a:lnTo>
                        <a:pt x="113949" y="186157"/>
                      </a:lnTo>
                      <a:lnTo>
                        <a:pt x="121646" y="192755"/>
                      </a:lnTo>
                      <a:lnTo>
                        <a:pt x="128884" y="196161"/>
                      </a:lnTo>
                      <a:lnTo>
                        <a:pt x="136473" y="196847"/>
                      </a:lnTo>
                      <a:lnTo>
                        <a:pt x="143365" y="193381"/>
                      </a:lnTo>
                      <a:lnTo>
                        <a:pt x="143807" y="187475"/>
                      </a:lnTo>
                      <a:lnTo>
                        <a:pt x="147177" y="185116"/>
                      </a:lnTo>
                      <a:lnTo>
                        <a:pt x="151586" y="183904"/>
                      </a:lnTo>
                      <a:lnTo>
                        <a:pt x="155113" y="181445"/>
                      </a:lnTo>
                      <a:lnTo>
                        <a:pt x="156922" y="177165"/>
                      </a:lnTo>
                      <a:lnTo>
                        <a:pt x="157881" y="172162"/>
                      </a:lnTo>
                      <a:lnTo>
                        <a:pt x="159095" y="160357"/>
                      </a:lnTo>
                      <a:lnTo>
                        <a:pt x="160821" y="150255"/>
                      </a:lnTo>
                      <a:lnTo>
                        <a:pt x="163978" y="136674"/>
                      </a:lnTo>
                      <a:lnTo>
                        <a:pt x="168124" y="124689"/>
                      </a:lnTo>
                      <a:lnTo>
                        <a:pt x="172794" y="119496"/>
                      </a:lnTo>
                      <a:lnTo>
                        <a:pt x="170207" y="115144"/>
                      </a:lnTo>
                      <a:lnTo>
                        <a:pt x="171833" y="108979"/>
                      </a:lnTo>
                      <a:lnTo>
                        <a:pt x="175183" y="102886"/>
                      </a:lnTo>
                      <a:lnTo>
                        <a:pt x="177869" y="98817"/>
                      </a:lnTo>
                      <a:lnTo>
                        <a:pt x="173536" y="102111"/>
                      </a:lnTo>
                      <a:lnTo>
                        <a:pt x="170017" y="102795"/>
                      </a:lnTo>
                      <a:lnTo>
                        <a:pt x="162683" y="100906"/>
                      </a:lnTo>
                      <a:lnTo>
                        <a:pt x="162807" y="98408"/>
                      </a:lnTo>
                      <a:lnTo>
                        <a:pt x="165435" y="93268"/>
                      </a:lnTo>
                      <a:lnTo>
                        <a:pt x="168793" y="88111"/>
                      </a:lnTo>
                      <a:lnTo>
                        <a:pt x="171002" y="85456"/>
                      </a:lnTo>
                      <a:lnTo>
                        <a:pt x="168113" y="82991"/>
                      </a:lnTo>
                      <a:lnTo>
                        <a:pt x="164903" y="86929"/>
                      </a:lnTo>
                      <a:lnTo>
                        <a:pt x="161492" y="92505"/>
                      </a:lnTo>
                      <a:lnTo>
                        <a:pt x="157928" y="94968"/>
                      </a:lnTo>
                      <a:lnTo>
                        <a:pt x="156129" y="95594"/>
                      </a:lnTo>
                      <a:lnTo>
                        <a:pt x="152127" y="99461"/>
                      </a:lnTo>
                      <a:lnTo>
                        <a:pt x="150280" y="100694"/>
                      </a:lnTo>
                      <a:lnTo>
                        <a:pt x="147877" y="100871"/>
                      </a:lnTo>
                      <a:lnTo>
                        <a:pt x="140632" y="98812"/>
                      </a:lnTo>
                      <a:lnTo>
                        <a:pt x="138226" y="102142"/>
                      </a:lnTo>
                      <a:lnTo>
                        <a:pt x="137248" y="118643"/>
                      </a:lnTo>
                      <a:lnTo>
                        <a:pt x="134999" y="122018"/>
                      </a:lnTo>
                      <a:lnTo>
                        <a:pt x="131224" y="121852"/>
                      </a:lnTo>
                      <a:lnTo>
                        <a:pt x="120188" y="124058"/>
                      </a:lnTo>
                      <a:lnTo>
                        <a:pt x="106157" y="133380"/>
                      </a:lnTo>
                      <a:lnTo>
                        <a:pt x="92807" y="137644"/>
                      </a:lnTo>
                      <a:lnTo>
                        <a:pt x="88487" y="137328"/>
                      </a:lnTo>
                      <a:lnTo>
                        <a:pt x="84726" y="135097"/>
                      </a:lnTo>
                      <a:lnTo>
                        <a:pt x="80834" y="130528"/>
                      </a:lnTo>
                      <a:lnTo>
                        <a:pt x="76521" y="122685"/>
                      </a:lnTo>
                      <a:lnTo>
                        <a:pt x="73150" y="114527"/>
                      </a:lnTo>
                      <a:lnTo>
                        <a:pt x="65051" y="100899"/>
                      </a:lnTo>
                      <a:lnTo>
                        <a:pt x="63874" y="95792"/>
                      </a:lnTo>
                      <a:lnTo>
                        <a:pt x="70042" y="97989"/>
                      </a:lnTo>
                      <a:lnTo>
                        <a:pt x="74881" y="102930"/>
                      </a:lnTo>
                      <a:lnTo>
                        <a:pt x="83570" y="116622"/>
                      </a:lnTo>
                      <a:lnTo>
                        <a:pt x="84889" y="114705"/>
                      </a:lnTo>
                      <a:lnTo>
                        <a:pt x="77101" y="95969"/>
                      </a:lnTo>
                      <a:lnTo>
                        <a:pt x="67147" y="79351"/>
                      </a:lnTo>
                      <a:lnTo>
                        <a:pt x="69879" y="79862"/>
                      </a:lnTo>
                      <a:lnTo>
                        <a:pt x="76842" y="83941"/>
                      </a:lnTo>
                      <a:lnTo>
                        <a:pt x="74796" y="76291"/>
                      </a:lnTo>
                      <a:lnTo>
                        <a:pt x="70011" y="73628"/>
                      </a:lnTo>
                      <a:lnTo>
                        <a:pt x="64557" y="71931"/>
                      </a:lnTo>
                      <a:lnTo>
                        <a:pt x="60585" y="67318"/>
                      </a:lnTo>
                      <a:lnTo>
                        <a:pt x="55264" y="52755"/>
                      </a:lnTo>
                      <a:lnTo>
                        <a:pt x="51704" y="47056"/>
                      </a:lnTo>
                      <a:lnTo>
                        <a:pt x="47005" y="43906"/>
                      </a:lnTo>
                      <a:lnTo>
                        <a:pt x="51707" y="41826"/>
                      </a:lnTo>
                      <a:lnTo>
                        <a:pt x="56629" y="42819"/>
                      </a:lnTo>
                      <a:lnTo>
                        <a:pt x="60941" y="46157"/>
                      </a:lnTo>
                      <a:lnTo>
                        <a:pt x="66991" y="55449"/>
                      </a:lnTo>
                      <a:lnTo>
                        <a:pt x="75358" y="58999"/>
                      </a:lnTo>
                      <a:lnTo>
                        <a:pt x="80386" y="68173"/>
                      </a:lnTo>
                      <a:lnTo>
                        <a:pt x="84391" y="72153"/>
                      </a:lnTo>
                      <a:lnTo>
                        <a:pt x="100192" y="82313"/>
                      </a:lnTo>
                      <a:lnTo>
                        <a:pt x="103532" y="86452"/>
                      </a:lnTo>
                      <a:lnTo>
                        <a:pt x="102556" y="91295"/>
                      </a:lnTo>
                      <a:lnTo>
                        <a:pt x="102157" y="98866"/>
                      </a:lnTo>
                      <a:lnTo>
                        <a:pt x="103430" y="106365"/>
                      </a:lnTo>
                      <a:lnTo>
                        <a:pt x="106061" y="112183"/>
                      </a:lnTo>
                      <a:lnTo>
                        <a:pt x="109803" y="114619"/>
                      </a:lnTo>
                      <a:lnTo>
                        <a:pt x="108578" y="112970"/>
                      </a:lnTo>
                      <a:lnTo>
                        <a:pt x="107880" y="110779"/>
                      </a:lnTo>
                      <a:lnTo>
                        <a:pt x="107733" y="108068"/>
                      </a:lnTo>
                      <a:lnTo>
                        <a:pt x="108182" y="104683"/>
                      </a:lnTo>
                      <a:lnTo>
                        <a:pt x="111187" y="108292"/>
                      </a:lnTo>
                      <a:lnTo>
                        <a:pt x="116267" y="116786"/>
                      </a:lnTo>
                      <a:lnTo>
                        <a:pt x="119565" y="118987"/>
                      </a:lnTo>
                      <a:lnTo>
                        <a:pt x="117900" y="113580"/>
                      </a:lnTo>
                      <a:lnTo>
                        <a:pt x="114386" y="107075"/>
                      </a:lnTo>
                      <a:lnTo>
                        <a:pt x="112103" y="101415"/>
                      </a:lnTo>
                      <a:lnTo>
                        <a:pt x="114131" y="98416"/>
                      </a:lnTo>
                      <a:lnTo>
                        <a:pt x="116346" y="100017"/>
                      </a:lnTo>
                      <a:lnTo>
                        <a:pt x="120547" y="107160"/>
                      </a:lnTo>
                      <a:lnTo>
                        <a:pt x="121810" y="107379"/>
                      </a:lnTo>
                      <a:lnTo>
                        <a:pt x="122037" y="103594"/>
                      </a:lnTo>
                      <a:lnTo>
                        <a:pt x="120614" y="100946"/>
                      </a:lnTo>
                      <a:lnTo>
                        <a:pt x="119611" y="97865"/>
                      </a:lnTo>
                      <a:lnTo>
                        <a:pt x="121102" y="92779"/>
                      </a:lnTo>
                      <a:lnTo>
                        <a:pt x="116413" y="88696"/>
                      </a:lnTo>
                      <a:lnTo>
                        <a:pt x="115250" y="86600"/>
                      </a:lnTo>
                      <a:lnTo>
                        <a:pt x="114941" y="84014"/>
                      </a:lnTo>
                      <a:lnTo>
                        <a:pt x="115163" y="80929"/>
                      </a:lnTo>
                      <a:lnTo>
                        <a:pt x="115169" y="78305"/>
                      </a:lnTo>
                      <a:lnTo>
                        <a:pt x="114125" y="76978"/>
                      </a:lnTo>
                      <a:lnTo>
                        <a:pt x="106634" y="75532"/>
                      </a:lnTo>
                      <a:lnTo>
                        <a:pt x="102590" y="73649"/>
                      </a:lnTo>
                      <a:lnTo>
                        <a:pt x="98859" y="68468"/>
                      </a:lnTo>
                      <a:lnTo>
                        <a:pt x="97261" y="67976"/>
                      </a:lnTo>
                      <a:lnTo>
                        <a:pt x="96172" y="66681"/>
                      </a:lnTo>
                      <a:lnTo>
                        <a:pt x="96483" y="62394"/>
                      </a:lnTo>
                      <a:lnTo>
                        <a:pt x="97285" y="61306"/>
                      </a:lnTo>
                      <a:lnTo>
                        <a:pt x="102106" y="57706"/>
                      </a:lnTo>
                      <a:lnTo>
                        <a:pt x="106063" y="56072"/>
                      </a:lnTo>
                      <a:lnTo>
                        <a:pt x="113950" y="55347"/>
                      </a:lnTo>
                      <a:lnTo>
                        <a:pt x="118119" y="53679"/>
                      </a:lnTo>
                      <a:lnTo>
                        <a:pt x="117628" y="44168"/>
                      </a:lnTo>
                      <a:lnTo>
                        <a:pt x="121514" y="40347"/>
                      </a:lnTo>
                      <a:lnTo>
                        <a:pt x="134882" y="37181"/>
                      </a:lnTo>
                      <a:lnTo>
                        <a:pt x="137604" y="38320"/>
                      </a:lnTo>
                      <a:lnTo>
                        <a:pt x="140121" y="40236"/>
                      </a:lnTo>
                      <a:lnTo>
                        <a:pt x="142770" y="41475"/>
                      </a:lnTo>
                      <a:lnTo>
                        <a:pt x="145374" y="41498"/>
                      </a:lnTo>
                      <a:lnTo>
                        <a:pt x="147877" y="40812"/>
                      </a:lnTo>
                      <a:lnTo>
                        <a:pt x="152812" y="38422"/>
                      </a:lnTo>
                      <a:lnTo>
                        <a:pt x="147945" y="36982"/>
                      </a:lnTo>
                      <a:lnTo>
                        <a:pt x="143943" y="33585"/>
                      </a:lnTo>
                      <a:lnTo>
                        <a:pt x="143251" y="29376"/>
                      </a:lnTo>
                      <a:lnTo>
                        <a:pt x="148278" y="25486"/>
                      </a:lnTo>
                      <a:lnTo>
                        <a:pt x="144127" y="25561"/>
                      </a:lnTo>
                      <a:lnTo>
                        <a:pt x="130574" y="31854"/>
                      </a:lnTo>
                      <a:lnTo>
                        <a:pt x="121838" y="31601"/>
                      </a:lnTo>
                      <a:lnTo>
                        <a:pt x="117611" y="34176"/>
                      </a:lnTo>
                      <a:lnTo>
                        <a:pt x="114559" y="41934"/>
                      </a:lnTo>
                      <a:lnTo>
                        <a:pt x="109072" y="48491"/>
                      </a:lnTo>
                      <a:lnTo>
                        <a:pt x="99862" y="48631"/>
                      </a:lnTo>
                      <a:lnTo>
                        <a:pt x="91993" y="43317"/>
                      </a:lnTo>
                      <a:lnTo>
                        <a:pt x="90471" y="33491"/>
                      </a:lnTo>
                      <a:lnTo>
                        <a:pt x="88335" y="41460"/>
                      </a:lnTo>
                      <a:lnTo>
                        <a:pt x="84763" y="46369"/>
                      </a:lnTo>
                      <a:lnTo>
                        <a:pt x="81559" y="46726"/>
                      </a:lnTo>
                      <a:lnTo>
                        <a:pt x="80507" y="41115"/>
                      </a:lnTo>
                      <a:lnTo>
                        <a:pt x="83389" y="39055"/>
                      </a:lnTo>
                      <a:lnTo>
                        <a:pt x="80403" y="37417"/>
                      </a:lnTo>
                      <a:lnTo>
                        <a:pt x="78917" y="37330"/>
                      </a:lnTo>
                      <a:lnTo>
                        <a:pt x="78944" y="37288"/>
                      </a:lnTo>
                      <a:lnTo>
                        <a:pt x="80856" y="34229"/>
                      </a:lnTo>
                      <a:lnTo>
                        <a:pt x="88111" y="22118"/>
                      </a:lnTo>
                      <a:lnTo>
                        <a:pt x="94475" y="9844"/>
                      </a:lnTo>
                      <a:lnTo>
                        <a:pt x="101597" y="6482"/>
                      </a:lnTo>
                      <a:lnTo>
                        <a:pt x="113899" y="2640"/>
                      </a:lnTo>
                      <a:lnTo>
                        <a:pt x="115969" y="2899"/>
                      </a:lnTo>
                      <a:lnTo>
                        <a:pt x="119325" y="4352"/>
                      </a:lnTo>
                      <a:lnTo>
                        <a:pt x="127621" y="12009"/>
                      </a:lnTo>
                      <a:lnTo>
                        <a:pt x="138536" y="13878"/>
                      </a:lnTo>
                      <a:lnTo>
                        <a:pt x="152265" y="12006"/>
                      </a:lnTo>
                      <a:lnTo>
                        <a:pt x="156750" y="10498"/>
                      </a:lnTo>
                      <a:lnTo>
                        <a:pt x="165092" y="6082"/>
                      </a:lnTo>
                      <a:lnTo>
                        <a:pt x="175646" y="2325"/>
                      </a:lnTo>
                      <a:lnTo>
                        <a:pt x="187110" y="9423"/>
                      </a:lnTo>
                      <a:lnTo>
                        <a:pt x="191647" y="10333"/>
                      </a:lnTo>
                      <a:lnTo>
                        <a:pt x="196497" y="6970"/>
                      </a:lnTo>
                      <a:lnTo>
                        <a:pt x="200133" y="6338"/>
                      </a:lnTo>
                      <a:lnTo>
                        <a:pt x="202948" y="7259"/>
                      </a:lnTo>
                      <a:lnTo>
                        <a:pt x="213211" y="14959"/>
                      </a:lnTo>
                      <a:lnTo>
                        <a:pt x="239416" y="150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3175" cap="rnd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Freeform 91">
                  <a:extLst>
                    <a:ext uri="{FF2B5EF4-FFF2-40B4-BE49-F238E27FC236}">
                      <a16:creationId xmlns:a16="http://schemas.microsoft.com/office/drawing/2014/main" id="{C63209B4-ECF8-4F68-86F3-F03F1180AB8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"/>
                  </p:custDataLst>
                </p:nvPr>
              </p:nvSpPr>
              <p:spPr>
                <a:xfrm>
                  <a:off x="1773158" y="3901997"/>
                  <a:ext cx="361031" cy="4964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568" h="535667">
                      <a:moveTo>
                        <a:pt x="72834" y="216685"/>
                      </a:moveTo>
                      <a:lnTo>
                        <a:pt x="75467" y="218384"/>
                      </a:lnTo>
                      <a:lnTo>
                        <a:pt x="77325" y="218585"/>
                      </a:lnTo>
                      <a:lnTo>
                        <a:pt x="79372" y="219267"/>
                      </a:lnTo>
                      <a:lnTo>
                        <a:pt x="84197" y="223076"/>
                      </a:lnTo>
                      <a:lnTo>
                        <a:pt x="87610" y="224549"/>
                      </a:lnTo>
                      <a:lnTo>
                        <a:pt x="91974" y="223453"/>
                      </a:lnTo>
                      <a:lnTo>
                        <a:pt x="95057" y="224489"/>
                      </a:lnTo>
                      <a:lnTo>
                        <a:pt x="98984" y="227545"/>
                      </a:lnTo>
                      <a:lnTo>
                        <a:pt x="100732" y="229684"/>
                      </a:lnTo>
                      <a:lnTo>
                        <a:pt x="100468" y="233628"/>
                      </a:lnTo>
                      <a:lnTo>
                        <a:pt x="98498" y="240584"/>
                      </a:lnTo>
                      <a:lnTo>
                        <a:pt x="93786" y="242575"/>
                      </a:lnTo>
                      <a:lnTo>
                        <a:pt x="80957" y="230230"/>
                      </a:lnTo>
                      <a:lnTo>
                        <a:pt x="70496" y="222995"/>
                      </a:lnTo>
                      <a:lnTo>
                        <a:pt x="66465" y="219118"/>
                      </a:lnTo>
                      <a:lnTo>
                        <a:pt x="68399" y="218376"/>
                      </a:lnTo>
                      <a:lnTo>
                        <a:pt x="70216" y="216851"/>
                      </a:lnTo>
                      <a:close/>
                      <a:moveTo>
                        <a:pt x="148736" y="176112"/>
                      </a:moveTo>
                      <a:lnTo>
                        <a:pt x="153821" y="176592"/>
                      </a:lnTo>
                      <a:lnTo>
                        <a:pt x="163145" y="180837"/>
                      </a:lnTo>
                      <a:lnTo>
                        <a:pt x="167356" y="184609"/>
                      </a:lnTo>
                      <a:lnTo>
                        <a:pt x="165023" y="189498"/>
                      </a:lnTo>
                      <a:lnTo>
                        <a:pt x="157575" y="195395"/>
                      </a:lnTo>
                      <a:lnTo>
                        <a:pt x="147930" y="197083"/>
                      </a:lnTo>
                      <a:lnTo>
                        <a:pt x="139709" y="196570"/>
                      </a:lnTo>
                      <a:lnTo>
                        <a:pt x="135760" y="190331"/>
                      </a:lnTo>
                      <a:lnTo>
                        <a:pt x="137807" y="181742"/>
                      </a:lnTo>
                      <a:lnTo>
                        <a:pt x="142216" y="177321"/>
                      </a:lnTo>
                      <a:close/>
                      <a:moveTo>
                        <a:pt x="44309" y="173191"/>
                      </a:moveTo>
                      <a:lnTo>
                        <a:pt x="45961" y="173974"/>
                      </a:lnTo>
                      <a:lnTo>
                        <a:pt x="47709" y="175866"/>
                      </a:lnTo>
                      <a:lnTo>
                        <a:pt x="48643" y="177340"/>
                      </a:lnTo>
                      <a:lnTo>
                        <a:pt x="49661" y="178530"/>
                      </a:lnTo>
                      <a:lnTo>
                        <a:pt x="51372" y="181618"/>
                      </a:lnTo>
                      <a:lnTo>
                        <a:pt x="52396" y="185775"/>
                      </a:lnTo>
                      <a:lnTo>
                        <a:pt x="52719" y="188075"/>
                      </a:lnTo>
                      <a:lnTo>
                        <a:pt x="52523" y="190788"/>
                      </a:lnTo>
                      <a:lnTo>
                        <a:pt x="51030" y="195298"/>
                      </a:lnTo>
                      <a:lnTo>
                        <a:pt x="47422" y="201499"/>
                      </a:lnTo>
                      <a:lnTo>
                        <a:pt x="45738" y="202774"/>
                      </a:lnTo>
                      <a:lnTo>
                        <a:pt x="44350" y="201741"/>
                      </a:lnTo>
                      <a:lnTo>
                        <a:pt x="43936" y="200369"/>
                      </a:lnTo>
                      <a:lnTo>
                        <a:pt x="44437" y="199594"/>
                      </a:lnTo>
                      <a:lnTo>
                        <a:pt x="44544" y="198425"/>
                      </a:lnTo>
                      <a:lnTo>
                        <a:pt x="44008" y="196930"/>
                      </a:lnTo>
                      <a:lnTo>
                        <a:pt x="43230" y="195629"/>
                      </a:lnTo>
                      <a:lnTo>
                        <a:pt x="39419" y="191309"/>
                      </a:lnTo>
                      <a:lnTo>
                        <a:pt x="37948" y="188424"/>
                      </a:lnTo>
                      <a:lnTo>
                        <a:pt x="37341" y="184103"/>
                      </a:lnTo>
                      <a:lnTo>
                        <a:pt x="37845" y="180116"/>
                      </a:lnTo>
                      <a:lnTo>
                        <a:pt x="38900" y="177529"/>
                      </a:lnTo>
                      <a:lnTo>
                        <a:pt x="40540" y="175258"/>
                      </a:lnTo>
                      <a:lnTo>
                        <a:pt x="42477" y="173417"/>
                      </a:lnTo>
                      <a:close/>
                      <a:moveTo>
                        <a:pt x="17964" y="107096"/>
                      </a:moveTo>
                      <a:lnTo>
                        <a:pt x="21948" y="107464"/>
                      </a:lnTo>
                      <a:lnTo>
                        <a:pt x="25134" y="124585"/>
                      </a:lnTo>
                      <a:lnTo>
                        <a:pt x="25292" y="132105"/>
                      </a:lnTo>
                      <a:lnTo>
                        <a:pt x="26327" y="134750"/>
                      </a:lnTo>
                      <a:lnTo>
                        <a:pt x="27715" y="136934"/>
                      </a:lnTo>
                      <a:lnTo>
                        <a:pt x="28684" y="139021"/>
                      </a:lnTo>
                      <a:lnTo>
                        <a:pt x="29103" y="142589"/>
                      </a:lnTo>
                      <a:lnTo>
                        <a:pt x="28351" y="144204"/>
                      </a:lnTo>
                      <a:lnTo>
                        <a:pt x="27103" y="145806"/>
                      </a:lnTo>
                      <a:lnTo>
                        <a:pt x="26049" y="149425"/>
                      </a:lnTo>
                      <a:lnTo>
                        <a:pt x="25973" y="151777"/>
                      </a:lnTo>
                      <a:lnTo>
                        <a:pt x="28127" y="155623"/>
                      </a:lnTo>
                      <a:lnTo>
                        <a:pt x="30811" y="159418"/>
                      </a:lnTo>
                      <a:lnTo>
                        <a:pt x="30354" y="165340"/>
                      </a:lnTo>
                      <a:lnTo>
                        <a:pt x="28441" y="174719"/>
                      </a:lnTo>
                      <a:lnTo>
                        <a:pt x="24300" y="182127"/>
                      </a:lnTo>
                      <a:lnTo>
                        <a:pt x="20976" y="194371"/>
                      </a:lnTo>
                      <a:lnTo>
                        <a:pt x="13960" y="198983"/>
                      </a:lnTo>
                      <a:lnTo>
                        <a:pt x="8506" y="201695"/>
                      </a:lnTo>
                      <a:lnTo>
                        <a:pt x="3865" y="200122"/>
                      </a:lnTo>
                      <a:lnTo>
                        <a:pt x="1317" y="194550"/>
                      </a:lnTo>
                      <a:lnTo>
                        <a:pt x="498" y="189714"/>
                      </a:lnTo>
                      <a:lnTo>
                        <a:pt x="0" y="180733"/>
                      </a:lnTo>
                      <a:lnTo>
                        <a:pt x="1185" y="173082"/>
                      </a:lnTo>
                      <a:lnTo>
                        <a:pt x="4143" y="165577"/>
                      </a:lnTo>
                      <a:lnTo>
                        <a:pt x="5192" y="159704"/>
                      </a:lnTo>
                      <a:lnTo>
                        <a:pt x="6058" y="156199"/>
                      </a:lnTo>
                      <a:lnTo>
                        <a:pt x="5012" y="154326"/>
                      </a:lnTo>
                      <a:lnTo>
                        <a:pt x="8588" y="148417"/>
                      </a:lnTo>
                      <a:lnTo>
                        <a:pt x="16732" y="152386"/>
                      </a:lnTo>
                      <a:lnTo>
                        <a:pt x="11138" y="139128"/>
                      </a:lnTo>
                      <a:lnTo>
                        <a:pt x="10522" y="134055"/>
                      </a:lnTo>
                      <a:lnTo>
                        <a:pt x="11646" y="128915"/>
                      </a:lnTo>
                      <a:lnTo>
                        <a:pt x="13941" y="127051"/>
                      </a:lnTo>
                      <a:lnTo>
                        <a:pt x="16675" y="125475"/>
                      </a:lnTo>
                      <a:lnTo>
                        <a:pt x="19229" y="121381"/>
                      </a:lnTo>
                      <a:lnTo>
                        <a:pt x="16371" y="117623"/>
                      </a:lnTo>
                      <a:lnTo>
                        <a:pt x="16012" y="111697"/>
                      </a:lnTo>
                      <a:close/>
                      <a:moveTo>
                        <a:pt x="276536" y="0"/>
                      </a:moveTo>
                      <a:lnTo>
                        <a:pt x="281629" y="566"/>
                      </a:lnTo>
                      <a:lnTo>
                        <a:pt x="287893" y="2462"/>
                      </a:lnTo>
                      <a:lnTo>
                        <a:pt x="293068" y="2874"/>
                      </a:lnTo>
                      <a:lnTo>
                        <a:pt x="297009" y="5097"/>
                      </a:lnTo>
                      <a:lnTo>
                        <a:pt x="299709" y="8604"/>
                      </a:lnTo>
                      <a:lnTo>
                        <a:pt x="300783" y="13621"/>
                      </a:lnTo>
                      <a:lnTo>
                        <a:pt x="300797" y="19718"/>
                      </a:lnTo>
                      <a:lnTo>
                        <a:pt x="299890" y="25763"/>
                      </a:lnTo>
                      <a:lnTo>
                        <a:pt x="298173" y="30793"/>
                      </a:lnTo>
                      <a:lnTo>
                        <a:pt x="295844" y="35245"/>
                      </a:lnTo>
                      <a:lnTo>
                        <a:pt x="293076" y="39689"/>
                      </a:lnTo>
                      <a:lnTo>
                        <a:pt x="291080" y="43618"/>
                      </a:lnTo>
                      <a:lnTo>
                        <a:pt x="290337" y="47914"/>
                      </a:lnTo>
                      <a:lnTo>
                        <a:pt x="291449" y="50523"/>
                      </a:lnTo>
                      <a:lnTo>
                        <a:pt x="293215" y="52532"/>
                      </a:lnTo>
                      <a:lnTo>
                        <a:pt x="297759" y="55030"/>
                      </a:lnTo>
                      <a:lnTo>
                        <a:pt x="311501" y="51728"/>
                      </a:lnTo>
                      <a:lnTo>
                        <a:pt x="349187" y="35943"/>
                      </a:lnTo>
                      <a:lnTo>
                        <a:pt x="354318" y="35028"/>
                      </a:lnTo>
                      <a:lnTo>
                        <a:pt x="369265" y="38811"/>
                      </a:lnTo>
                      <a:lnTo>
                        <a:pt x="370777" y="46840"/>
                      </a:lnTo>
                      <a:lnTo>
                        <a:pt x="369574" y="59374"/>
                      </a:lnTo>
                      <a:lnTo>
                        <a:pt x="371387" y="63976"/>
                      </a:lnTo>
                      <a:lnTo>
                        <a:pt x="373748" y="67319"/>
                      </a:lnTo>
                      <a:lnTo>
                        <a:pt x="389568" y="78359"/>
                      </a:lnTo>
                      <a:lnTo>
                        <a:pt x="381325" y="80798"/>
                      </a:lnTo>
                      <a:lnTo>
                        <a:pt x="379919" y="80780"/>
                      </a:lnTo>
                      <a:lnTo>
                        <a:pt x="378220" y="80439"/>
                      </a:lnTo>
                      <a:lnTo>
                        <a:pt x="377194" y="79505"/>
                      </a:lnTo>
                      <a:lnTo>
                        <a:pt x="375358" y="78996"/>
                      </a:lnTo>
                      <a:lnTo>
                        <a:pt x="372557" y="79013"/>
                      </a:lnTo>
                      <a:lnTo>
                        <a:pt x="367728" y="80116"/>
                      </a:lnTo>
                      <a:lnTo>
                        <a:pt x="365230" y="81614"/>
                      </a:lnTo>
                      <a:lnTo>
                        <a:pt x="359287" y="88576"/>
                      </a:lnTo>
                      <a:lnTo>
                        <a:pt x="353726" y="92939"/>
                      </a:lnTo>
                      <a:lnTo>
                        <a:pt x="341902" y="98657"/>
                      </a:lnTo>
                      <a:lnTo>
                        <a:pt x="340226" y="100454"/>
                      </a:lnTo>
                      <a:lnTo>
                        <a:pt x="339451" y="103275"/>
                      </a:lnTo>
                      <a:lnTo>
                        <a:pt x="339069" y="106535"/>
                      </a:lnTo>
                      <a:lnTo>
                        <a:pt x="338961" y="109154"/>
                      </a:lnTo>
                      <a:lnTo>
                        <a:pt x="338578" y="112259"/>
                      </a:lnTo>
                      <a:lnTo>
                        <a:pt x="336482" y="120654"/>
                      </a:lnTo>
                      <a:lnTo>
                        <a:pt x="335725" y="125997"/>
                      </a:lnTo>
                      <a:lnTo>
                        <a:pt x="338051" y="133682"/>
                      </a:lnTo>
                      <a:lnTo>
                        <a:pt x="338877" y="135509"/>
                      </a:lnTo>
                      <a:lnTo>
                        <a:pt x="339120" y="136366"/>
                      </a:lnTo>
                      <a:lnTo>
                        <a:pt x="339195" y="136740"/>
                      </a:lnTo>
                      <a:lnTo>
                        <a:pt x="339144" y="137212"/>
                      </a:lnTo>
                      <a:lnTo>
                        <a:pt x="337912" y="138805"/>
                      </a:lnTo>
                      <a:lnTo>
                        <a:pt x="335288" y="141455"/>
                      </a:lnTo>
                      <a:lnTo>
                        <a:pt x="328578" y="145686"/>
                      </a:lnTo>
                      <a:lnTo>
                        <a:pt x="324249" y="147280"/>
                      </a:lnTo>
                      <a:lnTo>
                        <a:pt x="318540" y="147981"/>
                      </a:lnTo>
                      <a:lnTo>
                        <a:pt x="317213" y="148802"/>
                      </a:lnTo>
                      <a:lnTo>
                        <a:pt x="316460" y="151138"/>
                      </a:lnTo>
                      <a:lnTo>
                        <a:pt x="316437" y="152584"/>
                      </a:lnTo>
                      <a:lnTo>
                        <a:pt x="315823" y="154091"/>
                      </a:lnTo>
                      <a:lnTo>
                        <a:pt x="314704" y="155313"/>
                      </a:lnTo>
                      <a:lnTo>
                        <a:pt x="311786" y="157363"/>
                      </a:lnTo>
                      <a:lnTo>
                        <a:pt x="309036" y="159878"/>
                      </a:lnTo>
                      <a:lnTo>
                        <a:pt x="306597" y="165401"/>
                      </a:lnTo>
                      <a:lnTo>
                        <a:pt x="303868" y="175461"/>
                      </a:lnTo>
                      <a:lnTo>
                        <a:pt x="301140" y="180108"/>
                      </a:lnTo>
                      <a:lnTo>
                        <a:pt x="296824" y="186419"/>
                      </a:lnTo>
                      <a:lnTo>
                        <a:pt x="294867" y="190429"/>
                      </a:lnTo>
                      <a:lnTo>
                        <a:pt x="293840" y="194675"/>
                      </a:lnTo>
                      <a:lnTo>
                        <a:pt x="293071" y="212281"/>
                      </a:lnTo>
                      <a:lnTo>
                        <a:pt x="290561" y="226747"/>
                      </a:lnTo>
                      <a:lnTo>
                        <a:pt x="290628" y="229632"/>
                      </a:lnTo>
                      <a:lnTo>
                        <a:pt x="294770" y="233452"/>
                      </a:lnTo>
                      <a:lnTo>
                        <a:pt x="310064" y="234009"/>
                      </a:lnTo>
                      <a:lnTo>
                        <a:pt x="303759" y="240317"/>
                      </a:lnTo>
                      <a:lnTo>
                        <a:pt x="299071" y="243006"/>
                      </a:lnTo>
                      <a:lnTo>
                        <a:pt x="297212" y="245603"/>
                      </a:lnTo>
                      <a:lnTo>
                        <a:pt x="296587" y="248476"/>
                      </a:lnTo>
                      <a:lnTo>
                        <a:pt x="296935" y="252696"/>
                      </a:lnTo>
                      <a:lnTo>
                        <a:pt x="295172" y="257194"/>
                      </a:lnTo>
                      <a:lnTo>
                        <a:pt x="291652" y="260519"/>
                      </a:lnTo>
                      <a:lnTo>
                        <a:pt x="284915" y="264470"/>
                      </a:lnTo>
                      <a:lnTo>
                        <a:pt x="278751" y="269134"/>
                      </a:lnTo>
                      <a:lnTo>
                        <a:pt x="275141" y="273110"/>
                      </a:lnTo>
                      <a:lnTo>
                        <a:pt x="271719" y="278585"/>
                      </a:lnTo>
                      <a:lnTo>
                        <a:pt x="268958" y="281656"/>
                      </a:lnTo>
                      <a:lnTo>
                        <a:pt x="229831" y="314015"/>
                      </a:lnTo>
                      <a:lnTo>
                        <a:pt x="227344" y="316856"/>
                      </a:lnTo>
                      <a:lnTo>
                        <a:pt x="226492" y="319661"/>
                      </a:lnTo>
                      <a:lnTo>
                        <a:pt x="226832" y="322560"/>
                      </a:lnTo>
                      <a:lnTo>
                        <a:pt x="228065" y="326635"/>
                      </a:lnTo>
                      <a:lnTo>
                        <a:pt x="228550" y="330329"/>
                      </a:lnTo>
                      <a:lnTo>
                        <a:pt x="227374" y="336307"/>
                      </a:lnTo>
                      <a:lnTo>
                        <a:pt x="226109" y="340036"/>
                      </a:lnTo>
                      <a:lnTo>
                        <a:pt x="214750" y="357448"/>
                      </a:lnTo>
                      <a:lnTo>
                        <a:pt x="210672" y="364947"/>
                      </a:lnTo>
                      <a:lnTo>
                        <a:pt x="211349" y="367217"/>
                      </a:lnTo>
                      <a:lnTo>
                        <a:pt x="212589" y="369552"/>
                      </a:lnTo>
                      <a:lnTo>
                        <a:pt x="217417" y="375075"/>
                      </a:lnTo>
                      <a:lnTo>
                        <a:pt x="218737" y="380661"/>
                      </a:lnTo>
                      <a:lnTo>
                        <a:pt x="221952" y="389411"/>
                      </a:lnTo>
                      <a:lnTo>
                        <a:pt x="220570" y="393972"/>
                      </a:lnTo>
                      <a:lnTo>
                        <a:pt x="217669" y="396196"/>
                      </a:lnTo>
                      <a:lnTo>
                        <a:pt x="211493" y="399632"/>
                      </a:lnTo>
                      <a:lnTo>
                        <a:pt x="192816" y="403401"/>
                      </a:lnTo>
                      <a:lnTo>
                        <a:pt x="190496" y="406140"/>
                      </a:lnTo>
                      <a:lnTo>
                        <a:pt x="193421" y="415883"/>
                      </a:lnTo>
                      <a:lnTo>
                        <a:pt x="195954" y="418912"/>
                      </a:lnTo>
                      <a:lnTo>
                        <a:pt x="205549" y="419532"/>
                      </a:lnTo>
                      <a:lnTo>
                        <a:pt x="211033" y="423056"/>
                      </a:lnTo>
                      <a:lnTo>
                        <a:pt x="212444" y="426426"/>
                      </a:lnTo>
                      <a:lnTo>
                        <a:pt x="212186" y="430543"/>
                      </a:lnTo>
                      <a:lnTo>
                        <a:pt x="211605" y="434402"/>
                      </a:lnTo>
                      <a:lnTo>
                        <a:pt x="211474" y="444698"/>
                      </a:lnTo>
                      <a:lnTo>
                        <a:pt x="211081" y="448129"/>
                      </a:lnTo>
                      <a:lnTo>
                        <a:pt x="209090" y="453904"/>
                      </a:lnTo>
                      <a:lnTo>
                        <a:pt x="208153" y="457683"/>
                      </a:lnTo>
                      <a:lnTo>
                        <a:pt x="207717" y="463671"/>
                      </a:lnTo>
                      <a:lnTo>
                        <a:pt x="207984" y="499332"/>
                      </a:lnTo>
                      <a:lnTo>
                        <a:pt x="207343" y="505221"/>
                      </a:lnTo>
                      <a:lnTo>
                        <a:pt x="205651" y="511077"/>
                      </a:lnTo>
                      <a:lnTo>
                        <a:pt x="202472" y="515618"/>
                      </a:lnTo>
                      <a:lnTo>
                        <a:pt x="198783" y="519788"/>
                      </a:lnTo>
                      <a:lnTo>
                        <a:pt x="194332" y="523168"/>
                      </a:lnTo>
                      <a:lnTo>
                        <a:pt x="191578" y="524547"/>
                      </a:lnTo>
                      <a:lnTo>
                        <a:pt x="188823" y="525434"/>
                      </a:lnTo>
                      <a:lnTo>
                        <a:pt x="167608" y="530180"/>
                      </a:lnTo>
                      <a:lnTo>
                        <a:pt x="161273" y="533610"/>
                      </a:lnTo>
                      <a:lnTo>
                        <a:pt x="159024" y="535667"/>
                      </a:lnTo>
                      <a:lnTo>
                        <a:pt x="150819" y="529668"/>
                      </a:lnTo>
                      <a:lnTo>
                        <a:pt x="142214" y="520093"/>
                      </a:lnTo>
                      <a:lnTo>
                        <a:pt x="140509" y="518269"/>
                      </a:lnTo>
                      <a:lnTo>
                        <a:pt x="137939" y="517341"/>
                      </a:lnTo>
                      <a:lnTo>
                        <a:pt x="134981" y="515557"/>
                      </a:lnTo>
                      <a:lnTo>
                        <a:pt x="132263" y="513188"/>
                      </a:lnTo>
                      <a:lnTo>
                        <a:pt x="130483" y="510531"/>
                      </a:lnTo>
                      <a:lnTo>
                        <a:pt x="128039" y="508067"/>
                      </a:lnTo>
                      <a:lnTo>
                        <a:pt x="117025" y="504580"/>
                      </a:lnTo>
                      <a:lnTo>
                        <a:pt x="108400" y="495776"/>
                      </a:lnTo>
                      <a:lnTo>
                        <a:pt x="105139" y="490065"/>
                      </a:lnTo>
                      <a:lnTo>
                        <a:pt x="103457" y="488079"/>
                      </a:lnTo>
                      <a:lnTo>
                        <a:pt x="98369" y="486187"/>
                      </a:lnTo>
                      <a:lnTo>
                        <a:pt x="96566" y="484878"/>
                      </a:lnTo>
                      <a:lnTo>
                        <a:pt x="95349" y="482820"/>
                      </a:lnTo>
                      <a:lnTo>
                        <a:pt x="93222" y="476700"/>
                      </a:lnTo>
                      <a:lnTo>
                        <a:pt x="92680" y="473751"/>
                      </a:lnTo>
                      <a:lnTo>
                        <a:pt x="92443" y="470360"/>
                      </a:lnTo>
                      <a:lnTo>
                        <a:pt x="92420" y="465965"/>
                      </a:lnTo>
                      <a:lnTo>
                        <a:pt x="92808" y="461860"/>
                      </a:lnTo>
                      <a:lnTo>
                        <a:pt x="93461" y="458363"/>
                      </a:lnTo>
                      <a:lnTo>
                        <a:pt x="93570" y="455050"/>
                      </a:lnTo>
                      <a:lnTo>
                        <a:pt x="92412" y="451556"/>
                      </a:lnTo>
                      <a:lnTo>
                        <a:pt x="88147" y="448609"/>
                      </a:lnTo>
                      <a:lnTo>
                        <a:pt x="71804" y="446319"/>
                      </a:lnTo>
                      <a:lnTo>
                        <a:pt x="65076" y="442252"/>
                      </a:lnTo>
                      <a:lnTo>
                        <a:pt x="63825" y="430879"/>
                      </a:lnTo>
                      <a:lnTo>
                        <a:pt x="57744" y="427570"/>
                      </a:lnTo>
                      <a:lnTo>
                        <a:pt x="50645" y="428405"/>
                      </a:lnTo>
                      <a:lnTo>
                        <a:pt x="42144" y="416957"/>
                      </a:lnTo>
                      <a:lnTo>
                        <a:pt x="44123" y="412383"/>
                      </a:lnTo>
                      <a:lnTo>
                        <a:pt x="39380" y="400732"/>
                      </a:lnTo>
                      <a:lnTo>
                        <a:pt x="34008" y="387341"/>
                      </a:lnTo>
                      <a:lnTo>
                        <a:pt x="32316" y="373409"/>
                      </a:lnTo>
                      <a:lnTo>
                        <a:pt x="30266" y="363389"/>
                      </a:lnTo>
                      <a:lnTo>
                        <a:pt x="30100" y="356337"/>
                      </a:lnTo>
                      <a:lnTo>
                        <a:pt x="29129" y="350629"/>
                      </a:lnTo>
                      <a:lnTo>
                        <a:pt x="25629" y="341194"/>
                      </a:lnTo>
                      <a:lnTo>
                        <a:pt x="29391" y="337981"/>
                      </a:lnTo>
                      <a:lnTo>
                        <a:pt x="36109" y="332898"/>
                      </a:lnTo>
                      <a:lnTo>
                        <a:pt x="38580" y="328173"/>
                      </a:lnTo>
                      <a:lnTo>
                        <a:pt x="40405" y="322691"/>
                      </a:lnTo>
                      <a:lnTo>
                        <a:pt x="41585" y="316453"/>
                      </a:lnTo>
                      <a:lnTo>
                        <a:pt x="42366" y="309655"/>
                      </a:lnTo>
                      <a:lnTo>
                        <a:pt x="42226" y="304298"/>
                      </a:lnTo>
                      <a:lnTo>
                        <a:pt x="44157" y="302468"/>
                      </a:lnTo>
                      <a:lnTo>
                        <a:pt x="46870" y="302064"/>
                      </a:lnTo>
                      <a:lnTo>
                        <a:pt x="48949" y="301092"/>
                      </a:lnTo>
                      <a:lnTo>
                        <a:pt x="51222" y="297136"/>
                      </a:lnTo>
                      <a:lnTo>
                        <a:pt x="51280" y="295027"/>
                      </a:lnTo>
                      <a:lnTo>
                        <a:pt x="50130" y="292970"/>
                      </a:lnTo>
                      <a:lnTo>
                        <a:pt x="48762" y="289021"/>
                      </a:lnTo>
                      <a:lnTo>
                        <a:pt x="48878" y="287239"/>
                      </a:lnTo>
                      <a:lnTo>
                        <a:pt x="48704" y="282304"/>
                      </a:lnTo>
                      <a:lnTo>
                        <a:pt x="48101" y="278233"/>
                      </a:lnTo>
                      <a:lnTo>
                        <a:pt x="49010" y="274842"/>
                      </a:lnTo>
                      <a:lnTo>
                        <a:pt x="50546" y="275628"/>
                      </a:lnTo>
                      <a:lnTo>
                        <a:pt x="51922" y="278503"/>
                      </a:lnTo>
                      <a:lnTo>
                        <a:pt x="53555" y="280340"/>
                      </a:lnTo>
                      <a:lnTo>
                        <a:pt x="57016" y="290667"/>
                      </a:lnTo>
                      <a:lnTo>
                        <a:pt x="59938" y="294154"/>
                      </a:lnTo>
                      <a:lnTo>
                        <a:pt x="62664" y="288236"/>
                      </a:lnTo>
                      <a:lnTo>
                        <a:pt x="61578" y="284502"/>
                      </a:lnTo>
                      <a:lnTo>
                        <a:pt x="58503" y="278865"/>
                      </a:lnTo>
                      <a:lnTo>
                        <a:pt x="52312" y="270283"/>
                      </a:lnTo>
                      <a:lnTo>
                        <a:pt x="54490" y="268214"/>
                      </a:lnTo>
                      <a:lnTo>
                        <a:pt x="56549" y="267167"/>
                      </a:lnTo>
                      <a:lnTo>
                        <a:pt x="58382" y="267465"/>
                      </a:lnTo>
                      <a:lnTo>
                        <a:pt x="59890" y="269563"/>
                      </a:lnTo>
                      <a:lnTo>
                        <a:pt x="58437" y="265069"/>
                      </a:lnTo>
                      <a:lnTo>
                        <a:pt x="51526" y="265316"/>
                      </a:lnTo>
                      <a:lnTo>
                        <a:pt x="48849" y="262387"/>
                      </a:lnTo>
                      <a:lnTo>
                        <a:pt x="51490" y="260365"/>
                      </a:lnTo>
                      <a:lnTo>
                        <a:pt x="53393" y="256867"/>
                      </a:lnTo>
                      <a:lnTo>
                        <a:pt x="56667" y="247303"/>
                      </a:lnTo>
                      <a:lnTo>
                        <a:pt x="81600" y="273750"/>
                      </a:lnTo>
                      <a:lnTo>
                        <a:pt x="78394" y="281899"/>
                      </a:lnTo>
                      <a:lnTo>
                        <a:pt x="75365" y="292960"/>
                      </a:lnTo>
                      <a:lnTo>
                        <a:pt x="73704" y="303740"/>
                      </a:lnTo>
                      <a:lnTo>
                        <a:pt x="74628" y="311077"/>
                      </a:lnTo>
                      <a:lnTo>
                        <a:pt x="82023" y="290873"/>
                      </a:lnTo>
                      <a:lnTo>
                        <a:pt x="85606" y="289725"/>
                      </a:lnTo>
                      <a:lnTo>
                        <a:pt x="93665" y="291993"/>
                      </a:lnTo>
                      <a:lnTo>
                        <a:pt x="96979" y="291092"/>
                      </a:lnTo>
                      <a:lnTo>
                        <a:pt x="97601" y="289091"/>
                      </a:lnTo>
                      <a:lnTo>
                        <a:pt x="98336" y="283047"/>
                      </a:lnTo>
                      <a:lnTo>
                        <a:pt x="99337" y="281949"/>
                      </a:lnTo>
                      <a:lnTo>
                        <a:pt x="104998" y="282465"/>
                      </a:lnTo>
                      <a:lnTo>
                        <a:pt x="107066" y="283415"/>
                      </a:lnTo>
                      <a:lnTo>
                        <a:pt x="109715" y="285377"/>
                      </a:lnTo>
                      <a:lnTo>
                        <a:pt x="115330" y="291447"/>
                      </a:lnTo>
                      <a:lnTo>
                        <a:pt x="117318" y="294941"/>
                      </a:lnTo>
                      <a:lnTo>
                        <a:pt x="119991" y="303414"/>
                      </a:lnTo>
                      <a:lnTo>
                        <a:pt x="121590" y="307192"/>
                      </a:lnTo>
                      <a:lnTo>
                        <a:pt x="139648" y="330391"/>
                      </a:lnTo>
                      <a:lnTo>
                        <a:pt x="146668" y="334382"/>
                      </a:lnTo>
                      <a:lnTo>
                        <a:pt x="163198" y="337284"/>
                      </a:lnTo>
                      <a:lnTo>
                        <a:pt x="159764" y="333479"/>
                      </a:lnTo>
                      <a:lnTo>
                        <a:pt x="144691" y="329095"/>
                      </a:lnTo>
                      <a:lnTo>
                        <a:pt x="142179" y="326456"/>
                      </a:lnTo>
                      <a:lnTo>
                        <a:pt x="139250" y="322035"/>
                      </a:lnTo>
                      <a:lnTo>
                        <a:pt x="137117" y="316504"/>
                      </a:lnTo>
                      <a:lnTo>
                        <a:pt x="136885" y="310610"/>
                      </a:lnTo>
                      <a:lnTo>
                        <a:pt x="138673" y="306866"/>
                      </a:lnTo>
                      <a:lnTo>
                        <a:pt x="142062" y="302347"/>
                      </a:lnTo>
                      <a:lnTo>
                        <a:pt x="148233" y="295726"/>
                      </a:lnTo>
                      <a:lnTo>
                        <a:pt x="152665" y="292428"/>
                      </a:lnTo>
                      <a:lnTo>
                        <a:pt x="165988" y="287208"/>
                      </a:lnTo>
                      <a:lnTo>
                        <a:pt x="245710" y="277428"/>
                      </a:lnTo>
                      <a:lnTo>
                        <a:pt x="246117" y="275072"/>
                      </a:lnTo>
                      <a:lnTo>
                        <a:pt x="196511" y="275547"/>
                      </a:lnTo>
                      <a:lnTo>
                        <a:pt x="186080" y="279939"/>
                      </a:lnTo>
                      <a:lnTo>
                        <a:pt x="160827" y="281237"/>
                      </a:lnTo>
                      <a:lnTo>
                        <a:pt x="154047" y="285090"/>
                      </a:lnTo>
                      <a:lnTo>
                        <a:pt x="132905" y="308766"/>
                      </a:lnTo>
                      <a:lnTo>
                        <a:pt x="126806" y="291257"/>
                      </a:lnTo>
                      <a:lnTo>
                        <a:pt x="126207" y="287024"/>
                      </a:lnTo>
                      <a:lnTo>
                        <a:pt x="129057" y="280304"/>
                      </a:lnTo>
                      <a:lnTo>
                        <a:pt x="133395" y="278670"/>
                      </a:lnTo>
                      <a:lnTo>
                        <a:pt x="137987" y="278871"/>
                      </a:lnTo>
                      <a:lnTo>
                        <a:pt x="141624" y="277674"/>
                      </a:lnTo>
                      <a:lnTo>
                        <a:pt x="139571" y="275675"/>
                      </a:lnTo>
                      <a:lnTo>
                        <a:pt x="137582" y="269280"/>
                      </a:lnTo>
                      <a:lnTo>
                        <a:pt x="136021" y="267013"/>
                      </a:lnTo>
                      <a:lnTo>
                        <a:pt x="133074" y="266620"/>
                      </a:lnTo>
                      <a:lnTo>
                        <a:pt x="125797" y="268315"/>
                      </a:lnTo>
                      <a:lnTo>
                        <a:pt x="122428" y="267081"/>
                      </a:lnTo>
                      <a:lnTo>
                        <a:pt x="119517" y="263040"/>
                      </a:lnTo>
                      <a:lnTo>
                        <a:pt x="116742" y="256433"/>
                      </a:lnTo>
                      <a:lnTo>
                        <a:pt x="115191" y="248796"/>
                      </a:lnTo>
                      <a:lnTo>
                        <a:pt x="116009" y="241651"/>
                      </a:lnTo>
                      <a:lnTo>
                        <a:pt x="120195" y="236489"/>
                      </a:lnTo>
                      <a:lnTo>
                        <a:pt x="126446" y="234305"/>
                      </a:lnTo>
                      <a:lnTo>
                        <a:pt x="144471" y="233239"/>
                      </a:lnTo>
                      <a:lnTo>
                        <a:pt x="150059" y="231249"/>
                      </a:lnTo>
                      <a:lnTo>
                        <a:pt x="160590" y="230475"/>
                      </a:lnTo>
                      <a:lnTo>
                        <a:pt x="164104" y="229053"/>
                      </a:lnTo>
                      <a:lnTo>
                        <a:pt x="157908" y="226329"/>
                      </a:lnTo>
                      <a:lnTo>
                        <a:pt x="148843" y="226559"/>
                      </a:lnTo>
                      <a:lnTo>
                        <a:pt x="143641" y="224913"/>
                      </a:lnTo>
                      <a:lnTo>
                        <a:pt x="149051" y="216639"/>
                      </a:lnTo>
                      <a:lnTo>
                        <a:pt x="156893" y="207042"/>
                      </a:lnTo>
                      <a:lnTo>
                        <a:pt x="159999" y="204287"/>
                      </a:lnTo>
                      <a:lnTo>
                        <a:pt x="169126" y="199959"/>
                      </a:lnTo>
                      <a:lnTo>
                        <a:pt x="178858" y="192060"/>
                      </a:lnTo>
                      <a:lnTo>
                        <a:pt x="193858" y="189257"/>
                      </a:lnTo>
                      <a:lnTo>
                        <a:pt x="208618" y="178684"/>
                      </a:lnTo>
                      <a:lnTo>
                        <a:pt x="216887" y="177957"/>
                      </a:lnTo>
                      <a:lnTo>
                        <a:pt x="232833" y="181395"/>
                      </a:lnTo>
                      <a:lnTo>
                        <a:pt x="233239" y="179082"/>
                      </a:lnTo>
                      <a:lnTo>
                        <a:pt x="211959" y="175233"/>
                      </a:lnTo>
                      <a:lnTo>
                        <a:pt x="207346" y="175665"/>
                      </a:lnTo>
                      <a:lnTo>
                        <a:pt x="185203" y="187738"/>
                      </a:lnTo>
                      <a:lnTo>
                        <a:pt x="176248" y="189347"/>
                      </a:lnTo>
                      <a:lnTo>
                        <a:pt x="169396" y="185690"/>
                      </a:lnTo>
                      <a:lnTo>
                        <a:pt x="166629" y="173873"/>
                      </a:lnTo>
                      <a:lnTo>
                        <a:pt x="193288" y="176611"/>
                      </a:lnTo>
                      <a:lnTo>
                        <a:pt x="193704" y="174285"/>
                      </a:lnTo>
                      <a:lnTo>
                        <a:pt x="192642" y="170443"/>
                      </a:lnTo>
                      <a:lnTo>
                        <a:pt x="190717" y="166700"/>
                      </a:lnTo>
                      <a:lnTo>
                        <a:pt x="189206" y="162289"/>
                      </a:lnTo>
                      <a:lnTo>
                        <a:pt x="189007" y="164855"/>
                      </a:lnTo>
                      <a:lnTo>
                        <a:pt x="187893" y="167969"/>
                      </a:lnTo>
                      <a:lnTo>
                        <a:pt x="185843" y="170451"/>
                      </a:lnTo>
                      <a:lnTo>
                        <a:pt x="182650" y="171735"/>
                      </a:lnTo>
                      <a:lnTo>
                        <a:pt x="181718" y="169374"/>
                      </a:lnTo>
                      <a:lnTo>
                        <a:pt x="181220" y="166064"/>
                      </a:lnTo>
                      <a:lnTo>
                        <a:pt x="179452" y="164465"/>
                      </a:lnTo>
                      <a:lnTo>
                        <a:pt x="178747" y="165220"/>
                      </a:lnTo>
                      <a:lnTo>
                        <a:pt x="175438" y="169729"/>
                      </a:lnTo>
                      <a:lnTo>
                        <a:pt x="174001" y="170650"/>
                      </a:lnTo>
                      <a:lnTo>
                        <a:pt x="172069" y="170764"/>
                      </a:lnTo>
                      <a:lnTo>
                        <a:pt x="170192" y="170329"/>
                      </a:lnTo>
                      <a:lnTo>
                        <a:pt x="168734" y="169672"/>
                      </a:lnTo>
                      <a:lnTo>
                        <a:pt x="166586" y="167599"/>
                      </a:lnTo>
                      <a:lnTo>
                        <a:pt x="165438" y="164839"/>
                      </a:lnTo>
                      <a:lnTo>
                        <a:pt x="164969" y="161318"/>
                      </a:lnTo>
                      <a:lnTo>
                        <a:pt x="164803" y="156937"/>
                      </a:lnTo>
                      <a:lnTo>
                        <a:pt x="162989" y="163381"/>
                      </a:lnTo>
                      <a:lnTo>
                        <a:pt x="159666" y="165279"/>
                      </a:lnTo>
                      <a:lnTo>
                        <a:pt x="155910" y="164190"/>
                      </a:lnTo>
                      <a:lnTo>
                        <a:pt x="152794" y="161674"/>
                      </a:lnTo>
                      <a:lnTo>
                        <a:pt x="153178" y="159572"/>
                      </a:lnTo>
                      <a:lnTo>
                        <a:pt x="155647" y="157959"/>
                      </a:lnTo>
                      <a:lnTo>
                        <a:pt x="157569" y="155184"/>
                      </a:lnTo>
                      <a:lnTo>
                        <a:pt x="159376" y="151916"/>
                      </a:lnTo>
                      <a:lnTo>
                        <a:pt x="161398" y="148903"/>
                      </a:lnTo>
                      <a:lnTo>
                        <a:pt x="163856" y="146286"/>
                      </a:lnTo>
                      <a:lnTo>
                        <a:pt x="166355" y="144248"/>
                      </a:lnTo>
                      <a:lnTo>
                        <a:pt x="171460" y="141164"/>
                      </a:lnTo>
                      <a:lnTo>
                        <a:pt x="181117" y="137679"/>
                      </a:lnTo>
                      <a:lnTo>
                        <a:pt x="185989" y="135033"/>
                      </a:lnTo>
                      <a:lnTo>
                        <a:pt x="190544" y="130096"/>
                      </a:lnTo>
                      <a:lnTo>
                        <a:pt x="190859" y="131498"/>
                      </a:lnTo>
                      <a:lnTo>
                        <a:pt x="191798" y="134032"/>
                      </a:lnTo>
                      <a:lnTo>
                        <a:pt x="192151" y="135384"/>
                      </a:lnTo>
                      <a:lnTo>
                        <a:pt x="193437" y="132604"/>
                      </a:lnTo>
                      <a:lnTo>
                        <a:pt x="194763" y="130244"/>
                      </a:lnTo>
                      <a:lnTo>
                        <a:pt x="198007" y="125778"/>
                      </a:lnTo>
                      <a:lnTo>
                        <a:pt x="199259" y="123177"/>
                      </a:lnTo>
                      <a:lnTo>
                        <a:pt x="200816" y="116284"/>
                      </a:lnTo>
                      <a:lnTo>
                        <a:pt x="202203" y="113249"/>
                      </a:lnTo>
                      <a:lnTo>
                        <a:pt x="206434" y="109564"/>
                      </a:lnTo>
                      <a:lnTo>
                        <a:pt x="240767" y="101616"/>
                      </a:lnTo>
                      <a:lnTo>
                        <a:pt x="261433" y="102170"/>
                      </a:lnTo>
                      <a:lnTo>
                        <a:pt x="255384" y="97115"/>
                      </a:lnTo>
                      <a:lnTo>
                        <a:pt x="225166" y="97859"/>
                      </a:lnTo>
                      <a:lnTo>
                        <a:pt x="212588" y="104514"/>
                      </a:lnTo>
                      <a:lnTo>
                        <a:pt x="206270" y="104170"/>
                      </a:lnTo>
                      <a:lnTo>
                        <a:pt x="209417" y="99471"/>
                      </a:lnTo>
                      <a:lnTo>
                        <a:pt x="213037" y="94872"/>
                      </a:lnTo>
                      <a:lnTo>
                        <a:pt x="216365" y="89790"/>
                      </a:lnTo>
                      <a:lnTo>
                        <a:pt x="218487" y="83499"/>
                      </a:lnTo>
                      <a:lnTo>
                        <a:pt x="219800" y="76961"/>
                      </a:lnTo>
                      <a:lnTo>
                        <a:pt x="221590" y="70668"/>
                      </a:lnTo>
                      <a:lnTo>
                        <a:pt x="223979" y="65541"/>
                      </a:lnTo>
                      <a:lnTo>
                        <a:pt x="227109" y="62410"/>
                      </a:lnTo>
                      <a:lnTo>
                        <a:pt x="222420" y="63755"/>
                      </a:lnTo>
                      <a:lnTo>
                        <a:pt x="217611" y="71169"/>
                      </a:lnTo>
                      <a:lnTo>
                        <a:pt x="213578" y="81013"/>
                      </a:lnTo>
                      <a:lnTo>
                        <a:pt x="211202" y="89587"/>
                      </a:lnTo>
                      <a:lnTo>
                        <a:pt x="210115" y="92176"/>
                      </a:lnTo>
                      <a:lnTo>
                        <a:pt x="207900" y="96047"/>
                      </a:lnTo>
                      <a:lnTo>
                        <a:pt x="203471" y="102555"/>
                      </a:lnTo>
                      <a:lnTo>
                        <a:pt x="198795" y="107988"/>
                      </a:lnTo>
                      <a:lnTo>
                        <a:pt x="190073" y="121341"/>
                      </a:lnTo>
                      <a:lnTo>
                        <a:pt x="187815" y="124113"/>
                      </a:lnTo>
                      <a:lnTo>
                        <a:pt x="185048" y="126877"/>
                      </a:lnTo>
                      <a:lnTo>
                        <a:pt x="176856" y="131480"/>
                      </a:lnTo>
                      <a:lnTo>
                        <a:pt x="172400" y="135345"/>
                      </a:lnTo>
                      <a:lnTo>
                        <a:pt x="165176" y="139048"/>
                      </a:lnTo>
                      <a:lnTo>
                        <a:pt x="162502" y="139493"/>
                      </a:lnTo>
                      <a:lnTo>
                        <a:pt x="159806" y="137114"/>
                      </a:lnTo>
                      <a:lnTo>
                        <a:pt x="159157" y="129679"/>
                      </a:lnTo>
                      <a:lnTo>
                        <a:pt x="156517" y="128755"/>
                      </a:lnTo>
                      <a:lnTo>
                        <a:pt x="156707" y="133599"/>
                      </a:lnTo>
                      <a:lnTo>
                        <a:pt x="155664" y="134048"/>
                      </a:lnTo>
                      <a:lnTo>
                        <a:pt x="153861" y="135227"/>
                      </a:lnTo>
                      <a:lnTo>
                        <a:pt x="152837" y="135492"/>
                      </a:lnTo>
                      <a:lnTo>
                        <a:pt x="152448" y="137609"/>
                      </a:lnTo>
                      <a:lnTo>
                        <a:pt x="153947" y="138650"/>
                      </a:lnTo>
                      <a:lnTo>
                        <a:pt x="155022" y="140339"/>
                      </a:lnTo>
                      <a:lnTo>
                        <a:pt x="155635" y="142715"/>
                      </a:lnTo>
                      <a:lnTo>
                        <a:pt x="155725" y="145652"/>
                      </a:lnTo>
                      <a:lnTo>
                        <a:pt x="146303" y="151238"/>
                      </a:lnTo>
                      <a:lnTo>
                        <a:pt x="141794" y="151963"/>
                      </a:lnTo>
                      <a:lnTo>
                        <a:pt x="140978" y="146256"/>
                      </a:lnTo>
                      <a:lnTo>
                        <a:pt x="140986" y="142577"/>
                      </a:lnTo>
                      <a:lnTo>
                        <a:pt x="139993" y="139899"/>
                      </a:lnTo>
                      <a:lnTo>
                        <a:pt x="138824" y="137545"/>
                      </a:lnTo>
                      <a:lnTo>
                        <a:pt x="138145" y="134911"/>
                      </a:lnTo>
                      <a:lnTo>
                        <a:pt x="138310" y="130390"/>
                      </a:lnTo>
                      <a:lnTo>
                        <a:pt x="138987" y="127039"/>
                      </a:lnTo>
                      <a:lnTo>
                        <a:pt x="139970" y="123847"/>
                      </a:lnTo>
                      <a:lnTo>
                        <a:pt x="140951" y="119722"/>
                      </a:lnTo>
                      <a:lnTo>
                        <a:pt x="147434" y="121249"/>
                      </a:lnTo>
                      <a:lnTo>
                        <a:pt x="188951" y="117986"/>
                      </a:lnTo>
                      <a:lnTo>
                        <a:pt x="186339" y="113067"/>
                      </a:lnTo>
                      <a:lnTo>
                        <a:pt x="181471" y="111164"/>
                      </a:lnTo>
                      <a:lnTo>
                        <a:pt x="175945" y="111523"/>
                      </a:lnTo>
                      <a:lnTo>
                        <a:pt x="166566" y="114924"/>
                      </a:lnTo>
                      <a:lnTo>
                        <a:pt x="145664" y="109318"/>
                      </a:lnTo>
                      <a:lnTo>
                        <a:pt x="143377" y="107769"/>
                      </a:lnTo>
                      <a:lnTo>
                        <a:pt x="141197" y="105338"/>
                      </a:lnTo>
                      <a:lnTo>
                        <a:pt x="140007" y="102893"/>
                      </a:lnTo>
                      <a:lnTo>
                        <a:pt x="138475" y="97519"/>
                      </a:lnTo>
                      <a:lnTo>
                        <a:pt x="137432" y="96333"/>
                      </a:lnTo>
                      <a:lnTo>
                        <a:pt x="136342" y="94695"/>
                      </a:lnTo>
                      <a:lnTo>
                        <a:pt x="135541" y="87983"/>
                      </a:lnTo>
                      <a:lnTo>
                        <a:pt x="135032" y="86039"/>
                      </a:lnTo>
                      <a:lnTo>
                        <a:pt x="133174" y="85728"/>
                      </a:lnTo>
                      <a:lnTo>
                        <a:pt x="129312" y="88772"/>
                      </a:lnTo>
                      <a:lnTo>
                        <a:pt x="127102" y="89338"/>
                      </a:lnTo>
                      <a:lnTo>
                        <a:pt x="129680" y="100758"/>
                      </a:lnTo>
                      <a:lnTo>
                        <a:pt x="129522" y="105825"/>
                      </a:lnTo>
                      <a:lnTo>
                        <a:pt x="126652" y="111322"/>
                      </a:lnTo>
                      <a:lnTo>
                        <a:pt x="122226" y="114774"/>
                      </a:lnTo>
                      <a:lnTo>
                        <a:pt x="117067" y="115591"/>
                      </a:lnTo>
                      <a:lnTo>
                        <a:pt x="112997" y="112921"/>
                      </a:lnTo>
                      <a:lnTo>
                        <a:pt x="111722" y="105828"/>
                      </a:lnTo>
                      <a:lnTo>
                        <a:pt x="111138" y="114139"/>
                      </a:lnTo>
                      <a:lnTo>
                        <a:pt x="107059" y="119429"/>
                      </a:lnTo>
                      <a:lnTo>
                        <a:pt x="97034" y="124859"/>
                      </a:lnTo>
                      <a:lnTo>
                        <a:pt x="100054" y="126159"/>
                      </a:lnTo>
                      <a:lnTo>
                        <a:pt x="113820" y="120655"/>
                      </a:lnTo>
                      <a:lnTo>
                        <a:pt x="118745" y="120639"/>
                      </a:lnTo>
                      <a:lnTo>
                        <a:pt x="122204" y="122388"/>
                      </a:lnTo>
                      <a:lnTo>
                        <a:pt x="124789" y="126103"/>
                      </a:lnTo>
                      <a:lnTo>
                        <a:pt x="131229" y="139686"/>
                      </a:lnTo>
                      <a:lnTo>
                        <a:pt x="131545" y="143410"/>
                      </a:lnTo>
                      <a:lnTo>
                        <a:pt x="130301" y="151550"/>
                      </a:lnTo>
                      <a:lnTo>
                        <a:pt x="127760" y="152429"/>
                      </a:lnTo>
                      <a:lnTo>
                        <a:pt x="116643" y="151614"/>
                      </a:lnTo>
                      <a:lnTo>
                        <a:pt x="113447" y="149414"/>
                      </a:lnTo>
                      <a:lnTo>
                        <a:pt x="110859" y="152958"/>
                      </a:lnTo>
                      <a:lnTo>
                        <a:pt x="108298" y="152983"/>
                      </a:lnTo>
                      <a:lnTo>
                        <a:pt x="102823" y="150013"/>
                      </a:lnTo>
                      <a:lnTo>
                        <a:pt x="101485" y="150530"/>
                      </a:lnTo>
                      <a:lnTo>
                        <a:pt x="101086" y="152344"/>
                      </a:lnTo>
                      <a:lnTo>
                        <a:pt x="100823" y="154684"/>
                      </a:lnTo>
                      <a:lnTo>
                        <a:pt x="99842" y="156644"/>
                      </a:lnTo>
                      <a:lnTo>
                        <a:pt x="97191" y="158541"/>
                      </a:lnTo>
                      <a:lnTo>
                        <a:pt x="96187" y="159451"/>
                      </a:lnTo>
                      <a:lnTo>
                        <a:pt x="93913" y="160818"/>
                      </a:lnTo>
                      <a:lnTo>
                        <a:pt x="85777" y="163644"/>
                      </a:lnTo>
                      <a:lnTo>
                        <a:pt x="83715" y="162944"/>
                      </a:lnTo>
                      <a:lnTo>
                        <a:pt x="84110" y="158608"/>
                      </a:lnTo>
                      <a:lnTo>
                        <a:pt x="86401" y="155069"/>
                      </a:lnTo>
                      <a:lnTo>
                        <a:pt x="89389" y="152867"/>
                      </a:lnTo>
                      <a:lnTo>
                        <a:pt x="91787" y="152700"/>
                      </a:lnTo>
                      <a:lnTo>
                        <a:pt x="92266" y="150156"/>
                      </a:lnTo>
                      <a:lnTo>
                        <a:pt x="89635" y="142427"/>
                      </a:lnTo>
                      <a:lnTo>
                        <a:pt x="89141" y="129751"/>
                      </a:lnTo>
                      <a:lnTo>
                        <a:pt x="87253" y="120157"/>
                      </a:lnTo>
                      <a:lnTo>
                        <a:pt x="82322" y="121721"/>
                      </a:lnTo>
                      <a:lnTo>
                        <a:pt x="83815" y="122684"/>
                      </a:lnTo>
                      <a:lnTo>
                        <a:pt x="84908" y="124530"/>
                      </a:lnTo>
                      <a:lnTo>
                        <a:pt x="85675" y="127259"/>
                      </a:lnTo>
                      <a:lnTo>
                        <a:pt x="83123" y="133641"/>
                      </a:lnTo>
                      <a:lnTo>
                        <a:pt x="80106" y="148174"/>
                      </a:lnTo>
                      <a:lnTo>
                        <a:pt x="77569" y="153541"/>
                      </a:lnTo>
                      <a:lnTo>
                        <a:pt x="73281" y="158569"/>
                      </a:lnTo>
                      <a:lnTo>
                        <a:pt x="68912" y="162619"/>
                      </a:lnTo>
                      <a:lnTo>
                        <a:pt x="64243" y="164545"/>
                      </a:lnTo>
                      <a:lnTo>
                        <a:pt x="59116" y="163183"/>
                      </a:lnTo>
                      <a:lnTo>
                        <a:pt x="56392" y="159209"/>
                      </a:lnTo>
                      <a:lnTo>
                        <a:pt x="54128" y="152012"/>
                      </a:lnTo>
                      <a:lnTo>
                        <a:pt x="53540" y="143869"/>
                      </a:lnTo>
                      <a:lnTo>
                        <a:pt x="56003" y="137199"/>
                      </a:lnTo>
                      <a:lnTo>
                        <a:pt x="59002" y="131079"/>
                      </a:lnTo>
                      <a:lnTo>
                        <a:pt x="60659" y="123505"/>
                      </a:lnTo>
                      <a:lnTo>
                        <a:pt x="60006" y="118846"/>
                      </a:lnTo>
                      <a:lnTo>
                        <a:pt x="55961" y="121448"/>
                      </a:lnTo>
                      <a:lnTo>
                        <a:pt x="53325" y="126736"/>
                      </a:lnTo>
                      <a:lnTo>
                        <a:pt x="51770" y="133455"/>
                      </a:lnTo>
                      <a:lnTo>
                        <a:pt x="49619" y="148071"/>
                      </a:lnTo>
                      <a:lnTo>
                        <a:pt x="48506" y="152110"/>
                      </a:lnTo>
                      <a:lnTo>
                        <a:pt x="47110" y="154501"/>
                      </a:lnTo>
                      <a:lnTo>
                        <a:pt x="45494" y="154914"/>
                      </a:lnTo>
                      <a:lnTo>
                        <a:pt x="43781" y="152941"/>
                      </a:lnTo>
                      <a:lnTo>
                        <a:pt x="43172" y="150025"/>
                      </a:lnTo>
                      <a:lnTo>
                        <a:pt x="43338" y="146130"/>
                      </a:lnTo>
                      <a:lnTo>
                        <a:pt x="44094" y="138564"/>
                      </a:lnTo>
                      <a:lnTo>
                        <a:pt x="43054" y="133052"/>
                      </a:lnTo>
                      <a:lnTo>
                        <a:pt x="43109" y="129135"/>
                      </a:lnTo>
                      <a:lnTo>
                        <a:pt x="45903" y="122375"/>
                      </a:lnTo>
                      <a:lnTo>
                        <a:pt x="46623" y="118043"/>
                      </a:lnTo>
                      <a:lnTo>
                        <a:pt x="46696" y="114113"/>
                      </a:lnTo>
                      <a:lnTo>
                        <a:pt x="46089" y="112272"/>
                      </a:lnTo>
                      <a:lnTo>
                        <a:pt x="43940" y="112147"/>
                      </a:lnTo>
                      <a:lnTo>
                        <a:pt x="43087" y="113240"/>
                      </a:lnTo>
                      <a:lnTo>
                        <a:pt x="39185" y="131297"/>
                      </a:lnTo>
                      <a:lnTo>
                        <a:pt x="39079" y="132753"/>
                      </a:lnTo>
                      <a:lnTo>
                        <a:pt x="32561" y="134714"/>
                      </a:lnTo>
                      <a:lnTo>
                        <a:pt x="26415" y="105431"/>
                      </a:lnTo>
                      <a:lnTo>
                        <a:pt x="21676" y="102589"/>
                      </a:lnTo>
                      <a:lnTo>
                        <a:pt x="21680" y="97424"/>
                      </a:lnTo>
                      <a:lnTo>
                        <a:pt x="22210" y="90916"/>
                      </a:lnTo>
                      <a:lnTo>
                        <a:pt x="23017" y="85040"/>
                      </a:lnTo>
                      <a:lnTo>
                        <a:pt x="23066" y="85039"/>
                      </a:lnTo>
                      <a:lnTo>
                        <a:pt x="28452" y="84971"/>
                      </a:lnTo>
                      <a:lnTo>
                        <a:pt x="38843" y="83347"/>
                      </a:lnTo>
                      <a:lnTo>
                        <a:pt x="45540" y="82219"/>
                      </a:lnTo>
                      <a:lnTo>
                        <a:pt x="51514" y="79270"/>
                      </a:lnTo>
                      <a:lnTo>
                        <a:pt x="52918" y="79365"/>
                      </a:lnTo>
                      <a:lnTo>
                        <a:pt x="57733" y="80682"/>
                      </a:lnTo>
                      <a:lnTo>
                        <a:pt x="62906" y="80256"/>
                      </a:lnTo>
                      <a:lnTo>
                        <a:pt x="62905" y="80261"/>
                      </a:lnTo>
                      <a:lnTo>
                        <a:pt x="62521" y="82408"/>
                      </a:lnTo>
                      <a:lnTo>
                        <a:pt x="63680" y="84471"/>
                      </a:lnTo>
                      <a:lnTo>
                        <a:pt x="64792" y="84060"/>
                      </a:lnTo>
                      <a:lnTo>
                        <a:pt x="67391" y="81502"/>
                      </a:lnTo>
                      <a:lnTo>
                        <a:pt x="68789" y="80659"/>
                      </a:lnTo>
                      <a:lnTo>
                        <a:pt x="80841" y="77746"/>
                      </a:lnTo>
                      <a:lnTo>
                        <a:pt x="83087" y="76020"/>
                      </a:lnTo>
                      <a:lnTo>
                        <a:pt x="85823" y="71495"/>
                      </a:lnTo>
                      <a:lnTo>
                        <a:pt x="86406" y="70180"/>
                      </a:lnTo>
                      <a:lnTo>
                        <a:pt x="98142" y="70990"/>
                      </a:lnTo>
                      <a:lnTo>
                        <a:pt x="109828" y="67547"/>
                      </a:lnTo>
                      <a:lnTo>
                        <a:pt x="124246" y="66999"/>
                      </a:lnTo>
                      <a:lnTo>
                        <a:pt x="141571" y="70717"/>
                      </a:lnTo>
                      <a:lnTo>
                        <a:pt x="149793" y="68549"/>
                      </a:lnTo>
                      <a:lnTo>
                        <a:pt x="155554" y="65338"/>
                      </a:lnTo>
                      <a:lnTo>
                        <a:pt x="161585" y="63886"/>
                      </a:lnTo>
                      <a:lnTo>
                        <a:pt x="163001" y="64579"/>
                      </a:lnTo>
                      <a:lnTo>
                        <a:pt x="166677" y="68034"/>
                      </a:lnTo>
                      <a:lnTo>
                        <a:pt x="168257" y="68294"/>
                      </a:lnTo>
                      <a:lnTo>
                        <a:pt x="173404" y="66533"/>
                      </a:lnTo>
                      <a:lnTo>
                        <a:pt x="200454" y="71474"/>
                      </a:lnTo>
                      <a:lnTo>
                        <a:pt x="202801" y="69308"/>
                      </a:lnTo>
                      <a:lnTo>
                        <a:pt x="204801" y="58523"/>
                      </a:lnTo>
                      <a:lnTo>
                        <a:pt x="210922" y="49333"/>
                      </a:lnTo>
                      <a:lnTo>
                        <a:pt x="219648" y="38239"/>
                      </a:lnTo>
                      <a:lnTo>
                        <a:pt x="223676" y="30987"/>
                      </a:lnTo>
                      <a:lnTo>
                        <a:pt x="227592" y="22604"/>
                      </a:lnTo>
                      <a:lnTo>
                        <a:pt x="230217" y="18962"/>
                      </a:lnTo>
                      <a:lnTo>
                        <a:pt x="232367" y="17057"/>
                      </a:lnTo>
                      <a:lnTo>
                        <a:pt x="233679" y="17124"/>
                      </a:lnTo>
                      <a:lnTo>
                        <a:pt x="235247" y="17556"/>
                      </a:lnTo>
                      <a:lnTo>
                        <a:pt x="236987" y="16865"/>
                      </a:lnTo>
                      <a:lnTo>
                        <a:pt x="240976" y="13388"/>
                      </a:lnTo>
                      <a:lnTo>
                        <a:pt x="253610" y="9362"/>
                      </a:lnTo>
                      <a:lnTo>
                        <a:pt x="258489" y="5650"/>
                      </a:lnTo>
                      <a:lnTo>
                        <a:pt x="268197" y="1517"/>
                      </a:lnTo>
                      <a:close/>
                    </a:path>
                  </a:pathLst>
                </a:custGeom>
                <a:solidFill>
                  <a:srgbClr val="C7DFE3"/>
                </a:solidFill>
                <a:ln w="3175" cap="rnd">
                  <a:solidFill>
                    <a:srgbClr val="C7DFE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Freeform 96">
                  <a:extLst>
                    <a:ext uri="{FF2B5EF4-FFF2-40B4-BE49-F238E27FC236}">
                      <a16:creationId xmlns:a16="http://schemas.microsoft.com/office/drawing/2014/main" id="{5DDBB483-A3F5-4E36-AED6-D09A745D314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"/>
                  </p:custDataLst>
                </p:nvPr>
              </p:nvSpPr>
              <p:spPr>
                <a:xfrm>
                  <a:off x="1807930" y="3120265"/>
                  <a:ext cx="578780" cy="5405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4528" h="583322">
                      <a:moveTo>
                        <a:pt x="25079" y="420241"/>
                      </a:moveTo>
                      <a:lnTo>
                        <a:pt x="25852" y="421926"/>
                      </a:lnTo>
                      <a:lnTo>
                        <a:pt x="24363" y="423630"/>
                      </a:lnTo>
                      <a:lnTo>
                        <a:pt x="22222" y="424279"/>
                      </a:lnTo>
                      <a:lnTo>
                        <a:pt x="22390" y="424687"/>
                      </a:lnTo>
                      <a:lnTo>
                        <a:pt x="27449" y="424499"/>
                      </a:lnTo>
                      <a:lnTo>
                        <a:pt x="29966" y="424874"/>
                      </a:lnTo>
                      <a:lnTo>
                        <a:pt x="31745" y="426276"/>
                      </a:lnTo>
                      <a:lnTo>
                        <a:pt x="31658" y="427811"/>
                      </a:lnTo>
                      <a:lnTo>
                        <a:pt x="30449" y="427446"/>
                      </a:lnTo>
                      <a:lnTo>
                        <a:pt x="29350" y="427981"/>
                      </a:lnTo>
                      <a:lnTo>
                        <a:pt x="29452" y="430158"/>
                      </a:lnTo>
                      <a:lnTo>
                        <a:pt x="31029" y="431878"/>
                      </a:lnTo>
                      <a:lnTo>
                        <a:pt x="32565" y="434422"/>
                      </a:lnTo>
                      <a:lnTo>
                        <a:pt x="34725" y="445214"/>
                      </a:lnTo>
                      <a:lnTo>
                        <a:pt x="34517" y="447628"/>
                      </a:lnTo>
                      <a:lnTo>
                        <a:pt x="33654" y="448443"/>
                      </a:lnTo>
                      <a:lnTo>
                        <a:pt x="33971" y="448810"/>
                      </a:lnTo>
                      <a:lnTo>
                        <a:pt x="34741" y="450119"/>
                      </a:lnTo>
                      <a:lnTo>
                        <a:pt x="34690" y="451200"/>
                      </a:lnTo>
                      <a:lnTo>
                        <a:pt x="34450" y="452042"/>
                      </a:lnTo>
                      <a:lnTo>
                        <a:pt x="33608" y="452960"/>
                      </a:lnTo>
                      <a:lnTo>
                        <a:pt x="32457" y="452781"/>
                      </a:lnTo>
                      <a:lnTo>
                        <a:pt x="29328" y="451045"/>
                      </a:lnTo>
                      <a:lnTo>
                        <a:pt x="26620" y="448130"/>
                      </a:lnTo>
                      <a:lnTo>
                        <a:pt x="26257" y="444547"/>
                      </a:lnTo>
                      <a:lnTo>
                        <a:pt x="26845" y="441508"/>
                      </a:lnTo>
                      <a:lnTo>
                        <a:pt x="26432" y="440099"/>
                      </a:lnTo>
                      <a:lnTo>
                        <a:pt x="25834" y="440709"/>
                      </a:lnTo>
                      <a:lnTo>
                        <a:pt x="25040" y="440904"/>
                      </a:lnTo>
                      <a:lnTo>
                        <a:pt x="22840" y="438537"/>
                      </a:lnTo>
                      <a:lnTo>
                        <a:pt x="21438" y="436436"/>
                      </a:lnTo>
                      <a:lnTo>
                        <a:pt x="21305" y="433864"/>
                      </a:lnTo>
                      <a:lnTo>
                        <a:pt x="22092" y="431914"/>
                      </a:lnTo>
                      <a:lnTo>
                        <a:pt x="22192" y="429778"/>
                      </a:lnTo>
                      <a:lnTo>
                        <a:pt x="21614" y="427545"/>
                      </a:lnTo>
                      <a:lnTo>
                        <a:pt x="20796" y="428066"/>
                      </a:lnTo>
                      <a:lnTo>
                        <a:pt x="19642" y="430242"/>
                      </a:lnTo>
                      <a:lnTo>
                        <a:pt x="18448" y="429937"/>
                      </a:lnTo>
                      <a:lnTo>
                        <a:pt x="17273" y="427896"/>
                      </a:lnTo>
                      <a:lnTo>
                        <a:pt x="15902" y="427093"/>
                      </a:lnTo>
                      <a:lnTo>
                        <a:pt x="14569" y="427334"/>
                      </a:lnTo>
                      <a:lnTo>
                        <a:pt x="14243" y="427022"/>
                      </a:lnTo>
                      <a:lnTo>
                        <a:pt x="14824" y="426222"/>
                      </a:lnTo>
                      <a:lnTo>
                        <a:pt x="14752" y="424870"/>
                      </a:lnTo>
                      <a:lnTo>
                        <a:pt x="14323" y="422667"/>
                      </a:lnTo>
                      <a:lnTo>
                        <a:pt x="15465" y="421036"/>
                      </a:lnTo>
                      <a:lnTo>
                        <a:pt x="17933" y="420284"/>
                      </a:lnTo>
                      <a:close/>
                      <a:moveTo>
                        <a:pt x="10500" y="368028"/>
                      </a:moveTo>
                      <a:lnTo>
                        <a:pt x="12301" y="368448"/>
                      </a:lnTo>
                      <a:lnTo>
                        <a:pt x="12790" y="370664"/>
                      </a:lnTo>
                      <a:lnTo>
                        <a:pt x="12752" y="373821"/>
                      </a:lnTo>
                      <a:lnTo>
                        <a:pt x="13146" y="376434"/>
                      </a:lnTo>
                      <a:lnTo>
                        <a:pt x="12400" y="378034"/>
                      </a:lnTo>
                      <a:lnTo>
                        <a:pt x="11801" y="380338"/>
                      </a:lnTo>
                      <a:lnTo>
                        <a:pt x="12880" y="383411"/>
                      </a:lnTo>
                      <a:lnTo>
                        <a:pt x="14360" y="385547"/>
                      </a:lnTo>
                      <a:lnTo>
                        <a:pt x="14979" y="388293"/>
                      </a:lnTo>
                      <a:lnTo>
                        <a:pt x="13919" y="392990"/>
                      </a:lnTo>
                      <a:lnTo>
                        <a:pt x="11666" y="397395"/>
                      </a:lnTo>
                      <a:lnTo>
                        <a:pt x="8955" y="400021"/>
                      </a:lnTo>
                      <a:lnTo>
                        <a:pt x="6892" y="400440"/>
                      </a:lnTo>
                      <a:lnTo>
                        <a:pt x="6440" y="398503"/>
                      </a:lnTo>
                      <a:lnTo>
                        <a:pt x="6897" y="395809"/>
                      </a:lnTo>
                      <a:lnTo>
                        <a:pt x="8179" y="392956"/>
                      </a:lnTo>
                      <a:lnTo>
                        <a:pt x="9359" y="389923"/>
                      </a:lnTo>
                      <a:lnTo>
                        <a:pt x="8757" y="390143"/>
                      </a:lnTo>
                      <a:lnTo>
                        <a:pt x="6682" y="393607"/>
                      </a:lnTo>
                      <a:lnTo>
                        <a:pt x="5385" y="395175"/>
                      </a:lnTo>
                      <a:lnTo>
                        <a:pt x="4638" y="396098"/>
                      </a:lnTo>
                      <a:lnTo>
                        <a:pt x="3142" y="396604"/>
                      </a:lnTo>
                      <a:lnTo>
                        <a:pt x="2266" y="394234"/>
                      </a:lnTo>
                      <a:lnTo>
                        <a:pt x="2432" y="390457"/>
                      </a:lnTo>
                      <a:lnTo>
                        <a:pt x="2113" y="388765"/>
                      </a:lnTo>
                      <a:lnTo>
                        <a:pt x="756" y="388193"/>
                      </a:lnTo>
                      <a:lnTo>
                        <a:pt x="0" y="385588"/>
                      </a:lnTo>
                      <a:lnTo>
                        <a:pt x="249" y="382160"/>
                      </a:lnTo>
                      <a:lnTo>
                        <a:pt x="718" y="378877"/>
                      </a:lnTo>
                      <a:lnTo>
                        <a:pt x="1717" y="376800"/>
                      </a:lnTo>
                      <a:lnTo>
                        <a:pt x="1989" y="376024"/>
                      </a:lnTo>
                      <a:lnTo>
                        <a:pt x="1381" y="374860"/>
                      </a:lnTo>
                      <a:lnTo>
                        <a:pt x="1713" y="373994"/>
                      </a:lnTo>
                      <a:lnTo>
                        <a:pt x="4517" y="372526"/>
                      </a:lnTo>
                      <a:lnTo>
                        <a:pt x="5386" y="372220"/>
                      </a:lnTo>
                      <a:lnTo>
                        <a:pt x="6165" y="372081"/>
                      </a:lnTo>
                      <a:lnTo>
                        <a:pt x="7519" y="370567"/>
                      </a:lnTo>
                      <a:lnTo>
                        <a:pt x="8795" y="368619"/>
                      </a:lnTo>
                      <a:close/>
                      <a:moveTo>
                        <a:pt x="47228" y="332879"/>
                      </a:moveTo>
                      <a:lnTo>
                        <a:pt x="48307" y="336207"/>
                      </a:lnTo>
                      <a:lnTo>
                        <a:pt x="48256" y="347294"/>
                      </a:lnTo>
                      <a:lnTo>
                        <a:pt x="47774" y="353562"/>
                      </a:lnTo>
                      <a:lnTo>
                        <a:pt x="48032" y="356389"/>
                      </a:lnTo>
                      <a:lnTo>
                        <a:pt x="49476" y="355896"/>
                      </a:lnTo>
                      <a:lnTo>
                        <a:pt x="50424" y="353676"/>
                      </a:lnTo>
                      <a:lnTo>
                        <a:pt x="50960" y="350755"/>
                      </a:lnTo>
                      <a:lnTo>
                        <a:pt x="51146" y="347788"/>
                      </a:lnTo>
                      <a:lnTo>
                        <a:pt x="51059" y="345485"/>
                      </a:lnTo>
                      <a:lnTo>
                        <a:pt x="52690" y="346037"/>
                      </a:lnTo>
                      <a:lnTo>
                        <a:pt x="54129" y="345902"/>
                      </a:lnTo>
                      <a:lnTo>
                        <a:pt x="55522" y="345240"/>
                      </a:lnTo>
                      <a:lnTo>
                        <a:pt x="57148" y="344108"/>
                      </a:lnTo>
                      <a:lnTo>
                        <a:pt x="56613" y="342921"/>
                      </a:lnTo>
                      <a:lnTo>
                        <a:pt x="56224" y="340742"/>
                      </a:lnTo>
                      <a:lnTo>
                        <a:pt x="55749" y="338991"/>
                      </a:lnTo>
                      <a:lnTo>
                        <a:pt x="57860" y="339010"/>
                      </a:lnTo>
                      <a:lnTo>
                        <a:pt x="59534" y="340101"/>
                      </a:lnTo>
                      <a:lnTo>
                        <a:pt x="60716" y="342125"/>
                      </a:lnTo>
                      <a:lnTo>
                        <a:pt x="61478" y="344997"/>
                      </a:lnTo>
                      <a:lnTo>
                        <a:pt x="61868" y="365468"/>
                      </a:lnTo>
                      <a:lnTo>
                        <a:pt x="60537" y="370427"/>
                      </a:lnTo>
                      <a:lnTo>
                        <a:pt x="56827" y="374121"/>
                      </a:lnTo>
                      <a:lnTo>
                        <a:pt x="48924" y="378290"/>
                      </a:lnTo>
                      <a:lnTo>
                        <a:pt x="45343" y="381793"/>
                      </a:lnTo>
                      <a:lnTo>
                        <a:pt x="42210" y="383892"/>
                      </a:lnTo>
                      <a:lnTo>
                        <a:pt x="41670" y="378951"/>
                      </a:lnTo>
                      <a:lnTo>
                        <a:pt x="41528" y="371850"/>
                      </a:lnTo>
                      <a:lnTo>
                        <a:pt x="39514" y="367423"/>
                      </a:lnTo>
                      <a:lnTo>
                        <a:pt x="38742" y="368903"/>
                      </a:lnTo>
                      <a:lnTo>
                        <a:pt x="32703" y="373690"/>
                      </a:lnTo>
                      <a:lnTo>
                        <a:pt x="31695" y="374143"/>
                      </a:lnTo>
                      <a:lnTo>
                        <a:pt x="30226" y="376857"/>
                      </a:lnTo>
                      <a:lnTo>
                        <a:pt x="29532" y="379373"/>
                      </a:lnTo>
                      <a:lnTo>
                        <a:pt x="28653" y="381778"/>
                      </a:lnTo>
                      <a:lnTo>
                        <a:pt x="26714" y="384065"/>
                      </a:lnTo>
                      <a:lnTo>
                        <a:pt x="26827" y="378337"/>
                      </a:lnTo>
                      <a:lnTo>
                        <a:pt x="27925" y="371463"/>
                      </a:lnTo>
                      <a:lnTo>
                        <a:pt x="30573" y="359446"/>
                      </a:lnTo>
                      <a:lnTo>
                        <a:pt x="30964" y="356853"/>
                      </a:lnTo>
                      <a:lnTo>
                        <a:pt x="30999" y="353021"/>
                      </a:lnTo>
                      <a:lnTo>
                        <a:pt x="31479" y="349857"/>
                      </a:lnTo>
                      <a:lnTo>
                        <a:pt x="32724" y="347426"/>
                      </a:lnTo>
                      <a:lnTo>
                        <a:pt x="36718" y="347667"/>
                      </a:lnTo>
                      <a:lnTo>
                        <a:pt x="39250" y="345431"/>
                      </a:lnTo>
                      <a:lnTo>
                        <a:pt x="40298" y="357638"/>
                      </a:lnTo>
                      <a:lnTo>
                        <a:pt x="41731" y="360608"/>
                      </a:lnTo>
                      <a:lnTo>
                        <a:pt x="44181" y="355911"/>
                      </a:lnTo>
                      <a:lnTo>
                        <a:pt x="44777" y="351205"/>
                      </a:lnTo>
                      <a:lnTo>
                        <a:pt x="43914" y="334349"/>
                      </a:lnTo>
                      <a:close/>
                      <a:moveTo>
                        <a:pt x="83772" y="159806"/>
                      </a:moveTo>
                      <a:lnTo>
                        <a:pt x="85126" y="161035"/>
                      </a:lnTo>
                      <a:lnTo>
                        <a:pt x="83976" y="164679"/>
                      </a:lnTo>
                      <a:lnTo>
                        <a:pt x="84707" y="166700"/>
                      </a:lnTo>
                      <a:lnTo>
                        <a:pt x="85043" y="169329"/>
                      </a:lnTo>
                      <a:lnTo>
                        <a:pt x="85777" y="170874"/>
                      </a:lnTo>
                      <a:lnTo>
                        <a:pt x="86443" y="173959"/>
                      </a:lnTo>
                      <a:lnTo>
                        <a:pt x="85553" y="179410"/>
                      </a:lnTo>
                      <a:lnTo>
                        <a:pt x="84706" y="181968"/>
                      </a:lnTo>
                      <a:lnTo>
                        <a:pt x="84774" y="181234"/>
                      </a:lnTo>
                      <a:lnTo>
                        <a:pt x="84579" y="179512"/>
                      </a:lnTo>
                      <a:lnTo>
                        <a:pt x="83691" y="178121"/>
                      </a:lnTo>
                      <a:lnTo>
                        <a:pt x="82422" y="177327"/>
                      </a:lnTo>
                      <a:lnTo>
                        <a:pt x="79167" y="178393"/>
                      </a:lnTo>
                      <a:lnTo>
                        <a:pt x="78001" y="177362"/>
                      </a:lnTo>
                      <a:lnTo>
                        <a:pt x="77492" y="176653"/>
                      </a:lnTo>
                      <a:lnTo>
                        <a:pt x="76784" y="175916"/>
                      </a:lnTo>
                      <a:lnTo>
                        <a:pt x="75929" y="174099"/>
                      </a:lnTo>
                      <a:lnTo>
                        <a:pt x="75539" y="172279"/>
                      </a:lnTo>
                      <a:lnTo>
                        <a:pt x="75313" y="169787"/>
                      </a:lnTo>
                      <a:lnTo>
                        <a:pt x="75644" y="166836"/>
                      </a:lnTo>
                      <a:lnTo>
                        <a:pt x="76462" y="164965"/>
                      </a:lnTo>
                      <a:lnTo>
                        <a:pt x="77667" y="163862"/>
                      </a:lnTo>
                      <a:lnTo>
                        <a:pt x="79345" y="163505"/>
                      </a:lnTo>
                      <a:lnTo>
                        <a:pt x="80980" y="163628"/>
                      </a:lnTo>
                      <a:lnTo>
                        <a:pt x="82163" y="161760"/>
                      </a:lnTo>
                      <a:close/>
                      <a:moveTo>
                        <a:pt x="102713" y="98878"/>
                      </a:moveTo>
                      <a:lnTo>
                        <a:pt x="109557" y="100718"/>
                      </a:lnTo>
                      <a:lnTo>
                        <a:pt x="149333" y="125931"/>
                      </a:lnTo>
                      <a:lnTo>
                        <a:pt x="145571" y="130302"/>
                      </a:lnTo>
                      <a:lnTo>
                        <a:pt x="140407" y="132177"/>
                      </a:lnTo>
                      <a:lnTo>
                        <a:pt x="130793" y="131840"/>
                      </a:lnTo>
                      <a:lnTo>
                        <a:pt x="133396" y="129997"/>
                      </a:lnTo>
                      <a:lnTo>
                        <a:pt x="135134" y="126988"/>
                      </a:lnTo>
                      <a:lnTo>
                        <a:pt x="135617" y="123551"/>
                      </a:lnTo>
                      <a:lnTo>
                        <a:pt x="134360" y="120295"/>
                      </a:lnTo>
                      <a:lnTo>
                        <a:pt x="126818" y="128563"/>
                      </a:lnTo>
                      <a:lnTo>
                        <a:pt x="119556" y="133908"/>
                      </a:lnTo>
                      <a:lnTo>
                        <a:pt x="112199" y="136991"/>
                      </a:lnTo>
                      <a:lnTo>
                        <a:pt x="95711" y="138851"/>
                      </a:lnTo>
                      <a:lnTo>
                        <a:pt x="91739" y="136565"/>
                      </a:lnTo>
                      <a:lnTo>
                        <a:pt x="89999" y="130728"/>
                      </a:lnTo>
                      <a:lnTo>
                        <a:pt x="90674" y="126353"/>
                      </a:lnTo>
                      <a:lnTo>
                        <a:pt x="92328" y="126350"/>
                      </a:lnTo>
                      <a:lnTo>
                        <a:pt x="94947" y="129335"/>
                      </a:lnTo>
                      <a:lnTo>
                        <a:pt x="96392" y="128296"/>
                      </a:lnTo>
                      <a:lnTo>
                        <a:pt x="97782" y="126857"/>
                      </a:lnTo>
                      <a:lnTo>
                        <a:pt x="100626" y="123260"/>
                      </a:lnTo>
                      <a:lnTo>
                        <a:pt x="95988" y="122620"/>
                      </a:lnTo>
                      <a:lnTo>
                        <a:pt x="85512" y="117922"/>
                      </a:lnTo>
                      <a:lnTo>
                        <a:pt x="81843" y="114541"/>
                      </a:lnTo>
                      <a:lnTo>
                        <a:pt x="85650" y="111162"/>
                      </a:lnTo>
                      <a:lnTo>
                        <a:pt x="90188" y="108897"/>
                      </a:lnTo>
                      <a:lnTo>
                        <a:pt x="93865" y="105935"/>
                      </a:lnTo>
                      <a:lnTo>
                        <a:pt x="95049" y="100400"/>
                      </a:lnTo>
                      <a:close/>
                      <a:moveTo>
                        <a:pt x="125398" y="55184"/>
                      </a:moveTo>
                      <a:lnTo>
                        <a:pt x="127745" y="57217"/>
                      </a:lnTo>
                      <a:lnTo>
                        <a:pt x="135469" y="66497"/>
                      </a:lnTo>
                      <a:lnTo>
                        <a:pt x="137230" y="67717"/>
                      </a:lnTo>
                      <a:lnTo>
                        <a:pt x="138458" y="66560"/>
                      </a:lnTo>
                      <a:lnTo>
                        <a:pt x="139344" y="64828"/>
                      </a:lnTo>
                      <a:lnTo>
                        <a:pt x="141748" y="63377"/>
                      </a:lnTo>
                      <a:lnTo>
                        <a:pt x="144986" y="62454"/>
                      </a:lnTo>
                      <a:lnTo>
                        <a:pt x="146690" y="64897"/>
                      </a:lnTo>
                      <a:lnTo>
                        <a:pt x="148155" y="72923"/>
                      </a:lnTo>
                      <a:lnTo>
                        <a:pt x="146977" y="75988"/>
                      </a:lnTo>
                      <a:lnTo>
                        <a:pt x="144823" y="78685"/>
                      </a:lnTo>
                      <a:lnTo>
                        <a:pt x="142298" y="83832"/>
                      </a:lnTo>
                      <a:lnTo>
                        <a:pt x="141639" y="85509"/>
                      </a:lnTo>
                      <a:lnTo>
                        <a:pt x="140225" y="88671"/>
                      </a:lnTo>
                      <a:lnTo>
                        <a:pt x="137720" y="92358"/>
                      </a:lnTo>
                      <a:lnTo>
                        <a:pt x="134314" y="95014"/>
                      </a:lnTo>
                      <a:lnTo>
                        <a:pt x="131133" y="94453"/>
                      </a:lnTo>
                      <a:lnTo>
                        <a:pt x="126170" y="90812"/>
                      </a:lnTo>
                      <a:lnTo>
                        <a:pt x="125057" y="90441"/>
                      </a:lnTo>
                      <a:lnTo>
                        <a:pt x="123349" y="88741"/>
                      </a:lnTo>
                      <a:lnTo>
                        <a:pt x="122702" y="86999"/>
                      </a:lnTo>
                      <a:lnTo>
                        <a:pt x="123424" y="83956"/>
                      </a:lnTo>
                      <a:lnTo>
                        <a:pt x="125326" y="81615"/>
                      </a:lnTo>
                      <a:lnTo>
                        <a:pt x="127306" y="81559"/>
                      </a:lnTo>
                      <a:lnTo>
                        <a:pt x="128201" y="83336"/>
                      </a:lnTo>
                      <a:lnTo>
                        <a:pt x="128579" y="84879"/>
                      </a:lnTo>
                      <a:lnTo>
                        <a:pt x="130190" y="83039"/>
                      </a:lnTo>
                      <a:lnTo>
                        <a:pt x="130870" y="78449"/>
                      </a:lnTo>
                      <a:lnTo>
                        <a:pt x="123627" y="68533"/>
                      </a:lnTo>
                      <a:lnTo>
                        <a:pt x="122281" y="65066"/>
                      </a:lnTo>
                      <a:lnTo>
                        <a:pt x="122259" y="63581"/>
                      </a:lnTo>
                      <a:lnTo>
                        <a:pt x="122874" y="60473"/>
                      </a:lnTo>
                      <a:lnTo>
                        <a:pt x="123749" y="57547"/>
                      </a:lnTo>
                      <a:lnTo>
                        <a:pt x="124077" y="55329"/>
                      </a:lnTo>
                      <a:close/>
                      <a:moveTo>
                        <a:pt x="165611" y="0"/>
                      </a:moveTo>
                      <a:lnTo>
                        <a:pt x="167404" y="993"/>
                      </a:lnTo>
                      <a:lnTo>
                        <a:pt x="170641" y="8168"/>
                      </a:lnTo>
                      <a:lnTo>
                        <a:pt x="174787" y="12952"/>
                      </a:lnTo>
                      <a:lnTo>
                        <a:pt x="176086" y="16315"/>
                      </a:lnTo>
                      <a:lnTo>
                        <a:pt x="177036" y="18071"/>
                      </a:lnTo>
                      <a:lnTo>
                        <a:pt x="178291" y="18150"/>
                      </a:lnTo>
                      <a:lnTo>
                        <a:pt x="179145" y="18638"/>
                      </a:lnTo>
                      <a:lnTo>
                        <a:pt x="178915" y="21694"/>
                      </a:lnTo>
                      <a:lnTo>
                        <a:pt x="178231" y="23797"/>
                      </a:lnTo>
                      <a:lnTo>
                        <a:pt x="176465" y="28124"/>
                      </a:lnTo>
                      <a:lnTo>
                        <a:pt x="176166" y="29902"/>
                      </a:lnTo>
                      <a:lnTo>
                        <a:pt x="181782" y="41364"/>
                      </a:lnTo>
                      <a:lnTo>
                        <a:pt x="192161" y="49834"/>
                      </a:lnTo>
                      <a:lnTo>
                        <a:pt x="199990" y="60784"/>
                      </a:lnTo>
                      <a:lnTo>
                        <a:pt x="197983" y="79777"/>
                      </a:lnTo>
                      <a:lnTo>
                        <a:pt x="197399" y="83419"/>
                      </a:lnTo>
                      <a:lnTo>
                        <a:pt x="200168" y="84730"/>
                      </a:lnTo>
                      <a:lnTo>
                        <a:pt x="208754" y="91510"/>
                      </a:lnTo>
                      <a:lnTo>
                        <a:pt x="212985" y="98060"/>
                      </a:lnTo>
                      <a:lnTo>
                        <a:pt x="239164" y="94599"/>
                      </a:lnTo>
                      <a:lnTo>
                        <a:pt x="250503" y="99993"/>
                      </a:lnTo>
                      <a:lnTo>
                        <a:pt x="271747" y="96298"/>
                      </a:lnTo>
                      <a:lnTo>
                        <a:pt x="293342" y="109628"/>
                      </a:lnTo>
                      <a:lnTo>
                        <a:pt x="298621" y="110889"/>
                      </a:lnTo>
                      <a:lnTo>
                        <a:pt x="301786" y="110660"/>
                      </a:lnTo>
                      <a:lnTo>
                        <a:pt x="303019" y="109107"/>
                      </a:lnTo>
                      <a:lnTo>
                        <a:pt x="303794" y="107579"/>
                      </a:lnTo>
                      <a:lnTo>
                        <a:pt x="304611" y="105639"/>
                      </a:lnTo>
                      <a:lnTo>
                        <a:pt x="306658" y="103129"/>
                      </a:lnTo>
                      <a:lnTo>
                        <a:pt x="306970" y="102823"/>
                      </a:lnTo>
                      <a:lnTo>
                        <a:pt x="314632" y="101518"/>
                      </a:lnTo>
                      <a:lnTo>
                        <a:pt x="317638" y="102556"/>
                      </a:lnTo>
                      <a:lnTo>
                        <a:pt x="319492" y="104163"/>
                      </a:lnTo>
                      <a:lnTo>
                        <a:pt x="319942" y="104919"/>
                      </a:lnTo>
                      <a:lnTo>
                        <a:pt x="320519" y="106380"/>
                      </a:lnTo>
                      <a:lnTo>
                        <a:pt x="325356" y="112735"/>
                      </a:lnTo>
                      <a:lnTo>
                        <a:pt x="331091" y="116134"/>
                      </a:lnTo>
                      <a:lnTo>
                        <a:pt x="336086" y="116803"/>
                      </a:lnTo>
                      <a:lnTo>
                        <a:pt x="339538" y="116006"/>
                      </a:lnTo>
                      <a:lnTo>
                        <a:pt x="343598" y="112768"/>
                      </a:lnTo>
                      <a:lnTo>
                        <a:pt x="351892" y="105190"/>
                      </a:lnTo>
                      <a:lnTo>
                        <a:pt x="356807" y="102411"/>
                      </a:lnTo>
                      <a:lnTo>
                        <a:pt x="360923" y="101848"/>
                      </a:lnTo>
                      <a:lnTo>
                        <a:pt x="394900" y="91534"/>
                      </a:lnTo>
                      <a:lnTo>
                        <a:pt x="399309" y="99723"/>
                      </a:lnTo>
                      <a:lnTo>
                        <a:pt x="404672" y="123744"/>
                      </a:lnTo>
                      <a:lnTo>
                        <a:pt x="406989" y="128054"/>
                      </a:lnTo>
                      <a:lnTo>
                        <a:pt x="410204" y="131169"/>
                      </a:lnTo>
                      <a:lnTo>
                        <a:pt x="448298" y="128433"/>
                      </a:lnTo>
                      <a:lnTo>
                        <a:pt x="461914" y="120942"/>
                      </a:lnTo>
                      <a:lnTo>
                        <a:pt x="466975" y="119028"/>
                      </a:lnTo>
                      <a:lnTo>
                        <a:pt x="498211" y="119286"/>
                      </a:lnTo>
                      <a:lnTo>
                        <a:pt x="501295" y="120960"/>
                      </a:lnTo>
                      <a:lnTo>
                        <a:pt x="502788" y="122251"/>
                      </a:lnTo>
                      <a:lnTo>
                        <a:pt x="504205" y="124218"/>
                      </a:lnTo>
                      <a:lnTo>
                        <a:pt x="506208" y="127838"/>
                      </a:lnTo>
                      <a:lnTo>
                        <a:pt x="507401" y="131906"/>
                      </a:lnTo>
                      <a:lnTo>
                        <a:pt x="507981" y="137083"/>
                      </a:lnTo>
                      <a:lnTo>
                        <a:pt x="506282" y="147004"/>
                      </a:lnTo>
                      <a:lnTo>
                        <a:pt x="500955" y="167231"/>
                      </a:lnTo>
                      <a:lnTo>
                        <a:pt x="499633" y="175148"/>
                      </a:lnTo>
                      <a:lnTo>
                        <a:pt x="499104" y="179635"/>
                      </a:lnTo>
                      <a:lnTo>
                        <a:pt x="501909" y="193235"/>
                      </a:lnTo>
                      <a:lnTo>
                        <a:pt x="505743" y="213326"/>
                      </a:lnTo>
                      <a:lnTo>
                        <a:pt x="508486" y="222435"/>
                      </a:lnTo>
                      <a:lnTo>
                        <a:pt x="512642" y="225327"/>
                      </a:lnTo>
                      <a:lnTo>
                        <a:pt x="551076" y="229281"/>
                      </a:lnTo>
                      <a:lnTo>
                        <a:pt x="563875" y="234196"/>
                      </a:lnTo>
                      <a:lnTo>
                        <a:pt x="568391" y="237499"/>
                      </a:lnTo>
                      <a:lnTo>
                        <a:pt x="571498" y="241183"/>
                      </a:lnTo>
                      <a:lnTo>
                        <a:pt x="573030" y="245867"/>
                      </a:lnTo>
                      <a:lnTo>
                        <a:pt x="573561" y="250058"/>
                      </a:lnTo>
                      <a:lnTo>
                        <a:pt x="572508" y="260984"/>
                      </a:lnTo>
                      <a:lnTo>
                        <a:pt x="572104" y="265914"/>
                      </a:lnTo>
                      <a:lnTo>
                        <a:pt x="572119" y="271960"/>
                      </a:lnTo>
                      <a:lnTo>
                        <a:pt x="572961" y="278885"/>
                      </a:lnTo>
                      <a:lnTo>
                        <a:pt x="574893" y="286398"/>
                      </a:lnTo>
                      <a:lnTo>
                        <a:pt x="579409" y="298321"/>
                      </a:lnTo>
                      <a:lnTo>
                        <a:pt x="581333" y="300754"/>
                      </a:lnTo>
                      <a:lnTo>
                        <a:pt x="611267" y="321645"/>
                      </a:lnTo>
                      <a:lnTo>
                        <a:pt x="620576" y="338842"/>
                      </a:lnTo>
                      <a:lnTo>
                        <a:pt x="624528" y="349498"/>
                      </a:lnTo>
                      <a:lnTo>
                        <a:pt x="600435" y="350599"/>
                      </a:lnTo>
                      <a:lnTo>
                        <a:pt x="596112" y="353245"/>
                      </a:lnTo>
                      <a:lnTo>
                        <a:pt x="594661" y="361123"/>
                      </a:lnTo>
                      <a:lnTo>
                        <a:pt x="594711" y="363363"/>
                      </a:lnTo>
                      <a:lnTo>
                        <a:pt x="595551" y="366737"/>
                      </a:lnTo>
                      <a:lnTo>
                        <a:pt x="598503" y="370969"/>
                      </a:lnTo>
                      <a:lnTo>
                        <a:pt x="600805" y="377414"/>
                      </a:lnTo>
                      <a:lnTo>
                        <a:pt x="601636" y="385368"/>
                      </a:lnTo>
                      <a:lnTo>
                        <a:pt x="587481" y="402222"/>
                      </a:lnTo>
                      <a:lnTo>
                        <a:pt x="572143" y="414765"/>
                      </a:lnTo>
                      <a:lnTo>
                        <a:pt x="570419" y="417689"/>
                      </a:lnTo>
                      <a:lnTo>
                        <a:pt x="569657" y="420284"/>
                      </a:lnTo>
                      <a:lnTo>
                        <a:pt x="569930" y="425680"/>
                      </a:lnTo>
                      <a:lnTo>
                        <a:pt x="571983" y="433122"/>
                      </a:lnTo>
                      <a:lnTo>
                        <a:pt x="586302" y="463258"/>
                      </a:lnTo>
                      <a:lnTo>
                        <a:pt x="587091" y="475797"/>
                      </a:lnTo>
                      <a:lnTo>
                        <a:pt x="583837" y="492583"/>
                      </a:lnTo>
                      <a:lnTo>
                        <a:pt x="580491" y="495099"/>
                      </a:lnTo>
                      <a:lnTo>
                        <a:pt x="577256" y="498265"/>
                      </a:lnTo>
                      <a:lnTo>
                        <a:pt x="574738" y="499398"/>
                      </a:lnTo>
                      <a:lnTo>
                        <a:pt x="570056" y="503415"/>
                      </a:lnTo>
                      <a:lnTo>
                        <a:pt x="561002" y="513285"/>
                      </a:lnTo>
                      <a:lnTo>
                        <a:pt x="553154" y="519466"/>
                      </a:lnTo>
                      <a:lnTo>
                        <a:pt x="544016" y="521500"/>
                      </a:lnTo>
                      <a:lnTo>
                        <a:pt x="538332" y="519328"/>
                      </a:lnTo>
                      <a:lnTo>
                        <a:pt x="535120" y="517259"/>
                      </a:lnTo>
                      <a:lnTo>
                        <a:pt x="526001" y="516015"/>
                      </a:lnTo>
                      <a:lnTo>
                        <a:pt x="506913" y="528712"/>
                      </a:lnTo>
                      <a:lnTo>
                        <a:pt x="499586" y="536474"/>
                      </a:lnTo>
                      <a:lnTo>
                        <a:pt x="488517" y="554816"/>
                      </a:lnTo>
                      <a:lnTo>
                        <a:pt x="487025" y="559572"/>
                      </a:lnTo>
                      <a:lnTo>
                        <a:pt x="485601" y="562384"/>
                      </a:lnTo>
                      <a:lnTo>
                        <a:pt x="483521" y="564148"/>
                      </a:lnTo>
                      <a:lnTo>
                        <a:pt x="480301" y="564733"/>
                      </a:lnTo>
                      <a:lnTo>
                        <a:pt x="475755" y="564099"/>
                      </a:lnTo>
                      <a:lnTo>
                        <a:pt x="468614" y="567441"/>
                      </a:lnTo>
                      <a:lnTo>
                        <a:pt x="447764" y="583322"/>
                      </a:lnTo>
                      <a:lnTo>
                        <a:pt x="368017" y="553598"/>
                      </a:lnTo>
                      <a:lnTo>
                        <a:pt x="368271" y="545028"/>
                      </a:lnTo>
                      <a:lnTo>
                        <a:pt x="368152" y="542379"/>
                      </a:lnTo>
                      <a:lnTo>
                        <a:pt x="367565" y="539575"/>
                      </a:lnTo>
                      <a:lnTo>
                        <a:pt x="366443" y="537586"/>
                      </a:lnTo>
                      <a:lnTo>
                        <a:pt x="363879" y="535656"/>
                      </a:lnTo>
                      <a:lnTo>
                        <a:pt x="351535" y="533481"/>
                      </a:lnTo>
                      <a:lnTo>
                        <a:pt x="350578" y="532663"/>
                      </a:lnTo>
                      <a:lnTo>
                        <a:pt x="350816" y="530654"/>
                      </a:lnTo>
                      <a:lnTo>
                        <a:pt x="352983" y="525007"/>
                      </a:lnTo>
                      <a:lnTo>
                        <a:pt x="353889" y="522028"/>
                      </a:lnTo>
                      <a:lnTo>
                        <a:pt x="354304" y="519442"/>
                      </a:lnTo>
                      <a:lnTo>
                        <a:pt x="353727" y="517392"/>
                      </a:lnTo>
                      <a:lnTo>
                        <a:pt x="351495" y="515371"/>
                      </a:lnTo>
                      <a:lnTo>
                        <a:pt x="335747" y="509095"/>
                      </a:lnTo>
                      <a:lnTo>
                        <a:pt x="333277" y="507245"/>
                      </a:lnTo>
                      <a:lnTo>
                        <a:pt x="331626" y="505157"/>
                      </a:lnTo>
                      <a:lnTo>
                        <a:pt x="331079" y="502964"/>
                      </a:lnTo>
                      <a:lnTo>
                        <a:pt x="331625" y="500730"/>
                      </a:lnTo>
                      <a:lnTo>
                        <a:pt x="334138" y="498141"/>
                      </a:lnTo>
                      <a:lnTo>
                        <a:pt x="336895" y="496122"/>
                      </a:lnTo>
                      <a:lnTo>
                        <a:pt x="350549" y="488483"/>
                      </a:lnTo>
                      <a:lnTo>
                        <a:pt x="352201" y="486403"/>
                      </a:lnTo>
                      <a:lnTo>
                        <a:pt x="351494" y="484366"/>
                      </a:lnTo>
                      <a:lnTo>
                        <a:pt x="350507" y="482578"/>
                      </a:lnTo>
                      <a:lnTo>
                        <a:pt x="339379" y="480989"/>
                      </a:lnTo>
                      <a:lnTo>
                        <a:pt x="338365" y="474948"/>
                      </a:lnTo>
                      <a:lnTo>
                        <a:pt x="333053" y="470563"/>
                      </a:lnTo>
                      <a:lnTo>
                        <a:pt x="330592" y="467361"/>
                      </a:lnTo>
                      <a:lnTo>
                        <a:pt x="328827" y="467039"/>
                      </a:lnTo>
                      <a:lnTo>
                        <a:pt x="326273" y="468065"/>
                      </a:lnTo>
                      <a:lnTo>
                        <a:pt x="324645" y="469527"/>
                      </a:lnTo>
                      <a:lnTo>
                        <a:pt x="321727" y="473329"/>
                      </a:lnTo>
                      <a:lnTo>
                        <a:pt x="319161" y="475769"/>
                      </a:lnTo>
                      <a:lnTo>
                        <a:pt x="311520" y="480714"/>
                      </a:lnTo>
                      <a:lnTo>
                        <a:pt x="307360" y="481814"/>
                      </a:lnTo>
                      <a:lnTo>
                        <a:pt x="303338" y="481529"/>
                      </a:lnTo>
                      <a:lnTo>
                        <a:pt x="298980" y="478450"/>
                      </a:lnTo>
                      <a:lnTo>
                        <a:pt x="297740" y="476193"/>
                      </a:lnTo>
                      <a:lnTo>
                        <a:pt x="297783" y="474002"/>
                      </a:lnTo>
                      <a:lnTo>
                        <a:pt x="299883" y="470948"/>
                      </a:lnTo>
                      <a:lnTo>
                        <a:pt x="300328" y="469775"/>
                      </a:lnTo>
                      <a:lnTo>
                        <a:pt x="300293" y="468779"/>
                      </a:lnTo>
                      <a:lnTo>
                        <a:pt x="300009" y="467992"/>
                      </a:lnTo>
                      <a:lnTo>
                        <a:pt x="298686" y="467409"/>
                      </a:lnTo>
                      <a:lnTo>
                        <a:pt x="272201" y="471846"/>
                      </a:lnTo>
                      <a:lnTo>
                        <a:pt x="265473" y="475131"/>
                      </a:lnTo>
                      <a:lnTo>
                        <a:pt x="262150" y="475312"/>
                      </a:lnTo>
                      <a:lnTo>
                        <a:pt x="259637" y="475005"/>
                      </a:lnTo>
                      <a:lnTo>
                        <a:pt x="248710" y="467340"/>
                      </a:lnTo>
                      <a:lnTo>
                        <a:pt x="239605" y="459909"/>
                      </a:lnTo>
                      <a:lnTo>
                        <a:pt x="238564" y="458170"/>
                      </a:lnTo>
                      <a:lnTo>
                        <a:pt x="239278" y="450504"/>
                      </a:lnTo>
                      <a:lnTo>
                        <a:pt x="239586" y="446506"/>
                      </a:lnTo>
                      <a:lnTo>
                        <a:pt x="239010" y="445036"/>
                      </a:lnTo>
                      <a:lnTo>
                        <a:pt x="237869" y="443186"/>
                      </a:lnTo>
                      <a:lnTo>
                        <a:pt x="234349" y="439194"/>
                      </a:lnTo>
                      <a:lnTo>
                        <a:pt x="233314" y="437591"/>
                      </a:lnTo>
                      <a:lnTo>
                        <a:pt x="232456" y="435794"/>
                      </a:lnTo>
                      <a:lnTo>
                        <a:pt x="231873" y="433939"/>
                      </a:lnTo>
                      <a:lnTo>
                        <a:pt x="231102" y="432103"/>
                      </a:lnTo>
                      <a:lnTo>
                        <a:pt x="230026" y="430492"/>
                      </a:lnTo>
                      <a:lnTo>
                        <a:pt x="228515" y="429237"/>
                      </a:lnTo>
                      <a:lnTo>
                        <a:pt x="226683" y="428294"/>
                      </a:lnTo>
                      <a:lnTo>
                        <a:pt x="224504" y="427902"/>
                      </a:lnTo>
                      <a:lnTo>
                        <a:pt x="222496" y="428052"/>
                      </a:lnTo>
                      <a:lnTo>
                        <a:pt x="196291" y="442861"/>
                      </a:lnTo>
                      <a:lnTo>
                        <a:pt x="186028" y="435161"/>
                      </a:lnTo>
                      <a:lnTo>
                        <a:pt x="183213" y="434240"/>
                      </a:lnTo>
                      <a:lnTo>
                        <a:pt x="179577" y="434872"/>
                      </a:lnTo>
                      <a:lnTo>
                        <a:pt x="174727" y="438235"/>
                      </a:lnTo>
                      <a:lnTo>
                        <a:pt x="170190" y="437325"/>
                      </a:lnTo>
                      <a:lnTo>
                        <a:pt x="158726" y="430227"/>
                      </a:lnTo>
                      <a:lnTo>
                        <a:pt x="148172" y="433984"/>
                      </a:lnTo>
                      <a:lnTo>
                        <a:pt x="139830" y="438400"/>
                      </a:lnTo>
                      <a:lnTo>
                        <a:pt x="135345" y="439908"/>
                      </a:lnTo>
                      <a:lnTo>
                        <a:pt x="121616" y="441780"/>
                      </a:lnTo>
                      <a:lnTo>
                        <a:pt x="110701" y="439911"/>
                      </a:lnTo>
                      <a:lnTo>
                        <a:pt x="102405" y="432254"/>
                      </a:lnTo>
                      <a:lnTo>
                        <a:pt x="99049" y="430801"/>
                      </a:lnTo>
                      <a:lnTo>
                        <a:pt x="96979" y="430542"/>
                      </a:lnTo>
                      <a:lnTo>
                        <a:pt x="84677" y="434384"/>
                      </a:lnTo>
                      <a:lnTo>
                        <a:pt x="77555" y="437746"/>
                      </a:lnTo>
                      <a:lnTo>
                        <a:pt x="71191" y="450020"/>
                      </a:lnTo>
                      <a:lnTo>
                        <a:pt x="63936" y="462131"/>
                      </a:lnTo>
                      <a:lnTo>
                        <a:pt x="62024" y="465190"/>
                      </a:lnTo>
                      <a:lnTo>
                        <a:pt x="61997" y="465232"/>
                      </a:lnTo>
                      <a:lnTo>
                        <a:pt x="55525" y="464853"/>
                      </a:lnTo>
                      <a:lnTo>
                        <a:pt x="52972" y="460844"/>
                      </a:lnTo>
                      <a:lnTo>
                        <a:pt x="52599" y="456630"/>
                      </a:lnTo>
                      <a:lnTo>
                        <a:pt x="52729" y="446141"/>
                      </a:lnTo>
                      <a:lnTo>
                        <a:pt x="52133" y="441380"/>
                      </a:lnTo>
                      <a:lnTo>
                        <a:pt x="51557" y="439108"/>
                      </a:lnTo>
                      <a:lnTo>
                        <a:pt x="51376" y="437433"/>
                      </a:lnTo>
                      <a:lnTo>
                        <a:pt x="51623" y="435300"/>
                      </a:lnTo>
                      <a:lnTo>
                        <a:pt x="52324" y="431664"/>
                      </a:lnTo>
                      <a:lnTo>
                        <a:pt x="51954" y="429965"/>
                      </a:lnTo>
                      <a:lnTo>
                        <a:pt x="49736" y="425116"/>
                      </a:lnTo>
                      <a:lnTo>
                        <a:pt x="49473" y="422547"/>
                      </a:lnTo>
                      <a:lnTo>
                        <a:pt x="51681" y="418904"/>
                      </a:lnTo>
                      <a:lnTo>
                        <a:pt x="55373" y="418753"/>
                      </a:lnTo>
                      <a:lnTo>
                        <a:pt x="59324" y="420507"/>
                      </a:lnTo>
                      <a:lnTo>
                        <a:pt x="62300" y="422751"/>
                      </a:lnTo>
                      <a:lnTo>
                        <a:pt x="65087" y="426161"/>
                      </a:lnTo>
                      <a:lnTo>
                        <a:pt x="65378" y="429309"/>
                      </a:lnTo>
                      <a:lnTo>
                        <a:pt x="62267" y="440929"/>
                      </a:lnTo>
                      <a:lnTo>
                        <a:pt x="61788" y="446965"/>
                      </a:lnTo>
                      <a:lnTo>
                        <a:pt x="62564" y="450986"/>
                      </a:lnTo>
                      <a:lnTo>
                        <a:pt x="64072" y="451334"/>
                      </a:lnTo>
                      <a:lnTo>
                        <a:pt x="65742" y="446446"/>
                      </a:lnTo>
                      <a:lnTo>
                        <a:pt x="67452" y="430433"/>
                      </a:lnTo>
                      <a:lnTo>
                        <a:pt x="68662" y="426456"/>
                      </a:lnTo>
                      <a:lnTo>
                        <a:pt x="71947" y="423244"/>
                      </a:lnTo>
                      <a:lnTo>
                        <a:pt x="75031" y="422575"/>
                      </a:lnTo>
                      <a:lnTo>
                        <a:pt x="77364" y="420707"/>
                      </a:lnTo>
                      <a:lnTo>
                        <a:pt x="78279" y="413926"/>
                      </a:lnTo>
                      <a:lnTo>
                        <a:pt x="77044" y="414753"/>
                      </a:lnTo>
                      <a:lnTo>
                        <a:pt x="76463" y="415368"/>
                      </a:lnTo>
                      <a:lnTo>
                        <a:pt x="76629" y="415789"/>
                      </a:lnTo>
                      <a:lnTo>
                        <a:pt x="74550" y="416030"/>
                      </a:lnTo>
                      <a:lnTo>
                        <a:pt x="69328" y="418505"/>
                      </a:lnTo>
                      <a:lnTo>
                        <a:pt x="66637" y="418806"/>
                      </a:lnTo>
                      <a:lnTo>
                        <a:pt x="58182" y="414672"/>
                      </a:lnTo>
                      <a:lnTo>
                        <a:pt x="56642" y="413051"/>
                      </a:lnTo>
                      <a:lnTo>
                        <a:pt x="56396" y="407483"/>
                      </a:lnTo>
                      <a:lnTo>
                        <a:pt x="57523" y="401176"/>
                      </a:lnTo>
                      <a:lnTo>
                        <a:pt x="59401" y="395352"/>
                      </a:lnTo>
                      <a:lnTo>
                        <a:pt x="61599" y="391247"/>
                      </a:lnTo>
                      <a:lnTo>
                        <a:pt x="72036" y="383834"/>
                      </a:lnTo>
                      <a:lnTo>
                        <a:pt x="83142" y="384966"/>
                      </a:lnTo>
                      <a:lnTo>
                        <a:pt x="93327" y="391241"/>
                      </a:lnTo>
                      <a:lnTo>
                        <a:pt x="104571" y="402770"/>
                      </a:lnTo>
                      <a:lnTo>
                        <a:pt x="109213" y="405921"/>
                      </a:lnTo>
                      <a:lnTo>
                        <a:pt x="119279" y="409889"/>
                      </a:lnTo>
                      <a:lnTo>
                        <a:pt x="126877" y="410501"/>
                      </a:lnTo>
                      <a:lnTo>
                        <a:pt x="128809" y="411773"/>
                      </a:lnTo>
                      <a:lnTo>
                        <a:pt x="129159" y="414912"/>
                      </a:lnTo>
                      <a:lnTo>
                        <a:pt x="128802" y="419547"/>
                      </a:lnTo>
                      <a:lnTo>
                        <a:pt x="129152" y="422830"/>
                      </a:lnTo>
                      <a:lnTo>
                        <a:pt x="131590" y="421932"/>
                      </a:lnTo>
                      <a:lnTo>
                        <a:pt x="133002" y="419370"/>
                      </a:lnTo>
                      <a:lnTo>
                        <a:pt x="133002" y="416357"/>
                      </a:lnTo>
                      <a:lnTo>
                        <a:pt x="132624" y="412926"/>
                      </a:lnTo>
                      <a:lnTo>
                        <a:pt x="132820" y="409048"/>
                      </a:lnTo>
                      <a:lnTo>
                        <a:pt x="134678" y="404680"/>
                      </a:lnTo>
                      <a:lnTo>
                        <a:pt x="137269" y="403110"/>
                      </a:lnTo>
                      <a:lnTo>
                        <a:pt x="139919" y="402526"/>
                      </a:lnTo>
                      <a:lnTo>
                        <a:pt x="147322" y="398198"/>
                      </a:lnTo>
                      <a:lnTo>
                        <a:pt x="153569" y="400796"/>
                      </a:lnTo>
                      <a:lnTo>
                        <a:pt x="159761" y="405070"/>
                      </a:lnTo>
                      <a:lnTo>
                        <a:pt x="164838" y="407002"/>
                      </a:lnTo>
                      <a:lnTo>
                        <a:pt x="165320" y="404472"/>
                      </a:lnTo>
                      <a:lnTo>
                        <a:pt x="161225" y="399805"/>
                      </a:lnTo>
                      <a:lnTo>
                        <a:pt x="159530" y="397153"/>
                      </a:lnTo>
                      <a:lnTo>
                        <a:pt x="160442" y="396298"/>
                      </a:lnTo>
                      <a:lnTo>
                        <a:pt x="166797" y="395639"/>
                      </a:lnTo>
                      <a:lnTo>
                        <a:pt x="169725" y="395963"/>
                      </a:lnTo>
                      <a:lnTo>
                        <a:pt x="172243" y="398587"/>
                      </a:lnTo>
                      <a:lnTo>
                        <a:pt x="176618" y="395662"/>
                      </a:lnTo>
                      <a:lnTo>
                        <a:pt x="183835" y="393125"/>
                      </a:lnTo>
                      <a:lnTo>
                        <a:pt x="190331" y="392782"/>
                      </a:lnTo>
                      <a:lnTo>
                        <a:pt x="192468" y="396560"/>
                      </a:lnTo>
                      <a:lnTo>
                        <a:pt x="189101" y="405689"/>
                      </a:lnTo>
                      <a:lnTo>
                        <a:pt x="188270" y="410030"/>
                      </a:lnTo>
                      <a:lnTo>
                        <a:pt x="190841" y="408286"/>
                      </a:lnTo>
                      <a:lnTo>
                        <a:pt x="193120" y="405741"/>
                      </a:lnTo>
                      <a:lnTo>
                        <a:pt x="195727" y="403574"/>
                      </a:lnTo>
                      <a:lnTo>
                        <a:pt x="198362" y="402143"/>
                      </a:lnTo>
                      <a:lnTo>
                        <a:pt x="200765" y="401870"/>
                      </a:lnTo>
                      <a:lnTo>
                        <a:pt x="199817" y="397778"/>
                      </a:lnTo>
                      <a:lnTo>
                        <a:pt x="199432" y="396587"/>
                      </a:lnTo>
                      <a:lnTo>
                        <a:pt x="205256" y="394429"/>
                      </a:lnTo>
                      <a:lnTo>
                        <a:pt x="210282" y="394009"/>
                      </a:lnTo>
                      <a:lnTo>
                        <a:pt x="223968" y="396942"/>
                      </a:lnTo>
                      <a:lnTo>
                        <a:pt x="229250" y="399985"/>
                      </a:lnTo>
                      <a:lnTo>
                        <a:pt x="232426" y="400667"/>
                      </a:lnTo>
                      <a:lnTo>
                        <a:pt x="244059" y="400209"/>
                      </a:lnTo>
                      <a:lnTo>
                        <a:pt x="249312" y="402447"/>
                      </a:lnTo>
                      <a:lnTo>
                        <a:pt x="258805" y="409245"/>
                      </a:lnTo>
                      <a:lnTo>
                        <a:pt x="264264" y="411369"/>
                      </a:lnTo>
                      <a:lnTo>
                        <a:pt x="268505" y="414727"/>
                      </a:lnTo>
                      <a:lnTo>
                        <a:pt x="269563" y="420803"/>
                      </a:lnTo>
                      <a:lnTo>
                        <a:pt x="267699" y="426914"/>
                      </a:lnTo>
                      <a:lnTo>
                        <a:pt x="263037" y="430350"/>
                      </a:lnTo>
                      <a:lnTo>
                        <a:pt x="268426" y="430854"/>
                      </a:lnTo>
                      <a:lnTo>
                        <a:pt x="270830" y="429492"/>
                      </a:lnTo>
                      <a:lnTo>
                        <a:pt x="273717" y="426215"/>
                      </a:lnTo>
                      <a:lnTo>
                        <a:pt x="275822" y="424969"/>
                      </a:lnTo>
                      <a:lnTo>
                        <a:pt x="278792" y="424826"/>
                      </a:lnTo>
                      <a:lnTo>
                        <a:pt x="281699" y="425500"/>
                      </a:lnTo>
                      <a:lnTo>
                        <a:pt x="283529" y="426706"/>
                      </a:lnTo>
                      <a:lnTo>
                        <a:pt x="284663" y="430875"/>
                      </a:lnTo>
                      <a:lnTo>
                        <a:pt x="282706" y="434697"/>
                      </a:lnTo>
                      <a:lnTo>
                        <a:pt x="279467" y="439027"/>
                      </a:lnTo>
                      <a:lnTo>
                        <a:pt x="276782" y="444889"/>
                      </a:lnTo>
                      <a:lnTo>
                        <a:pt x="279538" y="445892"/>
                      </a:lnTo>
                      <a:lnTo>
                        <a:pt x="282414" y="445916"/>
                      </a:lnTo>
                      <a:lnTo>
                        <a:pt x="282799" y="440979"/>
                      </a:lnTo>
                      <a:lnTo>
                        <a:pt x="284209" y="437430"/>
                      </a:lnTo>
                      <a:lnTo>
                        <a:pt x="286209" y="434761"/>
                      </a:lnTo>
                      <a:lnTo>
                        <a:pt x="292457" y="428114"/>
                      </a:lnTo>
                      <a:lnTo>
                        <a:pt x="297266" y="424394"/>
                      </a:lnTo>
                      <a:lnTo>
                        <a:pt x="302345" y="422008"/>
                      </a:lnTo>
                      <a:lnTo>
                        <a:pt x="312026" y="421692"/>
                      </a:lnTo>
                      <a:lnTo>
                        <a:pt x="316401" y="419818"/>
                      </a:lnTo>
                      <a:lnTo>
                        <a:pt x="320701" y="415384"/>
                      </a:lnTo>
                      <a:lnTo>
                        <a:pt x="325311" y="407829"/>
                      </a:lnTo>
                      <a:lnTo>
                        <a:pt x="328092" y="399919"/>
                      </a:lnTo>
                      <a:lnTo>
                        <a:pt x="329687" y="397187"/>
                      </a:lnTo>
                      <a:lnTo>
                        <a:pt x="331600" y="398057"/>
                      </a:lnTo>
                      <a:lnTo>
                        <a:pt x="334735" y="402804"/>
                      </a:lnTo>
                      <a:lnTo>
                        <a:pt x="336480" y="404644"/>
                      </a:lnTo>
                      <a:lnTo>
                        <a:pt x="358780" y="411079"/>
                      </a:lnTo>
                      <a:lnTo>
                        <a:pt x="366334" y="416258"/>
                      </a:lnTo>
                      <a:lnTo>
                        <a:pt x="367916" y="418120"/>
                      </a:lnTo>
                      <a:lnTo>
                        <a:pt x="368888" y="420646"/>
                      </a:lnTo>
                      <a:lnTo>
                        <a:pt x="368873" y="424030"/>
                      </a:lnTo>
                      <a:lnTo>
                        <a:pt x="368180" y="428237"/>
                      </a:lnTo>
                      <a:lnTo>
                        <a:pt x="367966" y="431585"/>
                      </a:lnTo>
                      <a:lnTo>
                        <a:pt x="368647" y="433889"/>
                      </a:lnTo>
                      <a:lnTo>
                        <a:pt x="370569" y="434995"/>
                      </a:lnTo>
                      <a:lnTo>
                        <a:pt x="380369" y="435537"/>
                      </a:lnTo>
                      <a:lnTo>
                        <a:pt x="382952" y="437140"/>
                      </a:lnTo>
                      <a:lnTo>
                        <a:pt x="384015" y="440065"/>
                      </a:lnTo>
                      <a:lnTo>
                        <a:pt x="385044" y="452081"/>
                      </a:lnTo>
                      <a:lnTo>
                        <a:pt x="386771" y="458532"/>
                      </a:lnTo>
                      <a:lnTo>
                        <a:pt x="387398" y="462024"/>
                      </a:lnTo>
                      <a:lnTo>
                        <a:pt x="387282" y="465660"/>
                      </a:lnTo>
                      <a:lnTo>
                        <a:pt x="385697" y="468414"/>
                      </a:lnTo>
                      <a:lnTo>
                        <a:pt x="382599" y="471437"/>
                      </a:lnTo>
                      <a:lnTo>
                        <a:pt x="379297" y="473854"/>
                      </a:lnTo>
                      <a:lnTo>
                        <a:pt x="373576" y="475836"/>
                      </a:lnTo>
                      <a:lnTo>
                        <a:pt x="360653" y="486223"/>
                      </a:lnTo>
                      <a:lnTo>
                        <a:pt x="377382" y="479192"/>
                      </a:lnTo>
                      <a:lnTo>
                        <a:pt x="385308" y="478586"/>
                      </a:lnTo>
                      <a:lnTo>
                        <a:pt x="391618" y="481979"/>
                      </a:lnTo>
                      <a:lnTo>
                        <a:pt x="400628" y="492352"/>
                      </a:lnTo>
                      <a:lnTo>
                        <a:pt x="402481" y="497105"/>
                      </a:lnTo>
                      <a:lnTo>
                        <a:pt x="401897" y="502102"/>
                      </a:lnTo>
                      <a:lnTo>
                        <a:pt x="394764" y="518648"/>
                      </a:lnTo>
                      <a:lnTo>
                        <a:pt x="399800" y="514678"/>
                      </a:lnTo>
                      <a:lnTo>
                        <a:pt x="405349" y="507855"/>
                      </a:lnTo>
                      <a:lnTo>
                        <a:pt x="409190" y="499184"/>
                      </a:lnTo>
                      <a:lnTo>
                        <a:pt x="409015" y="489734"/>
                      </a:lnTo>
                      <a:lnTo>
                        <a:pt x="407719" y="488616"/>
                      </a:lnTo>
                      <a:lnTo>
                        <a:pt x="399457" y="485102"/>
                      </a:lnTo>
                      <a:lnTo>
                        <a:pt x="398535" y="483417"/>
                      </a:lnTo>
                      <a:lnTo>
                        <a:pt x="397265" y="479346"/>
                      </a:lnTo>
                      <a:lnTo>
                        <a:pt x="393940" y="460605"/>
                      </a:lnTo>
                      <a:lnTo>
                        <a:pt x="392833" y="457331"/>
                      </a:lnTo>
                      <a:lnTo>
                        <a:pt x="391447" y="454409"/>
                      </a:lnTo>
                      <a:lnTo>
                        <a:pt x="390417" y="451177"/>
                      </a:lnTo>
                      <a:lnTo>
                        <a:pt x="390650" y="441622"/>
                      </a:lnTo>
                      <a:lnTo>
                        <a:pt x="390096" y="438699"/>
                      </a:lnTo>
                      <a:lnTo>
                        <a:pt x="390563" y="436752"/>
                      </a:lnTo>
                      <a:lnTo>
                        <a:pt x="393824" y="434427"/>
                      </a:lnTo>
                      <a:lnTo>
                        <a:pt x="401155" y="433626"/>
                      </a:lnTo>
                      <a:lnTo>
                        <a:pt x="418870" y="435568"/>
                      </a:lnTo>
                      <a:lnTo>
                        <a:pt x="424732" y="429878"/>
                      </a:lnTo>
                      <a:lnTo>
                        <a:pt x="427573" y="426947"/>
                      </a:lnTo>
                      <a:lnTo>
                        <a:pt x="429870" y="426792"/>
                      </a:lnTo>
                      <a:lnTo>
                        <a:pt x="442763" y="432491"/>
                      </a:lnTo>
                      <a:lnTo>
                        <a:pt x="444312" y="434376"/>
                      </a:lnTo>
                      <a:lnTo>
                        <a:pt x="447329" y="439658"/>
                      </a:lnTo>
                      <a:lnTo>
                        <a:pt x="451989" y="443000"/>
                      </a:lnTo>
                      <a:lnTo>
                        <a:pt x="462738" y="446018"/>
                      </a:lnTo>
                      <a:lnTo>
                        <a:pt x="463150" y="443476"/>
                      </a:lnTo>
                      <a:lnTo>
                        <a:pt x="460193" y="442689"/>
                      </a:lnTo>
                      <a:lnTo>
                        <a:pt x="458080" y="441456"/>
                      </a:lnTo>
                      <a:lnTo>
                        <a:pt x="456443" y="439672"/>
                      </a:lnTo>
                      <a:lnTo>
                        <a:pt x="451756" y="431278"/>
                      </a:lnTo>
                      <a:lnTo>
                        <a:pt x="450332" y="429387"/>
                      </a:lnTo>
                      <a:lnTo>
                        <a:pt x="453082" y="426534"/>
                      </a:lnTo>
                      <a:lnTo>
                        <a:pt x="461428" y="422567"/>
                      </a:lnTo>
                      <a:lnTo>
                        <a:pt x="463384" y="420680"/>
                      </a:lnTo>
                      <a:lnTo>
                        <a:pt x="466024" y="416865"/>
                      </a:lnTo>
                      <a:lnTo>
                        <a:pt x="470902" y="415245"/>
                      </a:lnTo>
                      <a:lnTo>
                        <a:pt x="496169" y="417432"/>
                      </a:lnTo>
                      <a:lnTo>
                        <a:pt x="504701" y="415818"/>
                      </a:lnTo>
                      <a:lnTo>
                        <a:pt x="512593" y="408252"/>
                      </a:lnTo>
                      <a:lnTo>
                        <a:pt x="506779" y="408086"/>
                      </a:lnTo>
                      <a:lnTo>
                        <a:pt x="502093" y="409183"/>
                      </a:lnTo>
                      <a:lnTo>
                        <a:pt x="495971" y="412481"/>
                      </a:lnTo>
                      <a:lnTo>
                        <a:pt x="470311" y="413550"/>
                      </a:lnTo>
                      <a:lnTo>
                        <a:pt x="460369" y="411608"/>
                      </a:lnTo>
                      <a:lnTo>
                        <a:pt x="455931" y="408262"/>
                      </a:lnTo>
                      <a:lnTo>
                        <a:pt x="454732" y="402499"/>
                      </a:lnTo>
                      <a:lnTo>
                        <a:pt x="455179" y="398593"/>
                      </a:lnTo>
                      <a:lnTo>
                        <a:pt x="455523" y="391802"/>
                      </a:lnTo>
                      <a:lnTo>
                        <a:pt x="455903" y="388313"/>
                      </a:lnTo>
                      <a:lnTo>
                        <a:pt x="455965" y="384172"/>
                      </a:lnTo>
                      <a:lnTo>
                        <a:pt x="454864" y="382362"/>
                      </a:lnTo>
                      <a:lnTo>
                        <a:pt x="453506" y="381208"/>
                      </a:lnTo>
                      <a:lnTo>
                        <a:pt x="452810" y="379108"/>
                      </a:lnTo>
                      <a:lnTo>
                        <a:pt x="454287" y="371950"/>
                      </a:lnTo>
                      <a:lnTo>
                        <a:pt x="462157" y="367011"/>
                      </a:lnTo>
                      <a:lnTo>
                        <a:pt x="464945" y="360999"/>
                      </a:lnTo>
                      <a:lnTo>
                        <a:pt x="466806" y="353461"/>
                      </a:lnTo>
                      <a:lnTo>
                        <a:pt x="469134" y="349909"/>
                      </a:lnTo>
                      <a:lnTo>
                        <a:pt x="476734" y="344990"/>
                      </a:lnTo>
                      <a:lnTo>
                        <a:pt x="479969" y="341116"/>
                      </a:lnTo>
                      <a:lnTo>
                        <a:pt x="483266" y="336011"/>
                      </a:lnTo>
                      <a:lnTo>
                        <a:pt x="486647" y="331719"/>
                      </a:lnTo>
                      <a:lnTo>
                        <a:pt x="490115" y="330235"/>
                      </a:lnTo>
                      <a:lnTo>
                        <a:pt x="494203" y="329720"/>
                      </a:lnTo>
                      <a:lnTo>
                        <a:pt x="498749" y="327370"/>
                      </a:lnTo>
                      <a:lnTo>
                        <a:pt x="503009" y="323473"/>
                      </a:lnTo>
                      <a:lnTo>
                        <a:pt x="506257" y="318498"/>
                      </a:lnTo>
                      <a:lnTo>
                        <a:pt x="491297" y="324781"/>
                      </a:lnTo>
                      <a:lnTo>
                        <a:pt x="464101" y="345292"/>
                      </a:lnTo>
                      <a:lnTo>
                        <a:pt x="460263" y="345723"/>
                      </a:lnTo>
                      <a:lnTo>
                        <a:pt x="454467" y="341788"/>
                      </a:lnTo>
                      <a:lnTo>
                        <a:pt x="451014" y="340709"/>
                      </a:lnTo>
                      <a:lnTo>
                        <a:pt x="453228" y="345490"/>
                      </a:lnTo>
                      <a:lnTo>
                        <a:pt x="455551" y="349131"/>
                      </a:lnTo>
                      <a:lnTo>
                        <a:pt x="456584" y="352900"/>
                      </a:lnTo>
                      <a:lnTo>
                        <a:pt x="455104" y="358161"/>
                      </a:lnTo>
                      <a:lnTo>
                        <a:pt x="442997" y="370188"/>
                      </a:lnTo>
                      <a:lnTo>
                        <a:pt x="441536" y="373725"/>
                      </a:lnTo>
                      <a:lnTo>
                        <a:pt x="443998" y="379047"/>
                      </a:lnTo>
                      <a:lnTo>
                        <a:pt x="446969" y="382884"/>
                      </a:lnTo>
                      <a:lnTo>
                        <a:pt x="449043" y="387853"/>
                      </a:lnTo>
                      <a:lnTo>
                        <a:pt x="448555" y="402839"/>
                      </a:lnTo>
                      <a:lnTo>
                        <a:pt x="449942" y="407351"/>
                      </a:lnTo>
                      <a:lnTo>
                        <a:pt x="452370" y="410637"/>
                      </a:lnTo>
                      <a:lnTo>
                        <a:pt x="455254" y="413242"/>
                      </a:lnTo>
                      <a:lnTo>
                        <a:pt x="447292" y="420235"/>
                      </a:lnTo>
                      <a:lnTo>
                        <a:pt x="444731" y="421263"/>
                      </a:lnTo>
                      <a:lnTo>
                        <a:pt x="442558" y="421185"/>
                      </a:lnTo>
                      <a:lnTo>
                        <a:pt x="440706" y="420404"/>
                      </a:lnTo>
                      <a:lnTo>
                        <a:pt x="437243" y="417641"/>
                      </a:lnTo>
                      <a:lnTo>
                        <a:pt x="436250" y="416404"/>
                      </a:lnTo>
                      <a:lnTo>
                        <a:pt x="434278" y="413119"/>
                      </a:lnTo>
                      <a:lnTo>
                        <a:pt x="433439" y="412207"/>
                      </a:lnTo>
                      <a:lnTo>
                        <a:pt x="430845" y="411771"/>
                      </a:lnTo>
                      <a:lnTo>
                        <a:pt x="424064" y="413367"/>
                      </a:lnTo>
                      <a:lnTo>
                        <a:pt x="421457" y="414981"/>
                      </a:lnTo>
                      <a:lnTo>
                        <a:pt x="420830" y="416103"/>
                      </a:lnTo>
                      <a:lnTo>
                        <a:pt x="420188" y="417978"/>
                      </a:lnTo>
                      <a:lnTo>
                        <a:pt x="419299" y="420011"/>
                      </a:lnTo>
                      <a:lnTo>
                        <a:pt x="418021" y="421565"/>
                      </a:lnTo>
                      <a:lnTo>
                        <a:pt x="416115" y="422597"/>
                      </a:lnTo>
                      <a:lnTo>
                        <a:pt x="394201" y="424682"/>
                      </a:lnTo>
                      <a:lnTo>
                        <a:pt x="387462" y="428192"/>
                      </a:lnTo>
                      <a:lnTo>
                        <a:pt x="383874" y="429030"/>
                      </a:lnTo>
                      <a:lnTo>
                        <a:pt x="381120" y="427470"/>
                      </a:lnTo>
                      <a:lnTo>
                        <a:pt x="379400" y="419601"/>
                      </a:lnTo>
                      <a:lnTo>
                        <a:pt x="384344" y="414830"/>
                      </a:lnTo>
                      <a:lnTo>
                        <a:pt x="391481" y="410976"/>
                      </a:lnTo>
                      <a:lnTo>
                        <a:pt x="396330" y="405898"/>
                      </a:lnTo>
                      <a:lnTo>
                        <a:pt x="386665" y="410004"/>
                      </a:lnTo>
                      <a:lnTo>
                        <a:pt x="381710" y="410975"/>
                      </a:lnTo>
                      <a:lnTo>
                        <a:pt x="377195" y="409763"/>
                      </a:lnTo>
                      <a:lnTo>
                        <a:pt x="364440" y="401084"/>
                      </a:lnTo>
                      <a:lnTo>
                        <a:pt x="341392" y="392278"/>
                      </a:lnTo>
                      <a:lnTo>
                        <a:pt x="325640" y="379122"/>
                      </a:lnTo>
                      <a:lnTo>
                        <a:pt x="328597" y="373960"/>
                      </a:lnTo>
                      <a:lnTo>
                        <a:pt x="335617" y="369352"/>
                      </a:lnTo>
                      <a:lnTo>
                        <a:pt x="338989" y="365778"/>
                      </a:lnTo>
                      <a:lnTo>
                        <a:pt x="348152" y="349309"/>
                      </a:lnTo>
                      <a:lnTo>
                        <a:pt x="349805" y="347457"/>
                      </a:lnTo>
                      <a:lnTo>
                        <a:pt x="354237" y="343483"/>
                      </a:lnTo>
                      <a:lnTo>
                        <a:pt x="355243" y="342190"/>
                      </a:lnTo>
                      <a:lnTo>
                        <a:pt x="355882" y="339700"/>
                      </a:lnTo>
                      <a:lnTo>
                        <a:pt x="358029" y="333262"/>
                      </a:lnTo>
                      <a:lnTo>
                        <a:pt x="358741" y="332003"/>
                      </a:lnTo>
                      <a:lnTo>
                        <a:pt x="359864" y="330499"/>
                      </a:lnTo>
                      <a:lnTo>
                        <a:pt x="361315" y="327111"/>
                      </a:lnTo>
                      <a:lnTo>
                        <a:pt x="361725" y="323810"/>
                      </a:lnTo>
                      <a:lnTo>
                        <a:pt x="359804" y="322599"/>
                      </a:lnTo>
                      <a:lnTo>
                        <a:pt x="358872" y="323635"/>
                      </a:lnTo>
                      <a:lnTo>
                        <a:pt x="343650" y="352484"/>
                      </a:lnTo>
                      <a:lnTo>
                        <a:pt x="336330" y="362002"/>
                      </a:lnTo>
                      <a:lnTo>
                        <a:pt x="329220" y="365350"/>
                      </a:lnTo>
                      <a:lnTo>
                        <a:pt x="327504" y="363870"/>
                      </a:lnTo>
                      <a:lnTo>
                        <a:pt x="325860" y="358327"/>
                      </a:lnTo>
                      <a:lnTo>
                        <a:pt x="324377" y="356860"/>
                      </a:lnTo>
                      <a:lnTo>
                        <a:pt x="322901" y="357753"/>
                      </a:lnTo>
                      <a:lnTo>
                        <a:pt x="320782" y="360032"/>
                      </a:lnTo>
                      <a:lnTo>
                        <a:pt x="318977" y="362624"/>
                      </a:lnTo>
                      <a:lnTo>
                        <a:pt x="318372" y="364489"/>
                      </a:lnTo>
                      <a:lnTo>
                        <a:pt x="319741" y="370027"/>
                      </a:lnTo>
                      <a:lnTo>
                        <a:pt x="320506" y="375570"/>
                      </a:lnTo>
                      <a:lnTo>
                        <a:pt x="320265" y="377399"/>
                      </a:lnTo>
                      <a:lnTo>
                        <a:pt x="319723" y="379691"/>
                      </a:lnTo>
                      <a:lnTo>
                        <a:pt x="319718" y="382363"/>
                      </a:lnTo>
                      <a:lnTo>
                        <a:pt x="321053" y="385477"/>
                      </a:lnTo>
                      <a:lnTo>
                        <a:pt x="310599" y="381108"/>
                      </a:lnTo>
                      <a:lnTo>
                        <a:pt x="309418" y="382181"/>
                      </a:lnTo>
                      <a:lnTo>
                        <a:pt x="310803" y="384534"/>
                      </a:lnTo>
                      <a:lnTo>
                        <a:pt x="312595" y="386144"/>
                      </a:lnTo>
                      <a:lnTo>
                        <a:pt x="313937" y="388359"/>
                      </a:lnTo>
                      <a:lnTo>
                        <a:pt x="313949" y="392495"/>
                      </a:lnTo>
                      <a:lnTo>
                        <a:pt x="313447" y="397195"/>
                      </a:lnTo>
                      <a:lnTo>
                        <a:pt x="313282" y="400855"/>
                      </a:lnTo>
                      <a:lnTo>
                        <a:pt x="312497" y="404046"/>
                      </a:lnTo>
                      <a:lnTo>
                        <a:pt x="310260" y="407333"/>
                      </a:lnTo>
                      <a:lnTo>
                        <a:pt x="307992" y="408926"/>
                      </a:lnTo>
                      <a:lnTo>
                        <a:pt x="298747" y="412891"/>
                      </a:lnTo>
                      <a:lnTo>
                        <a:pt x="288519" y="411263"/>
                      </a:lnTo>
                      <a:lnTo>
                        <a:pt x="274500" y="404709"/>
                      </a:lnTo>
                      <a:lnTo>
                        <a:pt x="263005" y="394421"/>
                      </a:lnTo>
                      <a:lnTo>
                        <a:pt x="260317" y="381613"/>
                      </a:lnTo>
                      <a:lnTo>
                        <a:pt x="251564" y="388549"/>
                      </a:lnTo>
                      <a:lnTo>
                        <a:pt x="241573" y="390666"/>
                      </a:lnTo>
                      <a:lnTo>
                        <a:pt x="231913" y="388340"/>
                      </a:lnTo>
                      <a:lnTo>
                        <a:pt x="224164" y="382040"/>
                      </a:lnTo>
                      <a:lnTo>
                        <a:pt x="232495" y="378396"/>
                      </a:lnTo>
                      <a:lnTo>
                        <a:pt x="236607" y="375617"/>
                      </a:lnTo>
                      <a:lnTo>
                        <a:pt x="239132" y="370448"/>
                      </a:lnTo>
                      <a:lnTo>
                        <a:pt x="221232" y="379108"/>
                      </a:lnTo>
                      <a:lnTo>
                        <a:pt x="209618" y="381003"/>
                      </a:lnTo>
                      <a:lnTo>
                        <a:pt x="197976" y="379700"/>
                      </a:lnTo>
                      <a:lnTo>
                        <a:pt x="195129" y="375901"/>
                      </a:lnTo>
                      <a:lnTo>
                        <a:pt x="196015" y="369665"/>
                      </a:lnTo>
                      <a:lnTo>
                        <a:pt x="197076" y="365138"/>
                      </a:lnTo>
                      <a:lnTo>
                        <a:pt x="194647" y="366607"/>
                      </a:lnTo>
                      <a:lnTo>
                        <a:pt x="192896" y="369526"/>
                      </a:lnTo>
                      <a:lnTo>
                        <a:pt x="191017" y="375529"/>
                      </a:lnTo>
                      <a:lnTo>
                        <a:pt x="189020" y="377983"/>
                      </a:lnTo>
                      <a:lnTo>
                        <a:pt x="186812" y="377903"/>
                      </a:lnTo>
                      <a:lnTo>
                        <a:pt x="183943" y="376718"/>
                      </a:lnTo>
                      <a:lnTo>
                        <a:pt x="181210" y="376565"/>
                      </a:lnTo>
                      <a:lnTo>
                        <a:pt x="179460" y="379524"/>
                      </a:lnTo>
                      <a:lnTo>
                        <a:pt x="176065" y="380230"/>
                      </a:lnTo>
                      <a:lnTo>
                        <a:pt x="156257" y="378431"/>
                      </a:lnTo>
                      <a:lnTo>
                        <a:pt x="152574" y="379532"/>
                      </a:lnTo>
                      <a:lnTo>
                        <a:pt x="140085" y="390121"/>
                      </a:lnTo>
                      <a:lnTo>
                        <a:pt x="130636" y="393424"/>
                      </a:lnTo>
                      <a:lnTo>
                        <a:pt x="122977" y="391622"/>
                      </a:lnTo>
                      <a:lnTo>
                        <a:pt x="117155" y="384682"/>
                      </a:lnTo>
                      <a:lnTo>
                        <a:pt x="113302" y="372546"/>
                      </a:lnTo>
                      <a:lnTo>
                        <a:pt x="109680" y="376402"/>
                      </a:lnTo>
                      <a:lnTo>
                        <a:pt x="105811" y="377839"/>
                      </a:lnTo>
                      <a:lnTo>
                        <a:pt x="96638" y="376874"/>
                      </a:lnTo>
                      <a:lnTo>
                        <a:pt x="95577" y="377479"/>
                      </a:lnTo>
                      <a:lnTo>
                        <a:pt x="94687" y="377214"/>
                      </a:lnTo>
                      <a:lnTo>
                        <a:pt x="93555" y="374746"/>
                      </a:lnTo>
                      <a:lnTo>
                        <a:pt x="92681" y="370837"/>
                      </a:lnTo>
                      <a:lnTo>
                        <a:pt x="92095" y="369325"/>
                      </a:lnTo>
                      <a:lnTo>
                        <a:pt x="90774" y="368024"/>
                      </a:lnTo>
                      <a:lnTo>
                        <a:pt x="93102" y="364660"/>
                      </a:lnTo>
                      <a:lnTo>
                        <a:pt x="96154" y="365046"/>
                      </a:lnTo>
                      <a:lnTo>
                        <a:pt x="99526" y="366328"/>
                      </a:lnTo>
                      <a:lnTo>
                        <a:pt x="102830" y="365641"/>
                      </a:lnTo>
                      <a:lnTo>
                        <a:pt x="99361" y="363451"/>
                      </a:lnTo>
                      <a:lnTo>
                        <a:pt x="96159" y="360337"/>
                      </a:lnTo>
                      <a:lnTo>
                        <a:pt x="92878" y="358885"/>
                      </a:lnTo>
                      <a:lnTo>
                        <a:pt x="89168" y="361683"/>
                      </a:lnTo>
                      <a:lnTo>
                        <a:pt x="86130" y="361442"/>
                      </a:lnTo>
                      <a:lnTo>
                        <a:pt x="76226" y="354907"/>
                      </a:lnTo>
                      <a:lnTo>
                        <a:pt x="74115" y="352596"/>
                      </a:lnTo>
                      <a:lnTo>
                        <a:pt x="78280" y="344710"/>
                      </a:lnTo>
                      <a:lnTo>
                        <a:pt x="87749" y="347335"/>
                      </a:lnTo>
                      <a:lnTo>
                        <a:pt x="103312" y="358502"/>
                      </a:lnTo>
                      <a:lnTo>
                        <a:pt x="103237" y="356921"/>
                      </a:lnTo>
                      <a:lnTo>
                        <a:pt x="103387" y="352945"/>
                      </a:lnTo>
                      <a:lnTo>
                        <a:pt x="103352" y="351301"/>
                      </a:lnTo>
                      <a:lnTo>
                        <a:pt x="109147" y="352465"/>
                      </a:lnTo>
                      <a:lnTo>
                        <a:pt x="102337" y="341491"/>
                      </a:lnTo>
                      <a:lnTo>
                        <a:pt x="98196" y="337167"/>
                      </a:lnTo>
                      <a:lnTo>
                        <a:pt x="93862" y="334943"/>
                      </a:lnTo>
                      <a:lnTo>
                        <a:pt x="73927" y="333750"/>
                      </a:lnTo>
                      <a:lnTo>
                        <a:pt x="69266" y="329939"/>
                      </a:lnTo>
                      <a:lnTo>
                        <a:pt x="72753" y="328942"/>
                      </a:lnTo>
                      <a:lnTo>
                        <a:pt x="76628" y="329374"/>
                      </a:lnTo>
                      <a:lnTo>
                        <a:pt x="80237" y="328931"/>
                      </a:lnTo>
                      <a:lnTo>
                        <a:pt x="83038" y="325278"/>
                      </a:lnTo>
                      <a:lnTo>
                        <a:pt x="77058" y="326818"/>
                      </a:lnTo>
                      <a:lnTo>
                        <a:pt x="74026" y="326658"/>
                      </a:lnTo>
                      <a:lnTo>
                        <a:pt x="72147" y="324263"/>
                      </a:lnTo>
                      <a:lnTo>
                        <a:pt x="71279" y="320551"/>
                      </a:lnTo>
                      <a:lnTo>
                        <a:pt x="70496" y="318752"/>
                      </a:lnTo>
                      <a:lnTo>
                        <a:pt x="68922" y="318488"/>
                      </a:lnTo>
                      <a:lnTo>
                        <a:pt x="65612" y="319303"/>
                      </a:lnTo>
                      <a:lnTo>
                        <a:pt x="68058" y="315177"/>
                      </a:lnTo>
                      <a:lnTo>
                        <a:pt x="71300" y="312436"/>
                      </a:lnTo>
                      <a:lnTo>
                        <a:pt x="77995" y="309580"/>
                      </a:lnTo>
                      <a:lnTo>
                        <a:pt x="82146" y="308804"/>
                      </a:lnTo>
                      <a:lnTo>
                        <a:pt x="86202" y="309055"/>
                      </a:lnTo>
                      <a:lnTo>
                        <a:pt x="87979" y="308641"/>
                      </a:lnTo>
                      <a:lnTo>
                        <a:pt x="91247" y="306001"/>
                      </a:lnTo>
                      <a:lnTo>
                        <a:pt x="92211" y="305450"/>
                      </a:lnTo>
                      <a:lnTo>
                        <a:pt x="99336" y="307210"/>
                      </a:lnTo>
                      <a:lnTo>
                        <a:pt x="102903" y="306235"/>
                      </a:lnTo>
                      <a:lnTo>
                        <a:pt x="107800" y="297228"/>
                      </a:lnTo>
                      <a:lnTo>
                        <a:pt x="111883" y="296887"/>
                      </a:lnTo>
                      <a:lnTo>
                        <a:pt x="116131" y="298904"/>
                      </a:lnTo>
                      <a:lnTo>
                        <a:pt x="119237" y="301280"/>
                      </a:lnTo>
                      <a:lnTo>
                        <a:pt x="121470" y="303765"/>
                      </a:lnTo>
                      <a:lnTo>
                        <a:pt x="123098" y="306675"/>
                      </a:lnTo>
                      <a:lnTo>
                        <a:pt x="124157" y="310103"/>
                      </a:lnTo>
                      <a:lnTo>
                        <a:pt x="124756" y="314198"/>
                      </a:lnTo>
                      <a:lnTo>
                        <a:pt x="124501" y="326162"/>
                      </a:lnTo>
                      <a:lnTo>
                        <a:pt x="125223" y="331474"/>
                      </a:lnTo>
                      <a:lnTo>
                        <a:pt x="127727" y="330652"/>
                      </a:lnTo>
                      <a:lnTo>
                        <a:pt x="129051" y="326423"/>
                      </a:lnTo>
                      <a:lnTo>
                        <a:pt x="129757" y="320005"/>
                      </a:lnTo>
                      <a:lnTo>
                        <a:pt x="129894" y="313543"/>
                      </a:lnTo>
                      <a:lnTo>
                        <a:pt x="129588" y="309348"/>
                      </a:lnTo>
                      <a:lnTo>
                        <a:pt x="127832" y="305122"/>
                      </a:lnTo>
                      <a:lnTo>
                        <a:pt x="123039" y="300547"/>
                      </a:lnTo>
                      <a:lnTo>
                        <a:pt x="121157" y="296840"/>
                      </a:lnTo>
                      <a:lnTo>
                        <a:pt x="152373" y="296244"/>
                      </a:lnTo>
                      <a:lnTo>
                        <a:pt x="183288" y="304275"/>
                      </a:lnTo>
                      <a:lnTo>
                        <a:pt x="178770" y="298419"/>
                      </a:lnTo>
                      <a:lnTo>
                        <a:pt x="171600" y="296175"/>
                      </a:lnTo>
                      <a:lnTo>
                        <a:pt x="106743" y="291127"/>
                      </a:lnTo>
                      <a:lnTo>
                        <a:pt x="104136" y="292209"/>
                      </a:lnTo>
                      <a:lnTo>
                        <a:pt x="99734" y="295469"/>
                      </a:lnTo>
                      <a:lnTo>
                        <a:pt x="93358" y="298055"/>
                      </a:lnTo>
                      <a:lnTo>
                        <a:pt x="87336" y="298713"/>
                      </a:lnTo>
                      <a:lnTo>
                        <a:pt x="84122" y="296348"/>
                      </a:lnTo>
                      <a:lnTo>
                        <a:pt x="83115" y="292177"/>
                      </a:lnTo>
                      <a:lnTo>
                        <a:pt x="80512" y="288843"/>
                      </a:lnTo>
                      <a:lnTo>
                        <a:pt x="79746" y="283629"/>
                      </a:lnTo>
                      <a:lnTo>
                        <a:pt x="81291" y="278613"/>
                      </a:lnTo>
                      <a:lnTo>
                        <a:pt x="84350" y="274065"/>
                      </a:lnTo>
                      <a:lnTo>
                        <a:pt x="87763" y="271228"/>
                      </a:lnTo>
                      <a:lnTo>
                        <a:pt x="90405" y="271336"/>
                      </a:lnTo>
                      <a:lnTo>
                        <a:pt x="91447" y="275039"/>
                      </a:lnTo>
                      <a:lnTo>
                        <a:pt x="91132" y="279285"/>
                      </a:lnTo>
                      <a:lnTo>
                        <a:pt x="91496" y="281515"/>
                      </a:lnTo>
                      <a:lnTo>
                        <a:pt x="94573" y="279181"/>
                      </a:lnTo>
                      <a:lnTo>
                        <a:pt x="95132" y="277485"/>
                      </a:lnTo>
                      <a:lnTo>
                        <a:pt x="95889" y="271778"/>
                      </a:lnTo>
                      <a:lnTo>
                        <a:pt x="96424" y="269932"/>
                      </a:lnTo>
                      <a:lnTo>
                        <a:pt x="97834" y="269055"/>
                      </a:lnTo>
                      <a:lnTo>
                        <a:pt x="103370" y="269159"/>
                      </a:lnTo>
                      <a:lnTo>
                        <a:pt x="103542" y="267541"/>
                      </a:lnTo>
                      <a:lnTo>
                        <a:pt x="103582" y="266515"/>
                      </a:lnTo>
                      <a:lnTo>
                        <a:pt x="103482" y="265504"/>
                      </a:lnTo>
                      <a:lnTo>
                        <a:pt x="103246" y="264077"/>
                      </a:lnTo>
                      <a:lnTo>
                        <a:pt x="99423" y="267007"/>
                      </a:lnTo>
                      <a:lnTo>
                        <a:pt x="95807" y="267393"/>
                      </a:lnTo>
                      <a:lnTo>
                        <a:pt x="88907" y="266217"/>
                      </a:lnTo>
                      <a:lnTo>
                        <a:pt x="82059" y="266686"/>
                      </a:lnTo>
                      <a:lnTo>
                        <a:pt x="75328" y="265621"/>
                      </a:lnTo>
                      <a:lnTo>
                        <a:pt x="75752" y="263523"/>
                      </a:lnTo>
                      <a:lnTo>
                        <a:pt x="95340" y="257673"/>
                      </a:lnTo>
                      <a:lnTo>
                        <a:pt x="112985" y="258952"/>
                      </a:lnTo>
                      <a:lnTo>
                        <a:pt x="117906" y="255005"/>
                      </a:lnTo>
                      <a:lnTo>
                        <a:pt x="117199" y="252219"/>
                      </a:lnTo>
                      <a:lnTo>
                        <a:pt x="122981" y="254963"/>
                      </a:lnTo>
                      <a:lnTo>
                        <a:pt x="129939" y="260782"/>
                      </a:lnTo>
                      <a:lnTo>
                        <a:pt x="136754" y="264225"/>
                      </a:lnTo>
                      <a:lnTo>
                        <a:pt x="142117" y="259854"/>
                      </a:lnTo>
                      <a:lnTo>
                        <a:pt x="163635" y="275792"/>
                      </a:lnTo>
                      <a:lnTo>
                        <a:pt x="169205" y="277445"/>
                      </a:lnTo>
                      <a:lnTo>
                        <a:pt x="173679" y="275911"/>
                      </a:lnTo>
                      <a:lnTo>
                        <a:pt x="173052" y="273193"/>
                      </a:lnTo>
                      <a:lnTo>
                        <a:pt x="176615" y="271967"/>
                      </a:lnTo>
                      <a:lnTo>
                        <a:pt x="183724" y="272365"/>
                      </a:lnTo>
                      <a:lnTo>
                        <a:pt x="187321" y="271158"/>
                      </a:lnTo>
                      <a:lnTo>
                        <a:pt x="189251" y="269152"/>
                      </a:lnTo>
                      <a:lnTo>
                        <a:pt x="191449" y="266381"/>
                      </a:lnTo>
                      <a:lnTo>
                        <a:pt x="193977" y="264032"/>
                      </a:lnTo>
                      <a:lnTo>
                        <a:pt x="196850" y="263371"/>
                      </a:lnTo>
                      <a:lnTo>
                        <a:pt x="204321" y="264183"/>
                      </a:lnTo>
                      <a:lnTo>
                        <a:pt x="207942" y="265771"/>
                      </a:lnTo>
                      <a:lnTo>
                        <a:pt x="210087" y="269309"/>
                      </a:lnTo>
                      <a:lnTo>
                        <a:pt x="211613" y="276854"/>
                      </a:lnTo>
                      <a:lnTo>
                        <a:pt x="213300" y="278784"/>
                      </a:lnTo>
                      <a:lnTo>
                        <a:pt x="216888" y="279271"/>
                      </a:lnTo>
                      <a:lnTo>
                        <a:pt x="217326" y="276947"/>
                      </a:lnTo>
                      <a:lnTo>
                        <a:pt x="214135" y="273640"/>
                      </a:lnTo>
                      <a:lnTo>
                        <a:pt x="210222" y="263256"/>
                      </a:lnTo>
                      <a:lnTo>
                        <a:pt x="206667" y="260464"/>
                      </a:lnTo>
                      <a:lnTo>
                        <a:pt x="197339" y="258876"/>
                      </a:lnTo>
                      <a:lnTo>
                        <a:pt x="192679" y="259379"/>
                      </a:lnTo>
                      <a:lnTo>
                        <a:pt x="187901" y="261634"/>
                      </a:lnTo>
                      <a:lnTo>
                        <a:pt x="182120" y="266817"/>
                      </a:lnTo>
                      <a:lnTo>
                        <a:pt x="180526" y="267425"/>
                      </a:lnTo>
                      <a:lnTo>
                        <a:pt x="172236" y="265860"/>
                      </a:lnTo>
                      <a:lnTo>
                        <a:pt x="166406" y="268475"/>
                      </a:lnTo>
                      <a:lnTo>
                        <a:pt x="161305" y="267887"/>
                      </a:lnTo>
                      <a:lnTo>
                        <a:pt x="158089" y="264570"/>
                      </a:lnTo>
                      <a:lnTo>
                        <a:pt x="159851" y="258317"/>
                      </a:lnTo>
                      <a:lnTo>
                        <a:pt x="153329" y="254300"/>
                      </a:lnTo>
                      <a:lnTo>
                        <a:pt x="135452" y="253299"/>
                      </a:lnTo>
                      <a:lnTo>
                        <a:pt x="130495" y="246793"/>
                      </a:lnTo>
                      <a:lnTo>
                        <a:pt x="119353" y="239441"/>
                      </a:lnTo>
                      <a:lnTo>
                        <a:pt x="113973" y="233283"/>
                      </a:lnTo>
                      <a:lnTo>
                        <a:pt x="116268" y="228146"/>
                      </a:lnTo>
                      <a:lnTo>
                        <a:pt x="115811" y="225640"/>
                      </a:lnTo>
                      <a:lnTo>
                        <a:pt x="115732" y="225624"/>
                      </a:lnTo>
                      <a:lnTo>
                        <a:pt x="116230" y="223126"/>
                      </a:lnTo>
                      <a:lnTo>
                        <a:pt x="118878" y="223546"/>
                      </a:lnTo>
                      <a:lnTo>
                        <a:pt x="125634" y="227623"/>
                      </a:lnTo>
                      <a:lnTo>
                        <a:pt x="127688" y="227735"/>
                      </a:lnTo>
                      <a:lnTo>
                        <a:pt x="133353" y="226576"/>
                      </a:lnTo>
                      <a:lnTo>
                        <a:pt x="151389" y="230177"/>
                      </a:lnTo>
                      <a:lnTo>
                        <a:pt x="151843" y="227856"/>
                      </a:lnTo>
                      <a:lnTo>
                        <a:pt x="147538" y="226913"/>
                      </a:lnTo>
                      <a:lnTo>
                        <a:pt x="123464" y="213527"/>
                      </a:lnTo>
                      <a:lnTo>
                        <a:pt x="120000" y="209410"/>
                      </a:lnTo>
                      <a:lnTo>
                        <a:pt x="150796" y="215590"/>
                      </a:lnTo>
                      <a:lnTo>
                        <a:pt x="147302" y="216789"/>
                      </a:lnTo>
                      <a:lnTo>
                        <a:pt x="145983" y="216840"/>
                      </a:lnTo>
                      <a:lnTo>
                        <a:pt x="145532" y="219134"/>
                      </a:lnTo>
                      <a:lnTo>
                        <a:pt x="160293" y="222729"/>
                      </a:lnTo>
                      <a:lnTo>
                        <a:pt x="164803" y="220578"/>
                      </a:lnTo>
                      <a:lnTo>
                        <a:pt x="153622" y="212161"/>
                      </a:lnTo>
                      <a:lnTo>
                        <a:pt x="141278" y="206467"/>
                      </a:lnTo>
                      <a:lnTo>
                        <a:pt x="150225" y="203646"/>
                      </a:lnTo>
                      <a:lnTo>
                        <a:pt x="154486" y="199414"/>
                      </a:lnTo>
                      <a:lnTo>
                        <a:pt x="145263" y="197862"/>
                      </a:lnTo>
                      <a:lnTo>
                        <a:pt x="137750" y="200462"/>
                      </a:lnTo>
                      <a:lnTo>
                        <a:pt x="135589" y="200717"/>
                      </a:lnTo>
                      <a:lnTo>
                        <a:pt x="97636" y="192415"/>
                      </a:lnTo>
                      <a:lnTo>
                        <a:pt x="94100" y="189679"/>
                      </a:lnTo>
                      <a:lnTo>
                        <a:pt x="93543" y="187581"/>
                      </a:lnTo>
                      <a:lnTo>
                        <a:pt x="92346" y="178351"/>
                      </a:lnTo>
                      <a:lnTo>
                        <a:pt x="92396" y="174409"/>
                      </a:lnTo>
                      <a:lnTo>
                        <a:pt x="94054" y="171531"/>
                      </a:lnTo>
                      <a:lnTo>
                        <a:pt x="96375" y="169679"/>
                      </a:lnTo>
                      <a:lnTo>
                        <a:pt x="98318" y="168813"/>
                      </a:lnTo>
                      <a:lnTo>
                        <a:pt x="97685" y="165491"/>
                      </a:lnTo>
                      <a:lnTo>
                        <a:pt x="98765" y="162034"/>
                      </a:lnTo>
                      <a:lnTo>
                        <a:pt x="100924" y="159760"/>
                      </a:lnTo>
                      <a:lnTo>
                        <a:pt x="103518" y="160033"/>
                      </a:lnTo>
                      <a:lnTo>
                        <a:pt x="103246" y="158555"/>
                      </a:lnTo>
                      <a:lnTo>
                        <a:pt x="103151" y="157414"/>
                      </a:lnTo>
                      <a:lnTo>
                        <a:pt x="102902" y="156358"/>
                      </a:lnTo>
                      <a:lnTo>
                        <a:pt x="102118" y="155132"/>
                      </a:lnTo>
                      <a:lnTo>
                        <a:pt x="104877" y="152766"/>
                      </a:lnTo>
                      <a:lnTo>
                        <a:pt x="107618" y="151833"/>
                      </a:lnTo>
                      <a:lnTo>
                        <a:pt x="113011" y="152562"/>
                      </a:lnTo>
                      <a:lnTo>
                        <a:pt x="115666" y="153736"/>
                      </a:lnTo>
                      <a:lnTo>
                        <a:pt x="118043" y="155757"/>
                      </a:lnTo>
                      <a:lnTo>
                        <a:pt x="118610" y="156993"/>
                      </a:lnTo>
                      <a:lnTo>
                        <a:pt x="118534" y="158458"/>
                      </a:lnTo>
                      <a:lnTo>
                        <a:pt x="118263" y="159810"/>
                      </a:lnTo>
                      <a:lnTo>
                        <a:pt x="118314" y="160640"/>
                      </a:lnTo>
                      <a:lnTo>
                        <a:pt x="119316" y="161059"/>
                      </a:lnTo>
                      <a:lnTo>
                        <a:pt x="121724" y="160902"/>
                      </a:lnTo>
                      <a:lnTo>
                        <a:pt x="122594" y="161510"/>
                      </a:lnTo>
                      <a:lnTo>
                        <a:pt x="124516" y="166166"/>
                      </a:lnTo>
                      <a:lnTo>
                        <a:pt x="125020" y="167044"/>
                      </a:lnTo>
                      <a:lnTo>
                        <a:pt x="126771" y="167801"/>
                      </a:lnTo>
                      <a:lnTo>
                        <a:pt x="128225" y="167865"/>
                      </a:lnTo>
                      <a:lnTo>
                        <a:pt x="132209" y="165870"/>
                      </a:lnTo>
                      <a:lnTo>
                        <a:pt x="128289" y="158628"/>
                      </a:lnTo>
                      <a:lnTo>
                        <a:pt x="127330" y="155475"/>
                      </a:lnTo>
                      <a:lnTo>
                        <a:pt x="131384" y="153796"/>
                      </a:lnTo>
                      <a:lnTo>
                        <a:pt x="138754" y="151865"/>
                      </a:lnTo>
                      <a:lnTo>
                        <a:pt x="117983" y="150917"/>
                      </a:lnTo>
                      <a:lnTo>
                        <a:pt x="121259" y="146627"/>
                      </a:lnTo>
                      <a:lnTo>
                        <a:pt x="126037" y="143490"/>
                      </a:lnTo>
                      <a:lnTo>
                        <a:pt x="131092" y="141325"/>
                      </a:lnTo>
                      <a:lnTo>
                        <a:pt x="150699" y="137207"/>
                      </a:lnTo>
                      <a:lnTo>
                        <a:pt x="155502" y="134407"/>
                      </a:lnTo>
                      <a:lnTo>
                        <a:pt x="154848" y="133817"/>
                      </a:lnTo>
                      <a:lnTo>
                        <a:pt x="154519" y="133220"/>
                      </a:lnTo>
                      <a:lnTo>
                        <a:pt x="153815" y="131442"/>
                      </a:lnTo>
                      <a:lnTo>
                        <a:pt x="160482" y="130838"/>
                      </a:lnTo>
                      <a:lnTo>
                        <a:pt x="167220" y="131924"/>
                      </a:lnTo>
                      <a:lnTo>
                        <a:pt x="164895" y="129307"/>
                      </a:lnTo>
                      <a:lnTo>
                        <a:pt x="162213" y="128370"/>
                      </a:lnTo>
                      <a:lnTo>
                        <a:pt x="160516" y="127097"/>
                      </a:lnTo>
                      <a:lnTo>
                        <a:pt x="161045" y="123456"/>
                      </a:lnTo>
                      <a:lnTo>
                        <a:pt x="162502" y="121550"/>
                      </a:lnTo>
                      <a:lnTo>
                        <a:pt x="175467" y="111042"/>
                      </a:lnTo>
                      <a:lnTo>
                        <a:pt x="180983" y="110156"/>
                      </a:lnTo>
                      <a:lnTo>
                        <a:pt x="195618" y="114181"/>
                      </a:lnTo>
                      <a:lnTo>
                        <a:pt x="200536" y="118318"/>
                      </a:lnTo>
                      <a:lnTo>
                        <a:pt x="203277" y="119559"/>
                      </a:lnTo>
                      <a:lnTo>
                        <a:pt x="209930" y="119828"/>
                      </a:lnTo>
                      <a:lnTo>
                        <a:pt x="213005" y="120671"/>
                      </a:lnTo>
                      <a:lnTo>
                        <a:pt x="218123" y="125282"/>
                      </a:lnTo>
                      <a:lnTo>
                        <a:pt x="224281" y="127152"/>
                      </a:lnTo>
                      <a:lnTo>
                        <a:pt x="226314" y="130068"/>
                      </a:lnTo>
                      <a:lnTo>
                        <a:pt x="229083" y="136998"/>
                      </a:lnTo>
                      <a:lnTo>
                        <a:pt x="232529" y="142308"/>
                      </a:lnTo>
                      <a:lnTo>
                        <a:pt x="227172" y="144057"/>
                      </a:lnTo>
                      <a:lnTo>
                        <a:pt x="221143" y="143150"/>
                      </a:lnTo>
                      <a:lnTo>
                        <a:pt x="215312" y="143682"/>
                      </a:lnTo>
                      <a:lnTo>
                        <a:pt x="210569" y="149874"/>
                      </a:lnTo>
                      <a:lnTo>
                        <a:pt x="215036" y="150626"/>
                      </a:lnTo>
                      <a:lnTo>
                        <a:pt x="230500" y="146520"/>
                      </a:lnTo>
                      <a:lnTo>
                        <a:pt x="261421" y="147185"/>
                      </a:lnTo>
                      <a:lnTo>
                        <a:pt x="264021" y="149526"/>
                      </a:lnTo>
                      <a:lnTo>
                        <a:pt x="264393" y="152305"/>
                      </a:lnTo>
                      <a:lnTo>
                        <a:pt x="263231" y="155781"/>
                      </a:lnTo>
                      <a:lnTo>
                        <a:pt x="261541" y="159545"/>
                      </a:lnTo>
                      <a:lnTo>
                        <a:pt x="257822" y="170403"/>
                      </a:lnTo>
                      <a:lnTo>
                        <a:pt x="251474" y="180390"/>
                      </a:lnTo>
                      <a:lnTo>
                        <a:pt x="250563" y="184458"/>
                      </a:lnTo>
                      <a:lnTo>
                        <a:pt x="254143" y="180525"/>
                      </a:lnTo>
                      <a:lnTo>
                        <a:pt x="256832" y="178312"/>
                      </a:lnTo>
                      <a:lnTo>
                        <a:pt x="259382" y="175528"/>
                      </a:lnTo>
                      <a:lnTo>
                        <a:pt x="262530" y="169676"/>
                      </a:lnTo>
                      <a:lnTo>
                        <a:pt x="266192" y="158735"/>
                      </a:lnTo>
                      <a:lnTo>
                        <a:pt x="268263" y="155229"/>
                      </a:lnTo>
                      <a:lnTo>
                        <a:pt x="271599" y="154354"/>
                      </a:lnTo>
                      <a:lnTo>
                        <a:pt x="274257" y="156330"/>
                      </a:lnTo>
                      <a:lnTo>
                        <a:pt x="280619" y="165589"/>
                      </a:lnTo>
                      <a:lnTo>
                        <a:pt x="285148" y="176791"/>
                      </a:lnTo>
                      <a:lnTo>
                        <a:pt x="288562" y="180579"/>
                      </a:lnTo>
                      <a:lnTo>
                        <a:pt x="297638" y="183454"/>
                      </a:lnTo>
                      <a:lnTo>
                        <a:pt x="296857" y="178412"/>
                      </a:lnTo>
                      <a:lnTo>
                        <a:pt x="294640" y="176125"/>
                      </a:lnTo>
                      <a:lnTo>
                        <a:pt x="292064" y="174472"/>
                      </a:lnTo>
                      <a:lnTo>
                        <a:pt x="290156" y="171397"/>
                      </a:lnTo>
                      <a:lnTo>
                        <a:pt x="288698" y="167201"/>
                      </a:lnTo>
                      <a:lnTo>
                        <a:pt x="286625" y="163348"/>
                      </a:lnTo>
                      <a:lnTo>
                        <a:pt x="284223" y="160407"/>
                      </a:lnTo>
                      <a:lnTo>
                        <a:pt x="281646" y="158864"/>
                      </a:lnTo>
                      <a:lnTo>
                        <a:pt x="282114" y="156330"/>
                      </a:lnTo>
                      <a:lnTo>
                        <a:pt x="319495" y="163266"/>
                      </a:lnTo>
                      <a:lnTo>
                        <a:pt x="322843" y="165413"/>
                      </a:lnTo>
                      <a:lnTo>
                        <a:pt x="329045" y="173301"/>
                      </a:lnTo>
                      <a:lnTo>
                        <a:pt x="332723" y="175517"/>
                      </a:lnTo>
                      <a:lnTo>
                        <a:pt x="347013" y="179096"/>
                      </a:lnTo>
                      <a:lnTo>
                        <a:pt x="351825" y="178977"/>
                      </a:lnTo>
                      <a:lnTo>
                        <a:pt x="355228" y="177217"/>
                      </a:lnTo>
                      <a:lnTo>
                        <a:pt x="357761" y="174038"/>
                      </a:lnTo>
                      <a:lnTo>
                        <a:pt x="361975" y="166386"/>
                      </a:lnTo>
                      <a:lnTo>
                        <a:pt x="365647" y="162153"/>
                      </a:lnTo>
                      <a:lnTo>
                        <a:pt x="369602" y="159887"/>
                      </a:lnTo>
                      <a:lnTo>
                        <a:pt x="373741" y="159095"/>
                      </a:lnTo>
                      <a:lnTo>
                        <a:pt x="378043" y="159433"/>
                      </a:lnTo>
                      <a:lnTo>
                        <a:pt x="382210" y="161304"/>
                      </a:lnTo>
                      <a:lnTo>
                        <a:pt x="389975" y="167639"/>
                      </a:lnTo>
                      <a:lnTo>
                        <a:pt x="393860" y="169454"/>
                      </a:lnTo>
                      <a:lnTo>
                        <a:pt x="395147" y="170882"/>
                      </a:lnTo>
                      <a:lnTo>
                        <a:pt x="396483" y="173503"/>
                      </a:lnTo>
                      <a:lnTo>
                        <a:pt x="398027" y="175318"/>
                      </a:lnTo>
                      <a:lnTo>
                        <a:pt x="399820" y="174304"/>
                      </a:lnTo>
                      <a:lnTo>
                        <a:pt x="403028" y="169694"/>
                      </a:lnTo>
                      <a:lnTo>
                        <a:pt x="404603" y="167983"/>
                      </a:lnTo>
                      <a:lnTo>
                        <a:pt x="406271" y="166818"/>
                      </a:lnTo>
                      <a:lnTo>
                        <a:pt x="406674" y="164487"/>
                      </a:lnTo>
                      <a:lnTo>
                        <a:pt x="404001" y="164148"/>
                      </a:lnTo>
                      <a:lnTo>
                        <a:pt x="398674" y="165228"/>
                      </a:lnTo>
                      <a:lnTo>
                        <a:pt x="396560" y="163912"/>
                      </a:lnTo>
                      <a:lnTo>
                        <a:pt x="394523" y="162009"/>
                      </a:lnTo>
                      <a:lnTo>
                        <a:pt x="387258" y="158682"/>
                      </a:lnTo>
                      <a:lnTo>
                        <a:pt x="386652" y="157531"/>
                      </a:lnTo>
                      <a:lnTo>
                        <a:pt x="386145" y="154353"/>
                      </a:lnTo>
                      <a:lnTo>
                        <a:pt x="385333" y="153537"/>
                      </a:lnTo>
                      <a:lnTo>
                        <a:pt x="384258" y="153761"/>
                      </a:lnTo>
                      <a:lnTo>
                        <a:pt x="382439" y="155239"/>
                      </a:lnTo>
                      <a:lnTo>
                        <a:pt x="381559" y="155498"/>
                      </a:lnTo>
                      <a:lnTo>
                        <a:pt x="364585" y="156357"/>
                      </a:lnTo>
                      <a:lnTo>
                        <a:pt x="361118" y="159967"/>
                      </a:lnTo>
                      <a:lnTo>
                        <a:pt x="358168" y="164901"/>
                      </a:lnTo>
                      <a:lnTo>
                        <a:pt x="354706" y="169670"/>
                      </a:lnTo>
                      <a:lnTo>
                        <a:pt x="348661" y="172114"/>
                      </a:lnTo>
                      <a:lnTo>
                        <a:pt x="315629" y="155212"/>
                      </a:lnTo>
                      <a:lnTo>
                        <a:pt x="289001" y="153022"/>
                      </a:lnTo>
                      <a:lnTo>
                        <a:pt x="286996" y="151673"/>
                      </a:lnTo>
                      <a:lnTo>
                        <a:pt x="280981" y="144086"/>
                      </a:lnTo>
                      <a:lnTo>
                        <a:pt x="278076" y="143024"/>
                      </a:lnTo>
                      <a:lnTo>
                        <a:pt x="268862" y="141803"/>
                      </a:lnTo>
                      <a:lnTo>
                        <a:pt x="260909" y="136083"/>
                      </a:lnTo>
                      <a:lnTo>
                        <a:pt x="257695" y="134885"/>
                      </a:lnTo>
                      <a:lnTo>
                        <a:pt x="255253" y="135179"/>
                      </a:lnTo>
                      <a:lnTo>
                        <a:pt x="250055" y="137499"/>
                      </a:lnTo>
                      <a:lnTo>
                        <a:pt x="247604" y="137761"/>
                      </a:lnTo>
                      <a:lnTo>
                        <a:pt x="246489" y="138308"/>
                      </a:lnTo>
                      <a:lnTo>
                        <a:pt x="243945" y="141060"/>
                      </a:lnTo>
                      <a:lnTo>
                        <a:pt x="242856" y="141683"/>
                      </a:lnTo>
                      <a:lnTo>
                        <a:pt x="241663" y="140924"/>
                      </a:lnTo>
                      <a:lnTo>
                        <a:pt x="232987" y="127974"/>
                      </a:lnTo>
                      <a:lnTo>
                        <a:pt x="233471" y="125428"/>
                      </a:lnTo>
                      <a:lnTo>
                        <a:pt x="266482" y="129574"/>
                      </a:lnTo>
                      <a:lnTo>
                        <a:pt x="271418" y="128101"/>
                      </a:lnTo>
                      <a:lnTo>
                        <a:pt x="271852" y="125776"/>
                      </a:lnTo>
                      <a:lnTo>
                        <a:pt x="221880" y="113349"/>
                      </a:lnTo>
                      <a:lnTo>
                        <a:pt x="202209" y="104802"/>
                      </a:lnTo>
                      <a:lnTo>
                        <a:pt x="190762" y="107111"/>
                      </a:lnTo>
                      <a:lnTo>
                        <a:pt x="189974" y="105550"/>
                      </a:lnTo>
                      <a:lnTo>
                        <a:pt x="189344" y="103387"/>
                      </a:lnTo>
                      <a:lnTo>
                        <a:pt x="187898" y="102096"/>
                      </a:lnTo>
                      <a:lnTo>
                        <a:pt x="174755" y="103191"/>
                      </a:lnTo>
                      <a:lnTo>
                        <a:pt x="166322" y="106419"/>
                      </a:lnTo>
                      <a:lnTo>
                        <a:pt x="162087" y="106821"/>
                      </a:lnTo>
                      <a:lnTo>
                        <a:pt x="153563" y="103517"/>
                      </a:lnTo>
                      <a:lnTo>
                        <a:pt x="148988" y="103314"/>
                      </a:lnTo>
                      <a:lnTo>
                        <a:pt x="144479" y="106770"/>
                      </a:lnTo>
                      <a:lnTo>
                        <a:pt x="141839" y="107616"/>
                      </a:lnTo>
                      <a:lnTo>
                        <a:pt x="138923" y="105172"/>
                      </a:lnTo>
                      <a:lnTo>
                        <a:pt x="134128" y="98769"/>
                      </a:lnTo>
                      <a:lnTo>
                        <a:pt x="137450" y="94717"/>
                      </a:lnTo>
                      <a:lnTo>
                        <a:pt x="140342" y="90375"/>
                      </a:lnTo>
                      <a:lnTo>
                        <a:pt x="144258" y="82721"/>
                      </a:lnTo>
                      <a:lnTo>
                        <a:pt x="144475" y="81573"/>
                      </a:lnTo>
                      <a:lnTo>
                        <a:pt x="147213" y="80475"/>
                      </a:lnTo>
                      <a:lnTo>
                        <a:pt x="147844" y="82240"/>
                      </a:lnTo>
                      <a:lnTo>
                        <a:pt x="147883" y="85021"/>
                      </a:lnTo>
                      <a:lnTo>
                        <a:pt x="148930" y="87071"/>
                      </a:lnTo>
                      <a:lnTo>
                        <a:pt x="150619" y="86981"/>
                      </a:lnTo>
                      <a:lnTo>
                        <a:pt x="151947" y="85525"/>
                      </a:lnTo>
                      <a:lnTo>
                        <a:pt x="153083" y="83944"/>
                      </a:lnTo>
                      <a:lnTo>
                        <a:pt x="154240" y="83546"/>
                      </a:lnTo>
                      <a:lnTo>
                        <a:pt x="155419" y="84731"/>
                      </a:lnTo>
                      <a:lnTo>
                        <a:pt x="156967" y="88130"/>
                      </a:lnTo>
                      <a:lnTo>
                        <a:pt x="157599" y="88817"/>
                      </a:lnTo>
                      <a:lnTo>
                        <a:pt x="159401" y="88361"/>
                      </a:lnTo>
                      <a:lnTo>
                        <a:pt x="159948" y="86963"/>
                      </a:lnTo>
                      <a:lnTo>
                        <a:pt x="160514" y="84922"/>
                      </a:lnTo>
                      <a:lnTo>
                        <a:pt x="162458" y="82585"/>
                      </a:lnTo>
                      <a:lnTo>
                        <a:pt x="169562" y="79068"/>
                      </a:lnTo>
                      <a:lnTo>
                        <a:pt x="172247" y="76030"/>
                      </a:lnTo>
                      <a:lnTo>
                        <a:pt x="175230" y="68269"/>
                      </a:lnTo>
                      <a:lnTo>
                        <a:pt x="179307" y="71667"/>
                      </a:lnTo>
                      <a:lnTo>
                        <a:pt x="185087" y="73937"/>
                      </a:lnTo>
                      <a:lnTo>
                        <a:pt x="189076" y="73337"/>
                      </a:lnTo>
                      <a:lnTo>
                        <a:pt x="187756" y="68136"/>
                      </a:lnTo>
                      <a:lnTo>
                        <a:pt x="185705" y="66739"/>
                      </a:lnTo>
                      <a:lnTo>
                        <a:pt x="180794" y="65748"/>
                      </a:lnTo>
                      <a:lnTo>
                        <a:pt x="179146" y="62921"/>
                      </a:lnTo>
                      <a:lnTo>
                        <a:pt x="177754" y="57991"/>
                      </a:lnTo>
                      <a:lnTo>
                        <a:pt x="176040" y="53742"/>
                      </a:lnTo>
                      <a:lnTo>
                        <a:pt x="164162" y="39325"/>
                      </a:lnTo>
                      <a:lnTo>
                        <a:pt x="148883" y="33821"/>
                      </a:lnTo>
                      <a:lnTo>
                        <a:pt x="147066" y="28637"/>
                      </a:lnTo>
                      <a:lnTo>
                        <a:pt x="148629" y="28869"/>
                      </a:lnTo>
                      <a:lnTo>
                        <a:pt x="150016" y="28634"/>
                      </a:lnTo>
                      <a:lnTo>
                        <a:pt x="152942" y="27417"/>
                      </a:lnTo>
                      <a:lnTo>
                        <a:pt x="151279" y="23473"/>
                      </a:lnTo>
                      <a:lnTo>
                        <a:pt x="147265" y="18174"/>
                      </a:lnTo>
                      <a:lnTo>
                        <a:pt x="146515" y="14041"/>
                      </a:lnTo>
                      <a:lnTo>
                        <a:pt x="147509" y="13827"/>
                      </a:lnTo>
                      <a:lnTo>
                        <a:pt x="149377" y="12726"/>
                      </a:lnTo>
                      <a:lnTo>
                        <a:pt x="150326" y="12402"/>
                      </a:lnTo>
                      <a:lnTo>
                        <a:pt x="149955" y="11249"/>
                      </a:lnTo>
                      <a:lnTo>
                        <a:pt x="149460" y="8518"/>
                      </a:lnTo>
                      <a:lnTo>
                        <a:pt x="149095" y="7338"/>
                      </a:lnTo>
                      <a:lnTo>
                        <a:pt x="149725" y="7667"/>
                      </a:lnTo>
                      <a:lnTo>
                        <a:pt x="150085" y="7339"/>
                      </a:lnTo>
                      <a:lnTo>
                        <a:pt x="150641" y="5239"/>
                      </a:lnTo>
                      <a:lnTo>
                        <a:pt x="152584" y="4757"/>
                      </a:lnTo>
                      <a:lnTo>
                        <a:pt x="157120" y="6555"/>
                      </a:lnTo>
                      <a:lnTo>
                        <a:pt x="157930" y="6519"/>
                      </a:lnTo>
                      <a:lnTo>
                        <a:pt x="159524" y="7243"/>
                      </a:lnTo>
                      <a:lnTo>
                        <a:pt x="160359" y="7212"/>
                      </a:lnTo>
                      <a:lnTo>
                        <a:pt x="160550" y="6460"/>
                      </a:lnTo>
                      <a:lnTo>
                        <a:pt x="161050" y="3358"/>
                      </a:lnTo>
                      <a:lnTo>
                        <a:pt x="161287" y="2572"/>
                      </a:lnTo>
                      <a:close/>
                    </a:path>
                  </a:pathLst>
                </a:custGeom>
                <a:solidFill>
                  <a:srgbClr val="656565"/>
                </a:solidFill>
                <a:ln w="3175" cap="rnd">
                  <a:solidFill>
                    <a:srgbClr val="65656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Freeform 103">
                  <a:extLst>
                    <a:ext uri="{FF2B5EF4-FFF2-40B4-BE49-F238E27FC236}">
                      <a16:creationId xmlns:a16="http://schemas.microsoft.com/office/drawing/2014/main" id="{7E984695-AEDB-4718-8F64-172D395830D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"/>
                  </p:custDataLst>
                </p:nvPr>
              </p:nvSpPr>
              <p:spPr>
                <a:xfrm>
                  <a:off x="1920533" y="4118864"/>
                  <a:ext cx="303806" cy="39394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27820" h="425079">
                      <a:moveTo>
                        <a:pt x="159678" y="130752"/>
                      </a:moveTo>
                      <a:lnTo>
                        <a:pt x="167704" y="133492"/>
                      </a:lnTo>
                      <a:lnTo>
                        <a:pt x="169997" y="133570"/>
                      </a:lnTo>
                      <a:lnTo>
                        <a:pt x="171884" y="132873"/>
                      </a:lnTo>
                      <a:lnTo>
                        <a:pt x="172607" y="130514"/>
                      </a:lnTo>
                      <a:lnTo>
                        <a:pt x="176016" y="128063"/>
                      </a:lnTo>
                      <a:lnTo>
                        <a:pt x="203148" y="127444"/>
                      </a:lnTo>
                      <a:lnTo>
                        <a:pt x="217268" y="124033"/>
                      </a:lnTo>
                      <a:lnTo>
                        <a:pt x="238153" y="127363"/>
                      </a:lnTo>
                      <a:lnTo>
                        <a:pt x="245026" y="130041"/>
                      </a:lnTo>
                      <a:lnTo>
                        <a:pt x="247077" y="131693"/>
                      </a:lnTo>
                      <a:lnTo>
                        <a:pt x="248118" y="133995"/>
                      </a:lnTo>
                      <a:lnTo>
                        <a:pt x="250176" y="144673"/>
                      </a:lnTo>
                      <a:lnTo>
                        <a:pt x="257162" y="164956"/>
                      </a:lnTo>
                      <a:lnTo>
                        <a:pt x="256082" y="171339"/>
                      </a:lnTo>
                      <a:lnTo>
                        <a:pt x="253206" y="179123"/>
                      </a:lnTo>
                      <a:lnTo>
                        <a:pt x="249747" y="187023"/>
                      </a:lnTo>
                      <a:lnTo>
                        <a:pt x="246891" y="190444"/>
                      </a:lnTo>
                      <a:lnTo>
                        <a:pt x="245154" y="191629"/>
                      </a:lnTo>
                      <a:lnTo>
                        <a:pt x="243797" y="192008"/>
                      </a:lnTo>
                      <a:lnTo>
                        <a:pt x="241267" y="193390"/>
                      </a:lnTo>
                      <a:lnTo>
                        <a:pt x="240092" y="193690"/>
                      </a:lnTo>
                      <a:lnTo>
                        <a:pt x="238877" y="193702"/>
                      </a:lnTo>
                      <a:lnTo>
                        <a:pt x="236792" y="193265"/>
                      </a:lnTo>
                      <a:lnTo>
                        <a:pt x="235544" y="195460"/>
                      </a:lnTo>
                      <a:lnTo>
                        <a:pt x="234378" y="200001"/>
                      </a:lnTo>
                      <a:lnTo>
                        <a:pt x="233131" y="211521"/>
                      </a:lnTo>
                      <a:lnTo>
                        <a:pt x="234332" y="217429"/>
                      </a:lnTo>
                      <a:lnTo>
                        <a:pt x="236692" y="224737"/>
                      </a:lnTo>
                      <a:lnTo>
                        <a:pt x="236583" y="227422"/>
                      </a:lnTo>
                      <a:lnTo>
                        <a:pt x="235615" y="230530"/>
                      </a:lnTo>
                      <a:lnTo>
                        <a:pt x="232944" y="233663"/>
                      </a:lnTo>
                      <a:lnTo>
                        <a:pt x="230916" y="235397"/>
                      </a:lnTo>
                      <a:lnTo>
                        <a:pt x="223820" y="238501"/>
                      </a:lnTo>
                      <a:lnTo>
                        <a:pt x="222311" y="239630"/>
                      </a:lnTo>
                      <a:lnTo>
                        <a:pt x="220712" y="243839"/>
                      </a:lnTo>
                      <a:lnTo>
                        <a:pt x="221280" y="253544"/>
                      </a:lnTo>
                      <a:lnTo>
                        <a:pt x="221884" y="258896"/>
                      </a:lnTo>
                      <a:lnTo>
                        <a:pt x="223310" y="267156"/>
                      </a:lnTo>
                      <a:lnTo>
                        <a:pt x="225492" y="269769"/>
                      </a:lnTo>
                      <a:lnTo>
                        <a:pt x="229097" y="271959"/>
                      </a:lnTo>
                      <a:lnTo>
                        <a:pt x="241124" y="274107"/>
                      </a:lnTo>
                      <a:lnTo>
                        <a:pt x="247251" y="269444"/>
                      </a:lnTo>
                      <a:lnTo>
                        <a:pt x="249230" y="269308"/>
                      </a:lnTo>
                      <a:lnTo>
                        <a:pt x="256296" y="272312"/>
                      </a:lnTo>
                      <a:lnTo>
                        <a:pt x="260359" y="276335"/>
                      </a:lnTo>
                      <a:lnTo>
                        <a:pt x="262382" y="280902"/>
                      </a:lnTo>
                      <a:lnTo>
                        <a:pt x="262851" y="284319"/>
                      </a:lnTo>
                      <a:lnTo>
                        <a:pt x="262209" y="289243"/>
                      </a:lnTo>
                      <a:lnTo>
                        <a:pt x="262382" y="290707"/>
                      </a:lnTo>
                      <a:lnTo>
                        <a:pt x="264605" y="292765"/>
                      </a:lnTo>
                      <a:lnTo>
                        <a:pt x="277019" y="301076"/>
                      </a:lnTo>
                      <a:lnTo>
                        <a:pt x="281466" y="306305"/>
                      </a:lnTo>
                      <a:lnTo>
                        <a:pt x="283750" y="311322"/>
                      </a:lnTo>
                      <a:lnTo>
                        <a:pt x="284332" y="317448"/>
                      </a:lnTo>
                      <a:lnTo>
                        <a:pt x="285171" y="321498"/>
                      </a:lnTo>
                      <a:lnTo>
                        <a:pt x="286903" y="324550"/>
                      </a:lnTo>
                      <a:lnTo>
                        <a:pt x="289102" y="325703"/>
                      </a:lnTo>
                      <a:lnTo>
                        <a:pt x="291381" y="324376"/>
                      </a:lnTo>
                      <a:lnTo>
                        <a:pt x="292633" y="321733"/>
                      </a:lnTo>
                      <a:lnTo>
                        <a:pt x="293840" y="319952"/>
                      </a:lnTo>
                      <a:lnTo>
                        <a:pt x="298844" y="318468"/>
                      </a:lnTo>
                      <a:lnTo>
                        <a:pt x="308431" y="323879"/>
                      </a:lnTo>
                      <a:lnTo>
                        <a:pt x="308385" y="328965"/>
                      </a:lnTo>
                      <a:lnTo>
                        <a:pt x="308406" y="331370"/>
                      </a:lnTo>
                      <a:lnTo>
                        <a:pt x="308944" y="332734"/>
                      </a:lnTo>
                      <a:lnTo>
                        <a:pt x="309493" y="334787"/>
                      </a:lnTo>
                      <a:lnTo>
                        <a:pt x="309252" y="336403"/>
                      </a:lnTo>
                      <a:lnTo>
                        <a:pt x="308320" y="337496"/>
                      </a:lnTo>
                      <a:lnTo>
                        <a:pt x="307151" y="338203"/>
                      </a:lnTo>
                      <a:lnTo>
                        <a:pt x="306285" y="339045"/>
                      </a:lnTo>
                      <a:lnTo>
                        <a:pt x="309403" y="342665"/>
                      </a:lnTo>
                      <a:lnTo>
                        <a:pt x="326307" y="350313"/>
                      </a:lnTo>
                      <a:lnTo>
                        <a:pt x="327610" y="358904"/>
                      </a:lnTo>
                      <a:lnTo>
                        <a:pt x="327819" y="362727"/>
                      </a:lnTo>
                      <a:lnTo>
                        <a:pt x="327407" y="365336"/>
                      </a:lnTo>
                      <a:lnTo>
                        <a:pt x="326308" y="369124"/>
                      </a:lnTo>
                      <a:lnTo>
                        <a:pt x="324095" y="371750"/>
                      </a:lnTo>
                      <a:lnTo>
                        <a:pt x="322785" y="372887"/>
                      </a:lnTo>
                      <a:lnTo>
                        <a:pt x="321846" y="373377"/>
                      </a:lnTo>
                      <a:lnTo>
                        <a:pt x="321161" y="373959"/>
                      </a:lnTo>
                      <a:lnTo>
                        <a:pt x="320149" y="375205"/>
                      </a:lnTo>
                      <a:lnTo>
                        <a:pt x="318840" y="377497"/>
                      </a:lnTo>
                      <a:lnTo>
                        <a:pt x="317441" y="379036"/>
                      </a:lnTo>
                      <a:lnTo>
                        <a:pt x="316980" y="381188"/>
                      </a:lnTo>
                      <a:lnTo>
                        <a:pt x="316864" y="382948"/>
                      </a:lnTo>
                      <a:lnTo>
                        <a:pt x="321068" y="391168"/>
                      </a:lnTo>
                      <a:lnTo>
                        <a:pt x="322200" y="395713"/>
                      </a:lnTo>
                      <a:lnTo>
                        <a:pt x="322197" y="395721"/>
                      </a:lnTo>
                      <a:lnTo>
                        <a:pt x="321552" y="397457"/>
                      </a:lnTo>
                      <a:lnTo>
                        <a:pt x="320957" y="401404"/>
                      </a:lnTo>
                      <a:lnTo>
                        <a:pt x="320824" y="403231"/>
                      </a:lnTo>
                      <a:lnTo>
                        <a:pt x="316390" y="406697"/>
                      </a:lnTo>
                      <a:lnTo>
                        <a:pt x="314064" y="402890"/>
                      </a:lnTo>
                      <a:lnTo>
                        <a:pt x="312278" y="397985"/>
                      </a:lnTo>
                      <a:lnTo>
                        <a:pt x="309533" y="398150"/>
                      </a:lnTo>
                      <a:lnTo>
                        <a:pt x="304204" y="407645"/>
                      </a:lnTo>
                      <a:lnTo>
                        <a:pt x="301047" y="411684"/>
                      </a:lnTo>
                      <a:lnTo>
                        <a:pt x="298765" y="410837"/>
                      </a:lnTo>
                      <a:lnTo>
                        <a:pt x="296956" y="408840"/>
                      </a:lnTo>
                      <a:lnTo>
                        <a:pt x="291141" y="407266"/>
                      </a:lnTo>
                      <a:lnTo>
                        <a:pt x="288890" y="405924"/>
                      </a:lnTo>
                      <a:lnTo>
                        <a:pt x="288093" y="404507"/>
                      </a:lnTo>
                      <a:lnTo>
                        <a:pt x="286681" y="399669"/>
                      </a:lnTo>
                      <a:lnTo>
                        <a:pt x="285272" y="395625"/>
                      </a:lnTo>
                      <a:lnTo>
                        <a:pt x="290853" y="393997"/>
                      </a:lnTo>
                      <a:lnTo>
                        <a:pt x="293673" y="392524"/>
                      </a:lnTo>
                      <a:lnTo>
                        <a:pt x="296322" y="389975"/>
                      </a:lnTo>
                      <a:lnTo>
                        <a:pt x="293534" y="384199"/>
                      </a:lnTo>
                      <a:lnTo>
                        <a:pt x="292310" y="374710"/>
                      </a:lnTo>
                      <a:lnTo>
                        <a:pt x="290458" y="367144"/>
                      </a:lnTo>
                      <a:lnTo>
                        <a:pt x="285778" y="367046"/>
                      </a:lnTo>
                      <a:lnTo>
                        <a:pt x="287996" y="374457"/>
                      </a:lnTo>
                      <a:lnTo>
                        <a:pt x="287973" y="381322"/>
                      </a:lnTo>
                      <a:lnTo>
                        <a:pt x="286024" y="387805"/>
                      </a:lnTo>
                      <a:lnTo>
                        <a:pt x="282362" y="393981"/>
                      </a:lnTo>
                      <a:lnTo>
                        <a:pt x="271616" y="399226"/>
                      </a:lnTo>
                      <a:lnTo>
                        <a:pt x="267300" y="403888"/>
                      </a:lnTo>
                      <a:lnTo>
                        <a:pt x="270479" y="410045"/>
                      </a:lnTo>
                      <a:lnTo>
                        <a:pt x="262564" y="412794"/>
                      </a:lnTo>
                      <a:lnTo>
                        <a:pt x="232914" y="412269"/>
                      </a:lnTo>
                      <a:lnTo>
                        <a:pt x="225178" y="414326"/>
                      </a:lnTo>
                      <a:lnTo>
                        <a:pt x="221595" y="414481"/>
                      </a:lnTo>
                      <a:lnTo>
                        <a:pt x="216261" y="410569"/>
                      </a:lnTo>
                      <a:lnTo>
                        <a:pt x="214252" y="411171"/>
                      </a:lnTo>
                      <a:lnTo>
                        <a:pt x="214559" y="417925"/>
                      </a:lnTo>
                      <a:lnTo>
                        <a:pt x="211296" y="417274"/>
                      </a:lnTo>
                      <a:lnTo>
                        <a:pt x="209928" y="416371"/>
                      </a:lnTo>
                      <a:lnTo>
                        <a:pt x="208741" y="414600"/>
                      </a:lnTo>
                      <a:lnTo>
                        <a:pt x="208075" y="421868"/>
                      </a:lnTo>
                      <a:lnTo>
                        <a:pt x="204968" y="424556"/>
                      </a:lnTo>
                      <a:lnTo>
                        <a:pt x="201453" y="422510"/>
                      </a:lnTo>
                      <a:lnTo>
                        <a:pt x="199722" y="415539"/>
                      </a:lnTo>
                      <a:lnTo>
                        <a:pt x="198283" y="420005"/>
                      </a:lnTo>
                      <a:lnTo>
                        <a:pt x="198021" y="422055"/>
                      </a:lnTo>
                      <a:lnTo>
                        <a:pt x="198227" y="425078"/>
                      </a:lnTo>
                      <a:lnTo>
                        <a:pt x="164166" y="419527"/>
                      </a:lnTo>
                      <a:lnTo>
                        <a:pt x="142925" y="409559"/>
                      </a:lnTo>
                      <a:lnTo>
                        <a:pt x="140789" y="406511"/>
                      </a:lnTo>
                      <a:lnTo>
                        <a:pt x="140964" y="401325"/>
                      </a:lnTo>
                      <a:lnTo>
                        <a:pt x="129315" y="405178"/>
                      </a:lnTo>
                      <a:lnTo>
                        <a:pt x="125923" y="408384"/>
                      </a:lnTo>
                      <a:lnTo>
                        <a:pt x="125192" y="403045"/>
                      </a:lnTo>
                      <a:lnTo>
                        <a:pt x="123469" y="401289"/>
                      </a:lnTo>
                      <a:lnTo>
                        <a:pt x="109577" y="403647"/>
                      </a:lnTo>
                      <a:lnTo>
                        <a:pt x="108622" y="404952"/>
                      </a:lnTo>
                      <a:lnTo>
                        <a:pt x="108394" y="406525"/>
                      </a:lnTo>
                      <a:lnTo>
                        <a:pt x="108162" y="407569"/>
                      </a:lnTo>
                      <a:lnTo>
                        <a:pt x="107556" y="409320"/>
                      </a:lnTo>
                      <a:lnTo>
                        <a:pt x="107264" y="411736"/>
                      </a:lnTo>
                      <a:lnTo>
                        <a:pt x="106657" y="413772"/>
                      </a:lnTo>
                      <a:lnTo>
                        <a:pt x="105126" y="414439"/>
                      </a:lnTo>
                      <a:lnTo>
                        <a:pt x="103632" y="414413"/>
                      </a:lnTo>
                      <a:lnTo>
                        <a:pt x="96434" y="416140"/>
                      </a:lnTo>
                      <a:lnTo>
                        <a:pt x="93352" y="416200"/>
                      </a:lnTo>
                      <a:lnTo>
                        <a:pt x="91885" y="414552"/>
                      </a:lnTo>
                      <a:lnTo>
                        <a:pt x="93836" y="409895"/>
                      </a:lnTo>
                      <a:lnTo>
                        <a:pt x="94163" y="403177"/>
                      </a:lnTo>
                      <a:lnTo>
                        <a:pt x="99051" y="399577"/>
                      </a:lnTo>
                      <a:lnTo>
                        <a:pt x="105245" y="397380"/>
                      </a:lnTo>
                      <a:lnTo>
                        <a:pt x="109634" y="394761"/>
                      </a:lnTo>
                      <a:lnTo>
                        <a:pt x="112366" y="392286"/>
                      </a:lnTo>
                      <a:lnTo>
                        <a:pt x="113991" y="393331"/>
                      </a:lnTo>
                      <a:lnTo>
                        <a:pt x="115222" y="395763"/>
                      </a:lnTo>
                      <a:lnTo>
                        <a:pt x="116832" y="397275"/>
                      </a:lnTo>
                      <a:lnTo>
                        <a:pt x="118601" y="395878"/>
                      </a:lnTo>
                      <a:lnTo>
                        <a:pt x="122727" y="388563"/>
                      </a:lnTo>
                      <a:lnTo>
                        <a:pt x="124409" y="386395"/>
                      </a:lnTo>
                      <a:lnTo>
                        <a:pt x="124789" y="384064"/>
                      </a:lnTo>
                      <a:lnTo>
                        <a:pt x="121067" y="384321"/>
                      </a:lnTo>
                      <a:lnTo>
                        <a:pt x="108630" y="389030"/>
                      </a:lnTo>
                      <a:lnTo>
                        <a:pt x="105727" y="391716"/>
                      </a:lnTo>
                      <a:lnTo>
                        <a:pt x="102367" y="393497"/>
                      </a:lnTo>
                      <a:lnTo>
                        <a:pt x="87644" y="397014"/>
                      </a:lnTo>
                      <a:lnTo>
                        <a:pt x="83433" y="396163"/>
                      </a:lnTo>
                      <a:lnTo>
                        <a:pt x="87248" y="392398"/>
                      </a:lnTo>
                      <a:lnTo>
                        <a:pt x="93870" y="382722"/>
                      </a:lnTo>
                      <a:lnTo>
                        <a:pt x="97494" y="379435"/>
                      </a:lnTo>
                      <a:lnTo>
                        <a:pt x="94947" y="377145"/>
                      </a:lnTo>
                      <a:lnTo>
                        <a:pt x="82456" y="389064"/>
                      </a:lnTo>
                      <a:lnTo>
                        <a:pt x="77549" y="392755"/>
                      </a:lnTo>
                      <a:lnTo>
                        <a:pt x="79457" y="388933"/>
                      </a:lnTo>
                      <a:lnTo>
                        <a:pt x="80927" y="385378"/>
                      </a:lnTo>
                      <a:lnTo>
                        <a:pt x="81708" y="381520"/>
                      </a:lnTo>
                      <a:lnTo>
                        <a:pt x="81606" y="376709"/>
                      </a:lnTo>
                      <a:lnTo>
                        <a:pt x="79182" y="377760"/>
                      </a:lnTo>
                      <a:lnTo>
                        <a:pt x="75465" y="381384"/>
                      </a:lnTo>
                      <a:lnTo>
                        <a:pt x="72939" y="382403"/>
                      </a:lnTo>
                      <a:lnTo>
                        <a:pt x="70252" y="381767"/>
                      </a:lnTo>
                      <a:lnTo>
                        <a:pt x="67046" y="379727"/>
                      </a:lnTo>
                      <a:lnTo>
                        <a:pt x="64247" y="376801"/>
                      </a:lnTo>
                      <a:lnTo>
                        <a:pt x="62907" y="373473"/>
                      </a:lnTo>
                      <a:lnTo>
                        <a:pt x="71691" y="369704"/>
                      </a:lnTo>
                      <a:lnTo>
                        <a:pt x="75997" y="369037"/>
                      </a:lnTo>
                      <a:lnTo>
                        <a:pt x="90358" y="370911"/>
                      </a:lnTo>
                      <a:lnTo>
                        <a:pt x="95162" y="369680"/>
                      </a:lnTo>
                      <a:lnTo>
                        <a:pt x="98579" y="365260"/>
                      </a:lnTo>
                      <a:lnTo>
                        <a:pt x="93072" y="364659"/>
                      </a:lnTo>
                      <a:lnTo>
                        <a:pt x="82682" y="366040"/>
                      </a:lnTo>
                      <a:lnTo>
                        <a:pt x="77432" y="363807"/>
                      </a:lnTo>
                      <a:lnTo>
                        <a:pt x="73691" y="358709"/>
                      </a:lnTo>
                      <a:lnTo>
                        <a:pt x="66983" y="346388"/>
                      </a:lnTo>
                      <a:lnTo>
                        <a:pt x="62837" y="344724"/>
                      </a:lnTo>
                      <a:lnTo>
                        <a:pt x="66080" y="364151"/>
                      </a:lnTo>
                      <a:lnTo>
                        <a:pt x="64758" y="366617"/>
                      </a:lnTo>
                      <a:lnTo>
                        <a:pt x="55401" y="366457"/>
                      </a:lnTo>
                      <a:lnTo>
                        <a:pt x="50943" y="364451"/>
                      </a:lnTo>
                      <a:lnTo>
                        <a:pt x="48954" y="358850"/>
                      </a:lnTo>
                      <a:lnTo>
                        <a:pt x="51664" y="355686"/>
                      </a:lnTo>
                      <a:lnTo>
                        <a:pt x="52378" y="351487"/>
                      </a:lnTo>
                      <a:lnTo>
                        <a:pt x="52515" y="346345"/>
                      </a:lnTo>
                      <a:lnTo>
                        <a:pt x="53349" y="340469"/>
                      </a:lnTo>
                      <a:lnTo>
                        <a:pt x="46149" y="357787"/>
                      </a:lnTo>
                      <a:lnTo>
                        <a:pt x="43204" y="362849"/>
                      </a:lnTo>
                      <a:lnTo>
                        <a:pt x="45922" y="363370"/>
                      </a:lnTo>
                      <a:lnTo>
                        <a:pt x="46938" y="365290"/>
                      </a:lnTo>
                      <a:lnTo>
                        <a:pt x="47349" y="368017"/>
                      </a:lnTo>
                      <a:lnTo>
                        <a:pt x="48172" y="370901"/>
                      </a:lnTo>
                      <a:lnTo>
                        <a:pt x="49763" y="373262"/>
                      </a:lnTo>
                      <a:lnTo>
                        <a:pt x="53006" y="376484"/>
                      </a:lnTo>
                      <a:lnTo>
                        <a:pt x="56005" y="381431"/>
                      </a:lnTo>
                      <a:lnTo>
                        <a:pt x="57380" y="383126"/>
                      </a:lnTo>
                      <a:lnTo>
                        <a:pt x="57005" y="384630"/>
                      </a:lnTo>
                      <a:lnTo>
                        <a:pt x="53252" y="386357"/>
                      </a:lnTo>
                      <a:lnTo>
                        <a:pt x="51450" y="386201"/>
                      </a:lnTo>
                      <a:lnTo>
                        <a:pt x="48123" y="383449"/>
                      </a:lnTo>
                      <a:lnTo>
                        <a:pt x="46241" y="382520"/>
                      </a:lnTo>
                      <a:lnTo>
                        <a:pt x="27595" y="378424"/>
                      </a:lnTo>
                      <a:lnTo>
                        <a:pt x="23961" y="375125"/>
                      </a:lnTo>
                      <a:lnTo>
                        <a:pt x="16123" y="362583"/>
                      </a:lnTo>
                      <a:lnTo>
                        <a:pt x="14817" y="357823"/>
                      </a:lnTo>
                      <a:lnTo>
                        <a:pt x="18512" y="357668"/>
                      </a:lnTo>
                      <a:lnTo>
                        <a:pt x="22243" y="355205"/>
                      </a:lnTo>
                      <a:lnTo>
                        <a:pt x="25394" y="350667"/>
                      </a:lnTo>
                      <a:lnTo>
                        <a:pt x="27384" y="344368"/>
                      </a:lnTo>
                      <a:lnTo>
                        <a:pt x="30060" y="340903"/>
                      </a:lnTo>
                      <a:lnTo>
                        <a:pt x="40205" y="342196"/>
                      </a:lnTo>
                      <a:lnTo>
                        <a:pt x="44320" y="341480"/>
                      </a:lnTo>
                      <a:lnTo>
                        <a:pt x="42117" y="338951"/>
                      </a:lnTo>
                      <a:lnTo>
                        <a:pt x="41067" y="338309"/>
                      </a:lnTo>
                      <a:lnTo>
                        <a:pt x="45874" y="333004"/>
                      </a:lnTo>
                      <a:lnTo>
                        <a:pt x="55726" y="329596"/>
                      </a:lnTo>
                      <a:lnTo>
                        <a:pt x="64441" y="322472"/>
                      </a:lnTo>
                      <a:lnTo>
                        <a:pt x="80249" y="316419"/>
                      </a:lnTo>
                      <a:lnTo>
                        <a:pt x="77304" y="314738"/>
                      </a:lnTo>
                      <a:lnTo>
                        <a:pt x="72491" y="315399"/>
                      </a:lnTo>
                      <a:lnTo>
                        <a:pt x="63286" y="319445"/>
                      </a:lnTo>
                      <a:lnTo>
                        <a:pt x="51090" y="327755"/>
                      </a:lnTo>
                      <a:lnTo>
                        <a:pt x="47935" y="327729"/>
                      </a:lnTo>
                      <a:lnTo>
                        <a:pt x="46149" y="324445"/>
                      </a:lnTo>
                      <a:lnTo>
                        <a:pt x="42782" y="312417"/>
                      </a:lnTo>
                      <a:lnTo>
                        <a:pt x="42388" y="308579"/>
                      </a:lnTo>
                      <a:lnTo>
                        <a:pt x="44660" y="302342"/>
                      </a:lnTo>
                      <a:lnTo>
                        <a:pt x="48073" y="299775"/>
                      </a:lnTo>
                      <a:lnTo>
                        <a:pt x="51652" y="300620"/>
                      </a:lnTo>
                      <a:lnTo>
                        <a:pt x="54391" y="304713"/>
                      </a:lnTo>
                      <a:lnTo>
                        <a:pt x="58064" y="297966"/>
                      </a:lnTo>
                      <a:lnTo>
                        <a:pt x="55053" y="292398"/>
                      </a:lnTo>
                      <a:lnTo>
                        <a:pt x="50692" y="292901"/>
                      </a:lnTo>
                      <a:lnTo>
                        <a:pt x="46111" y="294675"/>
                      </a:lnTo>
                      <a:lnTo>
                        <a:pt x="42532" y="293058"/>
                      </a:lnTo>
                      <a:lnTo>
                        <a:pt x="39311" y="311619"/>
                      </a:lnTo>
                      <a:lnTo>
                        <a:pt x="39298" y="318611"/>
                      </a:lnTo>
                      <a:lnTo>
                        <a:pt x="27748" y="317119"/>
                      </a:lnTo>
                      <a:lnTo>
                        <a:pt x="17608" y="308371"/>
                      </a:lnTo>
                      <a:lnTo>
                        <a:pt x="490" y="302016"/>
                      </a:lnTo>
                      <a:lnTo>
                        <a:pt x="0" y="301658"/>
                      </a:lnTo>
                      <a:lnTo>
                        <a:pt x="2249" y="299601"/>
                      </a:lnTo>
                      <a:lnTo>
                        <a:pt x="8584" y="296171"/>
                      </a:lnTo>
                      <a:lnTo>
                        <a:pt x="29799" y="291425"/>
                      </a:lnTo>
                      <a:lnTo>
                        <a:pt x="32554" y="290538"/>
                      </a:lnTo>
                      <a:lnTo>
                        <a:pt x="35308" y="289159"/>
                      </a:lnTo>
                      <a:lnTo>
                        <a:pt x="39759" y="285779"/>
                      </a:lnTo>
                      <a:lnTo>
                        <a:pt x="43448" y="281609"/>
                      </a:lnTo>
                      <a:lnTo>
                        <a:pt x="46627" y="277068"/>
                      </a:lnTo>
                      <a:lnTo>
                        <a:pt x="48319" y="271212"/>
                      </a:lnTo>
                      <a:lnTo>
                        <a:pt x="48960" y="265323"/>
                      </a:lnTo>
                      <a:lnTo>
                        <a:pt x="48693" y="229662"/>
                      </a:lnTo>
                      <a:lnTo>
                        <a:pt x="49129" y="223674"/>
                      </a:lnTo>
                      <a:lnTo>
                        <a:pt x="50066" y="219895"/>
                      </a:lnTo>
                      <a:lnTo>
                        <a:pt x="52057" y="214120"/>
                      </a:lnTo>
                      <a:lnTo>
                        <a:pt x="52450" y="210689"/>
                      </a:lnTo>
                      <a:lnTo>
                        <a:pt x="52581" y="200393"/>
                      </a:lnTo>
                      <a:lnTo>
                        <a:pt x="53162" y="196534"/>
                      </a:lnTo>
                      <a:lnTo>
                        <a:pt x="53420" y="192417"/>
                      </a:lnTo>
                      <a:lnTo>
                        <a:pt x="52009" y="189047"/>
                      </a:lnTo>
                      <a:lnTo>
                        <a:pt x="46525" y="185523"/>
                      </a:lnTo>
                      <a:lnTo>
                        <a:pt x="36930" y="184903"/>
                      </a:lnTo>
                      <a:lnTo>
                        <a:pt x="34397" y="181874"/>
                      </a:lnTo>
                      <a:lnTo>
                        <a:pt x="31472" y="172131"/>
                      </a:lnTo>
                      <a:lnTo>
                        <a:pt x="33792" y="169392"/>
                      </a:lnTo>
                      <a:lnTo>
                        <a:pt x="52469" y="165623"/>
                      </a:lnTo>
                      <a:lnTo>
                        <a:pt x="58645" y="162187"/>
                      </a:lnTo>
                      <a:lnTo>
                        <a:pt x="61546" y="159963"/>
                      </a:lnTo>
                      <a:lnTo>
                        <a:pt x="62928" y="155402"/>
                      </a:lnTo>
                      <a:lnTo>
                        <a:pt x="59713" y="146652"/>
                      </a:lnTo>
                      <a:lnTo>
                        <a:pt x="58393" y="141066"/>
                      </a:lnTo>
                      <a:lnTo>
                        <a:pt x="53565" y="135543"/>
                      </a:lnTo>
                      <a:lnTo>
                        <a:pt x="52325" y="133208"/>
                      </a:lnTo>
                      <a:lnTo>
                        <a:pt x="51648" y="130938"/>
                      </a:lnTo>
                      <a:lnTo>
                        <a:pt x="55726" y="123439"/>
                      </a:lnTo>
                      <a:lnTo>
                        <a:pt x="67085" y="106027"/>
                      </a:lnTo>
                      <a:lnTo>
                        <a:pt x="68350" y="102298"/>
                      </a:lnTo>
                      <a:lnTo>
                        <a:pt x="69526" y="96320"/>
                      </a:lnTo>
                      <a:lnTo>
                        <a:pt x="69041" y="92626"/>
                      </a:lnTo>
                      <a:lnTo>
                        <a:pt x="67808" y="88551"/>
                      </a:lnTo>
                      <a:lnTo>
                        <a:pt x="67468" y="85652"/>
                      </a:lnTo>
                      <a:lnTo>
                        <a:pt x="68320" y="82847"/>
                      </a:lnTo>
                      <a:lnTo>
                        <a:pt x="70807" y="80006"/>
                      </a:lnTo>
                      <a:lnTo>
                        <a:pt x="109934" y="47647"/>
                      </a:lnTo>
                      <a:lnTo>
                        <a:pt x="112695" y="44576"/>
                      </a:lnTo>
                      <a:lnTo>
                        <a:pt x="116117" y="39101"/>
                      </a:lnTo>
                      <a:lnTo>
                        <a:pt x="119727" y="35125"/>
                      </a:lnTo>
                      <a:lnTo>
                        <a:pt x="125891" y="30461"/>
                      </a:lnTo>
                      <a:lnTo>
                        <a:pt x="132628" y="26510"/>
                      </a:lnTo>
                      <a:lnTo>
                        <a:pt x="136148" y="23185"/>
                      </a:lnTo>
                      <a:lnTo>
                        <a:pt x="137911" y="18687"/>
                      </a:lnTo>
                      <a:lnTo>
                        <a:pt x="137563" y="14467"/>
                      </a:lnTo>
                      <a:lnTo>
                        <a:pt x="138188" y="11594"/>
                      </a:lnTo>
                      <a:lnTo>
                        <a:pt x="140047" y="8997"/>
                      </a:lnTo>
                      <a:lnTo>
                        <a:pt x="144735" y="6308"/>
                      </a:lnTo>
                      <a:lnTo>
                        <a:pt x="151040" y="0"/>
                      </a:lnTo>
                      <a:lnTo>
                        <a:pt x="164829" y="3325"/>
                      </a:lnTo>
                      <a:lnTo>
                        <a:pt x="189147" y="16362"/>
                      </a:lnTo>
                      <a:lnTo>
                        <a:pt x="190701" y="17584"/>
                      </a:lnTo>
                      <a:lnTo>
                        <a:pt x="191120" y="19104"/>
                      </a:lnTo>
                      <a:lnTo>
                        <a:pt x="190604" y="20719"/>
                      </a:lnTo>
                      <a:lnTo>
                        <a:pt x="188449" y="22475"/>
                      </a:lnTo>
                      <a:lnTo>
                        <a:pt x="186638" y="24344"/>
                      </a:lnTo>
                      <a:lnTo>
                        <a:pt x="184978" y="27832"/>
                      </a:lnTo>
                      <a:lnTo>
                        <a:pt x="183373" y="34533"/>
                      </a:lnTo>
                      <a:lnTo>
                        <a:pt x="180456" y="43958"/>
                      </a:lnTo>
                      <a:lnTo>
                        <a:pt x="179426" y="49535"/>
                      </a:lnTo>
                      <a:lnTo>
                        <a:pt x="179280" y="55858"/>
                      </a:lnTo>
                      <a:lnTo>
                        <a:pt x="179792" y="59883"/>
                      </a:lnTo>
                      <a:lnTo>
                        <a:pt x="179843" y="63659"/>
                      </a:lnTo>
                      <a:lnTo>
                        <a:pt x="178853" y="66281"/>
                      </a:lnTo>
                      <a:lnTo>
                        <a:pt x="176240" y="68223"/>
                      </a:lnTo>
                      <a:lnTo>
                        <a:pt x="173562" y="68286"/>
                      </a:lnTo>
                      <a:lnTo>
                        <a:pt x="171071" y="69821"/>
                      </a:lnTo>
                      <a:lnTo>
                        <a:pt x="173799" y="79429"/>
                      </a:lnTo>
                      <a:lnTo>
                        <a:pt x="175833" y="87732"/>
                      </a:lnTo>
                      <a:lnTo>
                        <a:pt x="176340" y="90959"/>
                      </a:lnTo>
                      <a:lnTo>
                        <a:pt x="175231" y="95154"/>
                      </a:lnTo>
                      <a:lnTo>
                        <a:pt x="172207" y="100078"/>
                      </a:lnTo>
                      <a:lnTo>
                        <a:pt x="156560" y="115524"/>
                      </a:lnTo>
                      <a:lnTo>
                        <a:pt x="154214" y="119346"/>
                      </a:lnTo>
                      <a:lnTo>
                        <a:pt x="152698" y="122222"/>
                      </a:lnTo>
                      <a:lnTo>
                        <a:pt x="153165" y="127048"/>
                      </a:lnTo>
                      <a:close/>
                    </a:path>
                  </a:pathLst>
                </a:custGeom>
                <a:solidFill>
                  <a:srgbClr val="72AEB8"/>
                </a:solidFill>
                <a:ln w="3175" cap="rnd">
                  <a:solidFill>
                    <a:srgbClr val="72AEB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Freeform 104">
                  <a:extLst>
                    <a:ext uri="{FF2B5EF4-FFF2-40B4-BE49-F238E27FC236}">
                      <a16:creationId xmlns:a16="http://schemas.microsoft.com/office/drawing/2014/main" id="{F792A7DF-F90C-45FC-ADF3-9770A8346B2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"/>
                  </p:custDataLst>
                </p:nvPr>
              </p:nvSpPr>
              <p:spPr>
                <a:xfrm>
                  <a:off x="2666687" y="3763275"/>
                  <a:ext cx="215977" cy="35452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33048" h="382545">
                      <a:moveTo>
                        <a:pt x="233047" y="265818"/>
                      </a:moveTo>
                      <a:lnTo>
                        <a:pt x="228323" y="269719"/>
                      </a:lnTo>
                      <a:lnTo>
                        <a:pt x="226099" y="281311"/>
                      </a:lnTo>
                      <a:lnTo>
                        <a:pt x="227708" y="286360"/>
                      </a:lnTo>
                      <a:lnTo>
                        <a:pt x="232112" y="293341"/>
                      </a:lnTo>
                      <a:lnTo>
                        <a:pt x="217792" y="293414"/>
                      </a:lnTo>
                      <a:lnTo>
                        <a:pt x="208370" y="297565"/>
                      </a:lnTo>
                      <a:lnTo>
                        <a:pt x="203867" y="301528"/>
                      </a:lnTo>
                      <a:lnTo>
                        <a:pt x="201643" y="304122"/>
                      </a:lnTo>
                      <a:lnTo>
                        <a:pt x="200553" y="306753"/>
                      </a:lnTo>
                      <a:lnTo>
                        <a:pt x="200417" y="309359"/>
                      </a:lnTo>
                      <a:lnTo>
                        <a:pt x="199865" y="312320"/>
                      </a:lnTo>
                      <a:lnTo>
                        <a:pt x="198819" y="315357"/>
                      </a:lnTo>
                      <a:lnTo>
                        <a:pt x="196718" y="318905"/>
                      </a:lnTo>
                      <a:lnTo>
                        <a:pt x="194573" y="321765"/>
                      </a:lnTo>
                      <a:lnTo>
                        <a:pt x="192536" y="323093"/>
                      </a:lnTo>
                      <a:lnTo>
                        <a:pt x="186522" y="324015"/>
                      </a:lnTo>
                      <a:lnTo>
                        <a:pt x="181206" y="332037"/>
                      </a:lnTo>
                      <a:lnTo>
                        <a:pt x="163570" y="349075"/>
                      </a:lnTo>
                      <a:lnTo>
                        <a:pt x="159598" y="348357"/>
                      </a:lnTo>
                      <a:lnTo>
                        <a:pt x="158676" y="347467"/>
                      </a:lnTo>
                      <a:lnTo>
                        <a:pt x="157851" y="345034"/>
                      </a:lnTo>
                      <a:lnTo>
                        <a:pt x="161036" y="339197"/>
                      </a:lnTo>
                      <a:lnTo>
                        <a:pt x="161387" y="336988"/>
                      </a:lnTo>
                      <a:lnTo>
                        <a:pt x="161253" y="333888"/>
                      </a:lnTo>
                      <a:lnTo>
                        <a:pt x="160327" y="331392"/>
                      </a:lnTo>
                      <a:lnTo>
                        <a:pt x="158325" y="327369"/>
                      </a:lnTo>
                      <a:lnTo>
                        <a:pt x="156552" y="325201"/>
                      </a:lnTo>
                      <a:lnTo>
                        <a:pt x="154627" y="323662"/>
                      </a:lnTo>
                      <a:lnTo>
                        <a:pt x="151915" y="322474"/>
                      </a:lnTo>
                      <a:lnTo>
                        <a:pt x="148797" y="320455"/>
                      </a:lnTo>
                      <a:lnTo>
                        <a:pt x="145203" y="317112"/>
                      </a:lnTo>
                      <a:lnTo>
                        <a:pt x="141559" y="308918"/>
                      </a:lnTo>
                      <a:lnTo>
                        <a:pt x="139233" y="298199"/>
                      </a:lnTo>
                      <a:lnTo>
                        <a:pt x="128602" y="289561"/>
                      </a:lnTo>
                      <a:lnTo>
                        <a:pt x="124635" y="289358"/>
                      </a:lnTo>
                      <a:lnTo>
                        <a:pt x="122555" y="295158"/>
                      </a:lnTo>
                      <a:lnTo>
                        <a:pt x="121816" y="306211"/>
                      </a:lnTo>
                      <a:lnTo>
                        <a:pt x="120234" y="312708"/>
                      </a:lnTo>
                      <a:lnTo>
                        <a:pt x="112771" y="313818"/>
                      </a:lnTo>
                      <a:lnTo>
                        <a:pt x="90867" y="310061"/>
                      </a:lnTo>
                      <a:lnTo>
                        <a:pt x="79265" y="305725"/>
                      </a:lnTo>
                      <a:lnTo>
                        <a:pt x="72851" y="307155"/>
                      </a:lnTo>
                      <a:lnTo>
                        <a:pt x="71624" y="309762"/>
                      </a:lnTo>
                      <a:lnTo>
                        <a:pt x="68027" y="320096"/>
                      </a:lnTo>
                      <a:lnTo>
                        <a:pt x="65903" y="323350"/>
                      </a:lnTo>
                      <a:lnTo>
                        <a:pt x="64375" y="325179"/>
                      </a:lnTo>
                      <a:lnTo>
                        <a:pt x="59765" y="327534"/>
                      </a:lnTo>
                      <a:lnTo>
                        <a:pt x="56042" y="330757"/>
                      </a:lnTo>
                      <a:lnTo>
                        <a:pt x="55432" y="331875"/>
                      </a:lnTo>
                      <a:lnTo>
                        <a:pt x="53793" y="337427"/>
                      </a:lnTo>
                      <a:lnTo>
                        <a:pt x="47241" y="342817"/>
                      </a:lnTo>
                      <a:lnTo>
                        <a:pt x="44301" y="347480"/>
                      </a:lnTo>
                      <a:lnTo>
                        <a:pt x="39590" y="352413"/>
                      </a:lnTo>
                      <a:lnTo>
                        <a:pt x="37454" y="355500"/>
                      </a:lnTo>
                      <a:lnTo>
                        <a:pt x="33596" y="363113"/>
                      </a:lnTo>
                      <a:lnTo>
                        <a:pt x="31798" y="367243"/>
                      </a:lnTo>
                      <a:lnTo>
                        <a:pt x="27909" y="372570"/>
                      </a:lnTo>
                      <a:lnTo>
                        <a:pt x="21472" y="377620"/>
                      </a:lnTo>
                      <a:lnTo>
                        <a:pt x="20883" y="377661"/>
                      </a:lnTo>
                      <a:lnTo>
                        <a:pt x="19453" y="377215"/>
                      </a:lnTo>
                      <a:lnTo>
                        <a:pt x="13020" y="382503"/>
                      </a:lnTo>
                      <a:lnTo>
                        <a:pt x="12970" y="382544"/>
                      </a:lnTo>
                      <a:lnTo>
                        <a:pt x="12397" y="380489"/>
                      </a:lnTo>
                      <a:lnTo>
                        <a:pt x="10889" y="378254"/>
                      </a:lnTo>
                      <a:lnTo>
                        <a:pt x="9429" y="374806"/>
                      </a:lnTo>
                      <a:lnTo>
                        <a:pt x="8165" y="367107"/>
                      </a:lnTo>
                      <a:lnTo>
                        <a:pt x="8061" y="359087"/>
                      </a:lnTo>
                      <a:lnTo>
                        <a:pt x="9166" y="351175"/>
                      </a:lnTo>
                      <a:lnTo>
                        <a:pt x="11677" y="343775"/>
                      </a:lnTo>
                      <a:lnTo>
                        <a:pt x="9450" y="336179"/>
                      </a:lnTo>
                      <a:lnTo>
                        <a:pt x="8004" y="328544"/>
                      </a:lnTo>
                      <a:lnTo>
                        <a:pt x="7546" y="319521"/>
                      </a:lnTo>
                      <a:lnTo>
                        <a:pt x="8311" y="307748"/>
                      </a:lnTo>
                      <a:lnTo>
                        <a:pt x="4864" y="311744"/>
                      </a:lnTo>
                      <a:lnTo>
                        <a:pt x="1615" y="306136"/>
                      </a:lnTo>
                      <a:lnTo>
                        <a:pt x="0" y="296695"/>
                      </a:lnTo>
                      <a:lnTo>
                        <a:pt x="1373" y="289153"/>
                      </a:lnTo>
                      <a:lnTo>
                        <a:pt x="4477" y="283224"/>
                      </a:lnTo>
                      <a:lnTo>
                        <a:pt x="10549" y="267400"/>
                      </a:lnTo>
                      <a:lnTo>
                        <a:pt x="13527" y="260861"/>
                      </a:lnTo>
                      <a:lnTo>
                        <a:pt x="21472" y="253766"/>
                      </a:lnTo>
                      <a:lnTo>
                        <a:pt x="24646" y="264326"/>
                      </a:lnTo>
                      <a:lnTo>
                        <a:pt x="25816" y="281905"/>
                      </a:lnTo>
                      <a:lnTo>
                        <a:pt x="27753" y="295706"/>
                      </a:lnTo>
                      <a:lnTo>
                        <a:pt x="30997" y="282770"/>
                      </a:lnTo>
                      <a:lnTo>
                        <a:pt x="35733" y="270083"/>
                      </a:lnTo>
                      <a:lnTo>
                        <a:pt x="38454" y="260025"/>
                      </a:lnTo>
                      <a:lnTo>
                        <a:pt x="38459" y="260027"/>
                      </a:lnTo>
                      <a:lnTo>
                        <a:pt x="45520" y="262895"/>
                      </a:lnTo>
                      <a:lnTo>
                        <a:pt x="58615" y="266987"/>
                      </a:lnTo>
                      <a:lnTo>
                        <a:pt x="64694" y="264211"/>
                      </a:lnTo>
                      <a:lnTo>
                        <a:pt x="66297" y="262393"/>
                      </a:lnTo>
                      <a:lnTo>
                        <a:pt x="69602" y="256285"/>
                      </a:lnTo>
                      <a:lnTo>
                        <a:pt x="70199" y="253475"/>
                      </a:lnTo>
                      <a:lnTo>
                        <a:pt x="74091" y="217656"/>
                      </a:lnTo>
                      <a:lnTo>
                        <a:pt x="73534" y="212000"/>
                      </a:lnTo>
                      <a:lnTo>
                        <a:pt x="63471" y="194874"/>
                      </a:lnTo>
                      <a:lnTo>
                        <a:pt x="53454" y="171380"/>
                      </a:lnTo>
                      <a:lnTo>
                        <a:pt x="50795" y="162728"/>
                      </a:lnTo>
                      <a:lnTo>
                        <a:pt x="48784" y="159251"/>
                      </a:lnTo>
                      <a:lnTo>
                        <a:pt x="45705" y="156464"/>
                      </a:lnTo>
                      <a:lnTo>
                        <a:pt x="36967" y="152320"/>
                      </a:lnTo>
                      <a:lnTo>
                        <a:pt x="42188" y="149042"/>
                      </a:lnTo>
                      <a:lnTo>
                        <a:pt x="44608" y="149009"/>
                      </a:lnTo>
                      <a:lnTo>
                        <a:pt x="47953" y="151143"/>
                      </a:lnTo>
                      <a:lnTo>
                        <a:pt x="49277" y="149836"/>
                      </a:lnTo>
                      <a:lnTo>
                        <a:pt x="50184" y="148661"/>
                      </a:lnTo>
                      <a:lnTo>
                        <a:pt x="55607" y="132157"/>
                      </a:lnTo>
                      <a:lnTo>
                        <a:pt x="61042" y="121187"/>
                      </a:lnTo>
                      <a:lnTo>
                        <a:pt x="64662" y="115693"/>
                      </a:lnTo>
                      <a:lnTo>
                        <a:pt x="83698" y="91944"/>
                      </a:lnTo>
                      <a:lnTo>
                        <a:pt x="85270" y="88729"/>
                      </a:lnTo>
                      <a:lnTo>
                        <a:pt x="85805" y="86964"/>
                      </a:lnTo>
                      <a:lnTo>
                        <a:pt x="86034" y="81078"/>
                      </a:lnTo>
                      <a:lnTo>
                        <a:pt x="77141" y="64580"/>
                      </a:lnTo>
                      <a:lnTo>
                        <a:pt x="73058" y="59170"/>
                      </a:lnTo>
                      <a:lnTo>
                        <a:pt x="69647" y="57498"/>
                      </a:lnTo>
                      <a:lnTo>
                        <a:pt x="50030" y="52514"/>
                      </a:lnTo>
                      <a:lnTo>
                        <a:pt x="48762" y="51464"/>
                      </a:lnTo>
                      <a:lnTo>
                        <a:pt x="48629" y="49543"/>
                      </a:lnTo>
                      <a:lnTo>
                        <a:pt x="49709" y="45549"/>
                      </a:lnTo>
                      <a:lnTo>
                        <a:pt x="52728" y="39165"/>
                      </a:lnTo>
                      <a:lnTo>
                        <a:pt x="56463" y="28190"/>
                      </a:lnTo>
                      <a:lnTo>
                        <a:pt x="57105" y="25978"/>
                      </a:lnTo>
                      <a:lnTo>
                        <a:pt x="60416" y="23707"/>
                      </a:lnTo>
                      <a:lnTo>
                        <a:pt x="62773" y="26172"/>
                      </a:lnTo>
                      <a:lnTo>
                        <a:pt x="64416" y="28863"/>
                      </a:lnTo>
                      <a:lnTo>
                        <a:pt x="68545" y="34085"/>
                      </a:lnTo>
                      <a:lnTo>
                        <a:pt x="69840" y="35199"/>
                      </a:lnTo>
                      <a:lnTo>
                        <a:pt x="80614" y="40037"/>
                      </a:lnTo>
                      <a:lnTo>
                        <a:pt x="121593" y="29930"/>
                      </a:lnTo>
                      <a:lnTo>
                        <a:pt x="124022" y="27996"/>
                      </a:lnTo>
                      <a:lnTo>
                        <a:pt x="125147" y="26103"/>
                      </a:lnTo>
                      <a:lnTo>
                        <a:pt x="126308" y="21825"/>
                      </a:lnTo>
                      <a:lnTo>
                        <a:pt x="126645" y="18574"/>
                      </a:lnTo>
                      <a:lnTo>
                        <a:pt x="126981" y="12548"/>
                      </a:lnTo>
                      <a:lnTo>
                        <a:pt x="128164" y="9574"/>
                      </a:lnTo>
                      <a:lnTo>
                        <a:pt x="129223" y="7622"/>
                      </a:lnTo>
                      <a:lnTo>
                        <a:pt x="136087" y="360"/>
                      </a:lnTo>
                      <a:lnTo>
                        <a:pt x="136427" y="0"/>
                      </a:lnTo>
                      <a:lnTo>
                        <a:pt x="139596" y="7545"/>
                      </a:lnTo>
                      <a:lnTo>
                        <a:pt x="140663" y="12524"/>
                      </a:lnTo>
                      <a:lnTo>
                        <a:pt x="143265" y="18650"/>
                      </a:lnTo>
                      <a:lnTo>
                        <a:pt x="144188" y="23605"/>
                      </a:lnTo>
                      <a:lnTo>
                        <a:pt x="144848" y="29071"/>
                      </a:lnTo>
                      <a:lnTo>
                        <a:pt x="144260" y="35340"/>
                      </a:lnTo>
                      <a:lnTo>
                        <a:pt x="145058" y="37910"/>
                      </a:lnTo>
                      <a:lnTo>
                        <a:pt x="145891" y="39200"/>
                      </a:lnTo>
                      <a:lnTo>
                        <a:pt x="153307" y="44564"/>
                      </a:lnTo>
                      <a:lnTo>
                        <a:pt x="156111" y="47635"/>
                      </a:lnTo>
                      <a:lnTo>
                        <a:pt x="162963" y="58806"/>
                      </a:lnTo>
                      <a:lnTo>
                        <a:pt x="166360" y="69762"/>
                      </a:lnTo>
                      <a:lnTo>
                        <a:pt x="167730" y="76831"/>
                      </a:lnTo>
                      <a:lnTo>
                        <a:pt x="172922" y="92203"/>
                      </a:lnTo>
                      <a:lnTo>
                        <a:pt x="184783" y="111323"/>
                      </a:lnTo>
                      <a:lnTo>
                        <a:pt x="195722" y="125042"/>
                      </a:lnTo>
                      <a:lnTo>
                        <a:pt x="196208" y="129137"/>
                      </a:lnTo>
                      <a:lnTo>
                        <a:pt x="196074" y="134964"/>
                      </a:lnTo>
                      <a:lnTo>
                        <a:pt x="192439" y="148964"/>
                      </a:lnTo>
                      <a:lnTo>
                        <a:pt x="192190" y="156064"/>
                      </a:lnTo>
                      <a:lnTo>
                        <a:pt x="192905" y="159490"/>
                      </a:lnTo>
                      <a:lnTo>
                        <a:pt x="194359" y="162468"/>
                      </a:lnTo>
                      <a:lnTo>
                        <a:pt x="198638" y="167590"/>
                      </a:lnTo>
                      <a:lnTo>
                        <a:pt x="216862" y="183771"/>
                      </a:lnTo>
                      <a:lnTo>
                        <a:pt x="229328" y="201169"/>
                      </a:lnTo>
                      <a:lnTo>
                        <a:pt x="232685" y="204391"/>
                      </a:lnTo>
                      <a:lnTo>
                        <a:pt x="232944" y="205663"/>
                      </a:lnTo>
                      <a:lnTo>
                        <a:pt x="232970" y="209746"/>
                      </a:lnTo>
                      <a:lnTo>
                        <a:pt x="231771" y="218350"/>
                      </a:lnTo>
                      <a:lnTo>
                        <a:pt x="230950" y="220533"/>
                      </a:lnTo>
                      <a:lnTo>
                        <a:pt x="229639" y="223351"/>
                      </a:lnTo>
                      <a:lnTo>
                        <a:pt x="229109" y="224718"/>
                      </a:lnTo>
                      <a:lnTo>
                        <a:pt x="228857" y="226273"/>
                      </a:lnTo>
                      <a:lnTo>
                        <a:pt x="228935" y="248451"/>
                      </a:lnTo>
                      <a:lnTo>
                        <a:pt x="229410" y="254710"/>
                      </a:lnTo>
                      <a:lnTo>
                        <a:pt x="230343" y="259040"/>
                      </a:lnTo>
                      <a:lnTo>
                        <a:pt x="231443" y="262353"/>
                      </a:lnTo>
                      <a:lnTo>
                        <a:pt x="232930" y="265570"/>
                      </a:lnTo>
                      <a:lnTo>
                        <a:pt x="232983" y="265682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3175" cap="rnd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Freeform 105">
                  <a:extLst>
                    <a:ext uri="{FF2B5EF4-FFF2-40B4-BE49-F238E27FC236}">
                      <a16:creationId xmlns:a16="http://schemas.microsoft.com/office/drawing/2014/main" id="{CBB559BC-8775-4ECF-892B-81E96A1FE223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5"/>
                  </p:custDataLst>
                </p:nvPr>
              </p:nvSpPr>
              <p:spPr>
                <a:xfrm>
                  <a:off x="2191368" y="3548776"/>
                  <a:ext cx="500672" cy="56786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540247" h="612748">
                      <a:moveTo>
                        <a:pt x="418868" y="252691"/>
                      </a:moveTo>
                      <a:lnTo>
                        <a:pt x="418942" y="247163"/>
                      </a:lnTo>
                      <a:lnTo>
                        <a:pt x="417221" y="231055"/>
                      </a:lnTo>
                      <a:lnTo>
                        <a:pt x="417590" y="224457"/>
                      </a:lnTo>
                      <a:lnTo>
                        <a:pt x="418877" y="219876"/>
                      </a:lnTo>
                      <a:lnTo>
                        <a:pt x="421618" y="215963"/>
                      </a:lnTo>
                      <a:lnTo>
                        <a:pt x="425793" y="213177"/>
                      </a:lnTo>
                      <a:lnTo>
                        <a:pt x="440147" y="210802"/>
                      </a:lnTo>
                      <a:lnTo>
                        <a:pt x="441957" y="209875"/>
                      </a:lnTo>
                      <a:lnTo>
                        <a:pt x="444213" y="206807"/>
                      </a:lnTo>
                      <a:lnTo>
                        <a:pt x="444744" y="203984"/>
                      </a:lnTo>
                      <a:lnTo>
                        <a:pt x="444218" y="201137"/>
                      </a:lnTo>
                      <a:lnTo>
                        <a:pt x="442771" y="198472"/>
                      </a:lnTo>
                      <a:lnTo>
                        <a:pt x="443877" y="196791"/>
                      </a:lnTo>
                      <a:lnTo>
                        <a:pt x="445015" y="195493"/>
                      </a:lnTo>
                      <a:lnTo>
                        <a:pt x="461823" y="198680"/>
                      </a:lnTo>
                      <a:lnTo>
                        <a:pt x="466765" y="207394"/>
                      </a:lnTo>
                      <a:lnTo>
                        <a:pt x="468612" y="212524"/>
                      </a:lnTo>
                      <a:lnTo>
                        <a:pt x="469922" y="219946"/>
                      </a:lnTo>
                      <a:lnTo>
                        <a:pt x="474787" y="233486"/>
                      </a:lnTo>
                      <a:lnTo>
                        <a:pt x="477712" y="243493"/>
                      </a:lnTo>
                      <a:lnTo>
                        <a:pt x="478893" y="252201"/>
                      </a:lnTo>
                      <a:lnTo>
                        <a:pt x="481113" y="284764"/>
                      </a:lnTo>
                      <a:lnTo>
                        <a:pt x="481885" y="291334"/>
                      </a:lnTo>
                      <a:lnTo>
                        <a:pt x="483226" y="297701"/>
                      </a:lnTo>
                      <a:lnTo>
                        <a:pt x="491842" y="325064"/>
                      </a:lnTo>
                      <a:lnTo>
                        <a:pt x="495288" y="333405"/>
                      </a:lnTo>
                      <a:lnTo>
                        <a:pt x="502040" y="345945"/>
                      </a:lnTo>
                      <a:lnTo>
                        <a:pt x="504933" y="349754"/>
                      </a:lnTo>
                      <a:lnTo>
                        <a:pt x="529757" y="370955"/>
                      </a:lnTo>
                      <a:lnTo>
                        <a:pt x="540246" y="382218"/>
                      </a:lnTo>
                      <a:lnTo>
                        <a:pt x="528569" y="405551"/>
                      </a:lnTo>
                      <a:lnTo>
                        <a:pt x="524722" y="410953"/>
                      </a:lnTo>
                      <a:lnTo>
                        <a:pt x="521026" y="414123"/>
                      </a:lnTo>
                      <a:lnTo>
                        <a:pt x="513213" y="415704"/>
                      </a:lnTo>
                      <a:lnTo>
                        <a:pt x="503989" y="420180"/>
                      </a:lnTo>
                      <a:lnTo>
                        <a:pt x="492390" y="435610"/>
                      </a:lnTo>
                      <a:lnTo>
                        <a:pt x="490559" y="438848"/>
                      </a:lnTo>
                      <a:lnTo>
                        <a:pt x="489847" y="451613"/>
                      </a:lnTo>
                      <a:lnTo>
                        <a:pt x="486422" y="462098"/>
                      </a:lnTo>
                      <a:lnTo>
                        <a:pt x="482756" y="470874"/>
                      </a:lnTo>
                      <a:lnTo>
                        <a:pt x="481352" y="480221"/>
                      </a:lnTo>
                      <a:lnTo>
                        <a:pt x="480892" y="485382"/>
                      </a:lnTo>
                      <a:lnTo>
                        <a:pt x="482199" y="490283"/>
                      </a:lnTo>
                      <a:lnTo>
                        <a:pt x="488143" y="496735"/>
                      </a:lnTo>
                      <a:lnTo>
                        <a:pt x="494905" y="499575"/>
                      </a:lnTo>
                      <a:lnTo>
                        <a:pt x="503133" y="500262"/>
                      </a:lnTo>
                      <a:lnTo>
                        <a:pt x="502202" y="505206"/>
                      </a:lnTo>
                      <a:lnTo>
                        <a:pt x="501203" y="515792"/>
                      </a:lnTo>
                      <a:lnTo>
                        <a:pt x="501127" y="525041"/>
                      </a:lnTo>
                      <a:lnTo>
                        <a:pt x="502156" y="533003"/>
                      </a:lnTo>
                      <a:lnTo>
                        <a:pt x="504286" y="540098"/>
                      </a:lnTo>
                      <a:lnTo>
                        <a:pt x="507374" y="545323"/>
                      </a:lnTo>
                      <a:lnTo>
                        <a:pt x="511242" y="547577"/>
                      </a:lnTo>
                      <a:lnTo>
                        <a:pt x="514320" y="550631"/>
                      </a:lnTo>
                      <a:lnTo>
                        <a:pt x="516483" y="557162"/>
                      </a:lnTo>
                      <a:lnTo>
                        <a:pt x="517675" y="564472"/>
                      </a:lnTo>
                      <a:lnTo>
                        <a:pt x="517786" y="569919"/>
                      </a:lnTo>
                      <a:lnTo>
                        <a:pt x="512619" y="582322"/>
                      </a:lnTo>
                      <a:lnTo>
                        <a:pt x="502506" y="593280"/>
                      </a:lnTo>
                      <a:lnTo>
                        <a:pt x="491406" y="599333"/>
                      </a:lnTo>
                      <a:lnTo>
                        <a:pt x="483357" y="597040"/>
                      </a:lnTo>
                      <a:lnTo>
                        <a:pt x="481678" y="591466"/>
                      </a:lnTo>
                      <a:lnTo>
                        <a:pt x="482255" y="584511"/>
                      </a:lnTo>
                      <a:lnTo>
                        <a:pt x="485161" y="569604"/>
                      </a:lnTo>
                      <a:lnTo>
                        <a:pt x="485222" y="566299"/>
                      </a:lnTo>
                      <a:lnTo>
                        <a:pt x="484511" y="554197"/>
                      </a:lnTo>
                      <a:lnTo>
                        <a:pt x="484604" y="547115"/>
                      </a:lnTo>
                      <a:lnTo>
                        <a:pt x="484474" y="544000"/>
                      </a:lnTo>
                      <a:lnTo>
                        <a:pt x="483943" y="539889"/>
                      </a:lnTo>
                      <a:lnTo>
                        <a:pt x="483216" y="537991"/>
                      </a:lnTo>
                      <a:lnTo>
                        <a:pt x="479848" y="531948"/>
                      </a:lnTo>
                      <a:lnTo>
                        <a:pt x="479352" y="531040"/>
                      </a:lnTo>
                      <a:lnTo>
                        <a:pt x="477687" y="529357"/>
                      </a:lnTo>
                      <a:lnTo>
                        <a:pt x="476504" y="529333"/>
                      </a:lnTo>
                      <a:lnTo>
                        <a:pt x="476276" y="529319"/>
                      </a:lnTo>
                      <a:lnTo>
                        <a:pt x="475378" y="529298"/>
                      </a:lnTo>
                      <a:lnTo>
                        <a:pt x="472813" y="528613"/>
                      </a:lnTo>
                      <a:lnTo>
                        <a:pt x="467453" y="520842"/>
                      </a:lnTo>
                      <a:lnTo>
                        <a:pt x="462605" y="517576"/>
                      </a:lnTo>
                      <a:lnTo>
                        <a:pt x="457734" y="517335"/>
                      </a:lnTo>
                      <a:lnTo>
                        <a:pt x="454611" y="522157"/>
                      </a:lnTo>
                      <a:lnTo>
                        <a:pt x="456784" y="524104"/>
                      </a:lnTo>
                      <a:lnTo>
                        <a:pt x="459366" y="530643"/>
                      </a:lnTo>
                      <a:lnTo>
                        <a:pt x="461255" y="532227"/>
                      </a:lnTo>
                      <a:lnTo>
                        <a:pt x="463649" y="532975"/>
                      </a:lnTo>
                      <a:lnTo>
                        <a:pt x="462672" y="534747"/>
                      </a:lnTo>
                      <a:lnTo>
                        <a:pt x="443379" y="530637"/>
                      </a:lnTo>
                      <a:lnTo>
                        <a:pt x="436652" y="531514"/>
                      </a:lnTo>
                      <a:lnTo>
                        <a:pt x="425710" y="539050"/>
                      </a:lnTo>
                      <a:lnTo>
                        <a:pt x="423312" y="532567"/>
                      </a:lnTo>
                      <a:lnTo>
                        <a:pt x="419858" y="531586"/>
                      </a:lnTo>
                      <a:lnTo>
                        <a:pt x="403650" y="543926"/>
                      </a:lnTo>
                      <a:lnTo>
                        <a:pt x="399568" y="548674"/>
                      </a:lnTo>
                      <a:lnTo>
                        <a:pt x="398739" y="553465"/>
                      </a:lnTo>
                      <a:lnTo>
                        <a:pt x="399210" y="555881"/>
                      </a:lnTo>
                      <a:lnTo>
                        <a:pt x="400537" y="558908"/>
                      </a:lnTo>
                      <a:lnTo>
                        <a:pt x="407434" y="568201"/>
                      </a:lnTo>
                      <a:lnTo>
                        <a:pt x="413013" y="577849"/>
                      </a:lnTo>
                      <a:lnTo>
                        <a:pt x="417952" y="592488"/>
                      </a:lnTo>
                      <a:lnTo>
                        <a:pt x="417975" y="595046"/>
                      </a:lnTo>
                      <a:lnTo>
                        <a:pt x="418001" y="595283"/>
                      </a:lnTo>
                      <a:lnTo>
                        <a:pt x="417953" y="595690"/>
                      </a:lnTo>
                      <a:lnTo>
                        <a:pt x="414920" y="596668"/>
                      </a:lnTo>
                      <a:lnTo>
                        <a:pt x="409429" y="597181"/>
                      </a:lnTo>
                      <a:lnTo>
                        <a:pt x="368676" y="592290"/>
                      </a:lnTo>
                      <a:lnTo>
                        <a:pt x="366960" y="594772"/>
                      </a:lnTo>
                      <a:lnTo>
                        <a:pt x="366116" y="597150"/>
                      </a:lnTo>
                      <a:lnTo>
                        <a:pt x="365757" y="612747"/>
                      </a:lnTo>
                      <a:lnTo>
                        <a:pt x="348559" y="607908"/>
                      </a:lnTo>
                      <a:lnTo>
                        <a:pt x="340983" y="601207"/>
                      </a:lnTo>
                      <a:lnTo>
                        <a:pt x="339622" y="597411"/>
                      </a:lnTo>
                      <a:lnTo>
                        <a:pt x="335350" y="590087"/>
                      </a:lnTo>
                      <a:lnTo>
                        <a:pt x="332340" y="583105"/>
                      </a:lnTo>
                      <a:lnTo>
                        <a:pt x="330246" y="580582"/>
                      </a:lnTo>
                      <a:lnTo>
                        <a:pt x="328545" y="579010"/>
                      </a:lnTo>
                      <a:lnTo>
                        <a:pt x="318825" y="577935"/>
                      </a:lnTo>
                      <a:lnTo>
                        <a:pt x="316782" y="576540"/>
                      </a:lnTo>
                      <a:lnTo>
                        <a:pt x="316448" y="575083"/>
                      </a:lnTo>
                      <a:lnTo>
                        <a:pt x="316757" y="572260"/>
                      </a:lnTo>
                      <a:lnTo>
                        <a:pt x="318328" y="569421"/>
                      </a:lnTo>
                      <a:lnTo>
                        <a:pt x="321147" y="566262"/>
                      </a:lnTo>
                      <a:lnTo>
                        <a:pt x="322680" y="563780"/>
                      </a:lnTo>
                      <a:lnTo>
                        <a:pt x="322586" y="561732"/>
                      </a:lnTo>
                      <a:lnTo>
                        <a:pt x="318841" y="556917"/>
                      </a:lnTo>
                      <a:lnTo>
                        <a:pt x="317670" y="549647"/>
                      </a:lnTo>
                      <a:lnTo>
                        <a:pt x="316663" y="530330"/>
                      </a:lnTo>
                      <a:lnTo>
                        <a:pt x="314081" y="518351"/>
                      </a:lnTo>
                      <a:lnTo>
                        <a:pt x="311995" y="511084"/>
                      </a:lnTo>
                      <a:lnTo>
                        <a:pt x="308832" y="506808"/>
                      </a:lnTo>
                      <a:lnTo>
                        <a:pt x="306442" y="504434"/>
                      </a:lnTo>
                      <a:lnTo>
                        <a:pt x="304760" y="502066"/>
                      </a:lnTo>
                      <a:lnTo>
                        <a:pt x="304143" y="498867"/>
                      </a:lnTo>
                      <a:lnTo>
                        <a:pt x="304397" y="493171"/>
                      </a:lnTo>
                      <a:lnTo>
                        <a:pt x="305442" y="486228"/>
                      </a:lnTo>
                      <a:lnTo>
                        <a:pt x="307599" y="479939"/>
                      </a:lnTo>
                      <a:lnTo>
                        <a:pt x="308777" y="474466"/>
                      </a:lnTo>
                      <a:lnTo>
                        <a:pt x="300535" y="466532"/>
                      </a:lnTo>
                      <a:lnTo>
                        <a:pt x="292765" y="462925"/>
                      </a:lnTo>
                      <a:lnTo>
                        <a:pt x="283687" y="456315"/>
                      </a:lnTo>
                      <a:lnTo>
                        <a:pt x="285740" y="446607"/>
                      </a:lnTo>
                      <a:lnTo>
                        <a:pt x="286296" y="433885"/>
                      </a:lnTo>
                      <a:lnTo>
                        <a:pt x="283584" y="431244"/>
                      </a:lnTo>
                      <a:lnTo>
                        <a:pt x="282969" y="429961"/>
                      </a:lnTo>
                      <a:lnTo>
                        <a:pt x="283157" y="428147"/>
                      </a:lnTo>
                      <a:lnTo>
                        <a:pt x="284156" y="426760"/>
                      </a:lnTo>
                      <a:lnTo>
                        <a:pt x="283929" y="424404"/>
                      </a:lnTo>
                      <a:lnTo>
                        <a:pt x="282547" y="421160"/>
                      </a:lnTo>
                      <a:lnTo>
                        <a:pt x="277872" y="414345"/>
                      </a:lnTo>
                      <a:lnTo>
                        <a:pt x="274710" y="411080"/>
                      </a:lnTo>
                      <a:lnTo>
                        <a:pt x="259247" y="400612"/>
                      </a:lnTo>
                      <a:lnTo>
                        <a:pt x="256082" y="394264"/>
                      </a:lnTo>
                      <a:lnTo>
                        <a:pt x="254707" y="384081"/>
                      </a:lnTo>
                      <a:lnTo>
                        <a:pt x="253660" y="363354"/>
                      </a:lnTo>
                      <a:lnTo>
                        <a:pt x="250308" y="355101"/>
                      </a:lnTo>
                      <a:lnTo>
                        <a:pt x="248335" y="352406"/>
                      </a:lnTo>
                      <a:lnTo>
                        <a:pt x="236504" y="341065"/>
                      </a:lnTo>
                      <a:lnTo>
                        <a:pt x="230711" y="337346"/>
                      </a:lnTo>
                      <a:lnTo>
                        <a:pt x="163507" y="324223"/>
                      </a:lnTo>
                      <a:lnTo>
                        <a:pt x="158522" y="320725"/>
                      </a:lnTo>
                      <a:lnTo>
                        <a:pt x="141766" y="315110"/>
                      </a:lnTo>
                      <a:lnTo>
                        <a:pt x="132219" y="314206"/>
                      </a:lnTo>
                      <a:lnTo>
                        <a:pt x="124038" y="311913"/>
                      </a:lnTo>
                      <a:lnTo>
                        <a:pt x="73023" y="324076"/>
                      </a:lnTo>
                      <a:lnTo>
                        <a:pt x="61230" y="326556"/>
                      </a:lnTo>
                      <a:lnTo>
                        <a:pt x="43027" y="316694"/>
                      </a:lnTo>
                      <a:lnTo>
                        <a:pt x="28332" y="315019"/>
                      </a:lnTo>
                      <a:lnTo>
                        <a:pt x="0" y="321613"/>
                      </a:lnTo>
                      <a:lnTo>
                        <a:pt x="3352" y="316460"/>
                      </a:lnTo>
                      <a:lnTo>
                        <a:pt x="18817" y="298184"/>
                      </a:lnTo>
                      <a:lnTo>
                        <a:pt x="33308" y="270822"/>
                      </a:lnTo>
                      <a:lnTo>
                        <a:pt x="43285" y="257112"/>
                      </a:lnTo>
                      <a:lnTo>
                        <a:pt x="45503" y="252764"/>
                      </a:lnTo>
                      <a:lnTo>
                        <a:pt x="46876" y="247293"/>
                      </a:lnTo>
                      <a:lnTo>
                        <a:pt x="49243" y="224808"/>
                      </a:lnTo>
                      <a:lnTo>
                        <a:pt x="50926" y="217369"/>
                      </a:lnTo>
                      <a:lnTo>
                        <a:pt x="57273" y="191715"/>
                      </a:lnTo>
                      <a:lnTo>
                        <a:pt x="57550" y="187252"/>
                      </a:lnTo>
                      <a:lnTo>
                        <a:pt x="57510" y="179048"/>
                      </a:lnTo>
                      <a:lnTo>
                        <a:pt x="52332" y="153615"/>
                      </a:lnTo>
                      <a:lnTo>
                        <a:pt x="51859" y="147211"/>
                      </a:lnTo>
                      <a:lnTo>
                        <a:pt x="50289" y="138295"/>
                      </a:lnTo>
                      <a:lnTo>
                        <a:pt x="47224" y="133336"/>
                      </a:lnTo>
                      <a:lnTo>
                        <a:pt x="34018" y="120940"/>
                      </a:lnTo>
                      <a:lnTo>
                        <a:pt x="54868" y="105059"/>
                      </a:lnTo>
                      <a:lnTo>
                        <a:pt x="62009" y="101717"/>
                      </a:lnTo>
                      <a:lnTo>
                        <a:pt x="66555" y="102351"/>
                      </a:lnTo>
                      <a:lnTo>
                        <a:pt x="69775" y="101766"/>
                      </a:lnTo>
                      <a:lnTo>
                        <a:pt x="71855" y="100002"/>
                      </a:lnTo>
                      <a:lnTo>
                        <a:pt x="73279" y="97190"/>
                      </a:lnTo>
                      <a:lnTo>
                        <a:pt x="74771" y="92434"/>
                      </a:lnTo>
                      <a:lnTo>
                        <a:pt x="85840" y="74092"/>
                      </a:lnTo>
                      <a:lnTo>
                        <a:pt x="93167" y="66330"/>
                      </a:lnTo>
                      <a:lnTo>
                        <a:pt x="112255" y="53633"/>
                      </a:lnTo>
                      <a:lnTo>
                        <a:pt x="121374" y="54877"/>
                      </a:lnTo>
                      <a:lnTo>
                        <a:pt x="124586" y="56946"/>
                      </a:lnTo>
                      <a:lnTo>
                        <a:pt x="130270" y="59118"/>
                      </a:lnTo>
                      <a:lnTo>
                        <a:pt x="139408" y="57084"/>
                      </a:lnTo>
                      <a:lnTo>
                        <a:pt x="147256" y="50903"/>
                      </a:lnTo>
                      <a:lnTo>
                        <a:pt x="156310" y="41033"/>
                      </a:lnTo>
                      <a:lnTo>
                        <a:pt x="160992" y="37016"/>
                      </a:lnTo>
                      <a:lnTo>
                        <a:pt x="163510" y="35883"/>
                      </a:lnTo>
                      <a:lnTo>
                        <a:pt x="166745" y="32717"/>
                      </a:lnTo>
                      <a:lnTo>
                        <a:pt x="170091" y="30201"/>
                      </a:lnTo>
                      <a:lnTo>
                        <a:pt x="173345" y="13415"/>
                      </a:lnTo>
                      <a:lnTo>
                        <a:pt x="185698" y="1475"/>
                      </a:lnTo>
                      <a:lnTo>
                        <a:pt x="189146" y="0"/>
                      </a:lnTo>
                      <a:lnTo>
                        <a:pt x="197248" y="13763"/>
                      </a:lnTo>
                      <a:lnTo>
                        <a:pt x="203898" y="22402"/>
                      </a:lnTo>
                      <a:lnTo>
                        <a:pt x="214737" y="31352"/>
                      </a:lnTo>
                      <a:lnTo>
                        <a:pt x="232027" y="41596"/>
                      </a:lnTo>
                      <a:lnTo>
                        <a:pt x="237255" y="46912"/>
                      </a:lnTo>
                      <a:lnTo>
                        <a:pt x="238291" y="48291"/>
                      </a:lnTo>
                      <a:lnTo>
                        <a:pt x="238516" y="49101"/>
                      </a:lnTo>
                      <a:lnTo>
                        <a:pt x="238903" y="50981"/>
                      </a:lnTo>
                      <a:lnTo>
                        <a:pt x="238943" y="54363"/>
                      </a:lnTo>
                      <a:lnTo>
                        <a:pt x="239327" y="58284"/>
                      </a:lnTo>
                      <a:lnTo>
                        <a:pt x="239866" y="61125"/>
                      </a:lnTo>
                      <a:lnTo>
                        <a:pt x="244300" y="66952"/>
                      </a:lnTo>
                      <a:lnTo>
                        <a:pt x="256422" y="74985"/>
                      </a:lnTo>
                      <a:lnTo>
                        <a:pt x="280776" y="84792"/>
                      </a:lnTo>
                      <a:lnTo>
                        <a:pt x="292221" y="97824"/>
                      </a:lnTo>
                      <a:lnTo>
                        <a:pt x="329245" y="130192"/>
                      </a:lnTo>
                      <a:lnTo>
                        <a:pt x="339708" y="136163"/>
                      </a:lnTo>
                      <a:lnTo>
                        <a:pt x="342634" y="139379"/>
                      </a:lnTo>
                      <a:lnTo>
                        <a:pt x="344267" y="141799"/>
                      </a:lnTo>
                      <a:lnTo>
                        <a:pt x="345476" y="145441"/>
                      </a:lnTo>
                      <a:lnTo>
                        <a:pt x="345596" y="149729"/>
                      </a:lnTo>
                      <a:lnTo>
                        <a:pt x="344150" y="154673"/>
                      </a:lnTo>
                      <a:lnTo>
                        <a:pt x="342774" y="162690"/>
                      </a:lnTo>
                      <a:lnTo>
                        <a:pt x="352379" y="188040"/>
                      </a:lnTo>
                      <a:lnTo>
                        <a:pt x="353751" y="193972"/>
                      </a:lnTo>
                      <a:lnTo>
                        <a:pt x="352149" y="209277"/>
                      </a:lnTo>
                      <a:lnTo>
                        <a:pt x="357245" y="213853"/>
                      </a:lnTo>
                      <a:lnTo>
                        <a:pt x="362615" y="216285"/>
                      </a:lnTo>
                      <a:lnTo>
                        <a:pt x="380295" y="220025"/>
                      </a:lnTo>
                      <a:lnTo>
                        <a:pt x="384174" y="221683"/>
                      </a:lnTo>
                      <a:lnTo>
                        <a:pt x="386057" y="225531"/>
                      </a:lnTo>
                      <a:lnTo>
                        <a:pt x="386898" y="230206"/>
                      </a:lnTo>
                      <a:lnTo>
                        <a:pt x="388000" y="234501"/>
                      </a:lnTo>
                      <a:lnTo>
                        <a:pt x="390786" y="238751"/>
                      </a:lnTo>
                      <a:lnTo>
                        <a:pt x="405313" y="248197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3175" cap="rnd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8" name="Freeform 106">
                  <a:extLst>
                    <a:ext uri="{FF2B5EF4-FFF2-40B4-BE49-F238E27FC236}">
                      <a16:creationId xmlns:a16="http://schemas.microsoft.com/office/drawing/2014/main" id="{B90A6264-13AD-4A98-AEBE-AD043CB73ABF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"/>
                  </p:custDataLst>
                </p:nvPr>
              </p:nvSpPr>
              <p:spPr>
                <a:xfrm>
                  <a:off x="2620742" y="3084408"/>
                  <a:ext cx="460322" cy="925693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96707" h="998863">
                      <a:moveTo>
                        <a:pt x="336981" y="141006"/>
                      </a:moveTo>
                      <a:lnTo>
                        <a:pt x="349353" y="138605"/>
                      </a:lnTo>
                      <a:lnTo>
                        <a:pt x="354085" y="136687"/>
                      </a:lnTo>
                      <a:lnTo>
                        <a:pt x="383667" y="146337"/>
                      </a:lnTo>
                      <a:lnTo>
                        <a:pt x="408011" y="160048"/>
                      </a:lnTo>
                      <a:lnTo>
                        <a:pt x="425695" y="157715"/>
                      </a:lnTo>
                      <a:lnTo>
                        <a:pt x="425709" y="157712"/>
                      </a:lnTo>
                      <a:lnTo>
                        <a:pt x="426539" y="160837"/>
                      </a:lnTo>
                      <a:lnTo>
                        <a:pt x="429534" y="178212"/>
                      </a:lnTo>
                      <a:lnTo>
                        <a:pt x="429248" y="183172"/>
                      </a:lnTo>
                      <a:lnTo>
                        <a:pt x="428498" y="196201"/>
                      </a:lnTo>
                      <a:lnTo>
                        <a:pt x="408332" y="282800"/>
                      </a:lnTo>
                      <a:lnTo>
                        <a:pt x="387968" y="369362"/>
                      </a:lnTo>
                      <a:lnTo>
                        <a:pt x="389823" y="374147"/>
                      </a:lnTo>
                      <a:lnTo>
                        <a:pt x="406922" y="396626"/>
                      </a:lnTo>
                      <a:lnTo>
                        <a:pt x="413995" y="403537"/>
                      </a:lnTo>
                      <a:lnTo>
                        <a:pt x="425396" y="422112"/>
                      </a:lnTo>
                      <a:lnTo>
                        <a:pt x="429786" y="425533"/>
                      </a:lnTo>
                      <a:lnTo>
                        <a:pt x="435849" y="427562"/>
                      </a:lnTo>
                      <a:lnTo>
                        <a:pt x="447012" y="429271"/>
                      </a:lnTo>
                      <a:lnTo>
                        <a:pt x="452173" y="431717"/>
                      </a:lnTo>
                      <a:lnTo>
                        <a:pt x="456767" y="436971"/>
                      </a:lnTo>
                      <a:lnTo>
                        <a:pt x="495335" y="501131"/>
                      </a:lnTo>
                      <a:lnTo>
                        <a:pt x="496706" y="504526"/>
                      </a:lnTo>
                      <a:lnTo>
                        <a:pt x="496595" y="508638"/>
                      </a:lnTo>
                      <a:lnTo>
                        <a:pt x="488542" y="540709"/>
                      </a:lnTo>
                      <a:lnTo>
                        <a:pt x="485316" y="550275"/>
                      </a:lnTo>
                      <a:lnTo>
                        <a:pt x="481379" y="557606"/>
                      </a:lnTo>
                      <a:lnTo>
                        <a:pt x="467804" y="575072"/>
                      </a:lnTo>
                      <a:lnTo>
                        <a:pt x="466303" y="578079"/>
                      </a:lnTo>
                      <a:lnTo>
                        <a:pt x="464907" y="582590"/>
                      </a:lnTo>
                      <a:lnTo>
                        <a:pt x="459810" y="605746"/>
                      </a:lnTo>
                      <a:lnTo>
                        <a:pt x="459248" y="607138"/>
                      </a:lnTo>
                      <a:lnTo>
                        <a:pt x="457779" y="610770"/>
                      </a:lnTo>
                      <a:lnTo>
                        <a:pt x="454064" y="612502"/>
                      </a:lnTo>
                      <a:lnTo>
                        <a:pt x="435516" y="607405"/>
                      </a:lnTo>
                      <a:lnTo>
                        <a:pt x="425817" y="607123"/>
                      </a:lnTo>
                      <a:lnTo>
                        <a:pt x="386311" y="615507"/>
                      </a:lnTo>
                      <a:lnTo>
                        <a:pt x="381284" y="619745"/>
                      </a:lnTo>
                      <a:lnTo>
                        <a:pt x="381142" y="626807"/>
                      </a:lnTo>
                      <a:lnTo>
                        <a:pt x="386259" y="643215"/>
                      </a:lnTo>
                      <a:lnTo>
                        <a:pt x="388351" y="655006"/>
                      </a:lnTo>
                      <a:lnTo>
                        <a:pt x="389862" y="680454"/>
                      </a:lnTo>
                      <a:lnTo>
                        <a:pt x="391338" y="692917"/>
                      </a:lnTo>
                      <a:lnTo>
                        <a:pt x="394731" y="706826"/>
                      </a:lnTo>
                      <a:lnTo>
                        <a:pt x="409736" y="741671"/>
                      </a:lnTo>
                      <a:lnTo>
                        <a:pt x="424647" y="792301"/>
                      </a:lnTo>
                      <a:lnTo>
                        <a:pt x="426275" y="802301"/>
                      </a:lnTo>
                      <a:lnTo>
                        <a:pt x="426094" y="813074"/>
                      </a:lnTo>
                      <a:lnTo>
                        <a:pt x="423837" y="825450"/>
                      </a:lnTo>
                      <a:lnTo>
                        <a:pt x="421176" y="833599"/>
                      </a:lnTo>
                      <a:lnTo>
                        <a:pt x="417965" y="839964"/>
                      </a:lnTo>
                      <a:lnTo>
                        <a:pt x="414221" y="845210"/>
                      </a:lnTo>
                      <a:lnTo>
                        <a:pt x="404068" y="856243"/>
                      </a:lnTo>
                      <a:lnTo>
                        <a:pt x="401466" y="860649"/>
                      </a:lnTo>
                      <a:lnTo>
                        <a:pt x="400242" y="866228"/>
                      </a:lnTo>
                      <a:lnTo>
                        <a:pt x="400709" y="878023"/>
                      </a:lnTo>
                      <a:lnTo>
                        <a:pt x="403325" y="900572"/>
                      </a:lnTo>
                      <a:lnTo>
                        <a:pt x="402842" y="912986"/>
                      </a:lnTo>
                      <a:lnTo>
                        <a:pt x="399247" y="927847"/>
                      </a:lnTo>
                      <a:lnTo>
                        <a:pt x="393444" y="940102"/>
                      </a:lnTo>
                      <a:lnTo>
                        <a:pt x="386308" y="949946"/>
                      </a:lnTo>
                      <a:lnTo>
                        <a:pt x="356713" y="979449"/>
                      </a:lnTo>
                      <a:lnTo>
                        <a:pt x="329552" y="997970"/>
                      </a:lnTo>
                      <a:lnTo>
                        <a:pt x="322325" y="998862"/>
                      </a:lnTo>
                      <a:lnTo>
                        <a:pt x="294836" y="993551"/>
                      </a:lnTo>
                      <a:lnTo>
                        <a:pt x="285581" y="995900"/>
                      </a:lnTo>
                      <a:lnTo>
                        <a:pt x="282623" y="998345"/>
                      </a:lnTo>
                      <a:lnTo>
                        <a:pt x="282559" y="998209"/>
                      </a:lnTo>
                      <a:lnTo>
                        <a:pt x="282506" y="998097"/>
                      </a:lnTo>
                      <a:lnTo>
                        <a:pt x="281019" y="994880"/>
                      </a:lnTo>
                      <a:lnTo>
                        <a:pt x="279919" y="991567"/>
                      </a:lnTo>
                      <a:lnTo>
                        <a:pt x="278986" y="987237"/>
                      </a:lnTo>
                      <a:lnTo>
                        <a:pt x="278511" y="980978"/>
                      </a:lnTo>
                      <a:lnTo>
                        <a:pt x="278433" y="958800"/>
                      </a:lnTo>
                      <a:lnTo>
                        <a:pt x="278685" y="957245"/>
                      </a:lnTo>
                      <a:lnTo>
                        <a:pt x="279215" y="955878"/>
                      </a:lnTo>
                      <a:lnTo>
                        <a:pt x="280526" y="953060"/>
                      </a:lnTo>
                      <a:lnTo>
                        <a:pt x="281347" y="950877"/>
                      </a:lnTo>
                      <a:lnTo>
                        <a:pt x="282546" y="942273"/>
                      </a:lnTo>
                      <a:lnTo>
                        <a:pt x="282520" y="938190"/>
                      </a:lnTo>
                      <a:lnTo>
                        <a:pt x="282261" y="936918"/>
                      </a:lnTo>
                      <a:lnTo>
                        <a:pt x="278904" y="933696"/>
                      </a:lnTo>
                      <a:lnTo>
                        <a:pt x="266438" y="916298"/>
                      </a:lnTo>
                      <a:lnTo>
                        <a:pt x="248214" y="900117"/>
                      </a:lnTo>
                      <a:lnTo>
                        <a:pt x="243935" y="894995"/>
                      </a:lnTo>
                      <a:lnTo>
                        <a:pt x="242481" y="892017"/>
                      </a:lnTo>
                      <a:lnTo>
                        <a:pt x="241766" y="888591"/>
                      </a:lnTo>
                      <a:lnTo>
                        <a:pt x="242015" y="881491"/>
                      </a:lnTo>
                      <a:lnTo>
                        <a:pt x="245650" y="867491"/>
                      </a:lnTo>
                      <a:lnTo>
                        <a:pt x="245784" y="861664"/>
                      </a:lnTo>
                      <a:lnTo>
                        <a:pt x="245298" y="857569"/>
                      </a:lnTo>
                      <a:lnTo>
                        <a:pt x="234359" y="843850"/>
                      </a:lnTo>
                      <a:lnTo>
                        <a:pt x="222498" y="824730"/>
                      </a:lnTo>
                      <a:lnTo>
                        <a:pt x="217306" y="809358"/>
                      </a:lnTo>
                      <a:lnTo>
                        <a:pt x="215936" y="802289"/>
                      </a:lnTo>
                      <a:lnTo>
                        <a:pt x="212539" y="791333"/>
                      </a:lnTo>
                      <a:lnTo>
                        <a:pt x="205687" y="780162"/>
                      </a:lnTo>
                      <a:lnTo>
                        <a:pt x="202883" y="777091"/>
                      </a:lnTo>
                      <a:lnTo>
                        <a:pt x="195467" y="771727"/>
                      </a:lnTo>
                      <a:lnTo>
                        <a:pt x="194634" y="770437"/>
                      </a:lnTo>
                      <a:lnTo>
                        <a:pt x="193836" y="767867"/>
                      </a:lnTo>
                      <a:lnTo>
                        <a:pt x="194424" y="761598"/>
                      </a:lnTo>
                      <a:lnTo>
                        <a:pt x="193764" y="756132"/>
                      </a:lnTo>
                      <a:lnTo>
                        <a:pt x="192841" y="751177"/>
                      </a:lnTo>
                      <a:lnTo>
                        <a:pt x="190239" y="745051"/>
                      </a:lnTo>
                      <a:lnTo>
                        <a:pt x="189172" y="740072"/>
                      </a:lnTo>
                      <a:lnTo>
                        <a:pt x="186003" y="732527"/>
                      </a:lnTo>
                      <a:lnTo>
                        <a:pt x="185965" y="732434"/>
                      </a:lnTo>
                      <a:lnTo>
                        <a:pt x="184047" y="725758"/>
                      </a:lnTo>
                      <a:lnTo>
                        <a:pt x="181286" y="724353"/>
                      </a:lnTo>
                      <a:lnTo>
                        <a:pt x="180827" y="723343"/>
                      </a:lnTo>
                      <a:lnTo>
                        <a:pt x="168634" y="709014"/>
                      </a:lnTo>
                      <a:lnTo>
                        <a:pt x="131096" y="676157"/>
                      </a:lnTo>
                      <a:lnTo>
                        <a:pt x="128704" y="672009"/>
                      </a:lnTo>
                      <a:lnTo>
                        <a:pt x="127133" y="671528"/>
                      </a:lnTo>
                      <a:lnTo>
                        <a:pt x="125137" y="670193"/>
                      </a:lnTo>
                      <a:lnTo>
                        <a:pt x="119210" y="662097"/>
                      </a:lnTo>
                      <a:lnTo>
                        <a:pt x="118226" y="658616"/>
                      </a:lnTo>
                      <a:lnTo>
                        <a:pt x="117650" y="654542"/>
                      </a:lnTo>
                      <a:lnTo>
                        <a:pt x="117672" y="651255"/>
                      </a:lnTo>
                      <a:lnTo>
                        <a:pt x="118798" y="648433"/>
                      </a:lnTo>
                      <a:lnTo>
                        <a:pt x="122507" y="643313"/>
                      </a:lnTo>
                      <a:lnTo>
                        <a:pt x="123519" y="640244"/>
                      </a:lnTo>
                      <a:lnTo>
                        <a:pt x="122694" y="634705"/>
                      </a:lnTo>
                      <a:lnTo>
                        <a:pt x="104803" y="599906"/>
                      </a:lnTo>
                      <a:lnTo>
                        <a:pt x="101080" y="595785"/>
                      </a:lnTo>
                      <a:lnTo>
                        <a:pt x="91679" y="589317"/>
                      </a:lnTo>
                      <a:lnTo>
                        <a:pt x="83409" y="577172"/>
                      </a:lnTo>
                      <a:lnTo>
                        <a:pt x="82351" y="573559"/>
                      </a:lnTo>
                      <a:lnTo>
                        <a:pt x="82366" y="570017"/>
                      </a:lnTo>
                      <a:lnTo>
                        <a:pt x="87169" y="567825"/>
                      </a:lnTo>
                      <a:lnTo>
                        <a:pt x="89169" y="567004"/>
                      </a:lnTo>
                      <a:lnTo>
                        <a:pt x="90962" y="566618"/>
                      </a:lnTo>
                      <a:lnTo>
                        <a:pt x="110725" y="551617"/>
                      </a:lnTo>
                      <a:lnTo>
                        <a:pt x="117553" y="544231"/>
                      </a:lnTo>
                      <a:lnTo>
                        <a:pt x="135741" y="518927"/>
                      </a:lnTo>
                      <a:lnTo>
                        <a:pt x="136982" y="516703"/>
                      </a:lnTo>
                      <a:lnTo>
                        <a:pt x="138697" y="512445"/>
                      </a:lnTo>
                      <a:lnTo>
                        <a:pt x="144863" y="506868"/>
                      </a:lnTo>
                      <a:lnTo>
                        <a:pt x="158193" y="500561"/>
                      </a:lnTo>
                      <a:lnTo>
                        <a:pt x="138366" y="429261"/>
                      </a:lnTo>
                      <a:lnTo>
                        <a:pt x="139899" y="403038"/>
                      </a:lnTo>
                      <a:lnTo>
                        <a:pt x="137001" y="350108"/>
                      </a:lnTo>
                      <a:lnTo>
                        <a:pt x="135231" y="340105"/>
                      </a:lnTo>
                      <a:lnTo>
                        <a:pt x="133586" y="337705"/>
                      </a:lnTo>
                      <a:lnTo>
                        <a:pt x="131786" y="336239"/>
                      </a:lnTo>
                      <a:lnTo>
                        <a:pt x="128925" y="335794"/>
                      </a:lnTo>
                      <a:lnTo>
                        <a:pt x="120617" y="337796"/>
                      </a:lnTo>
                      <a:lnTo>
                        <a:pt x="116302" y="339706"/>
                      </a:lnTo>
                      <a:lnTo>
                        <a:pt x="112772" y="343515"/>
                      </a:lnTo>
                      <a:lnTo>
                        <a:pt x="99220" y="354029"/>
                      </a:lnTo>
                      <a:lnTo>
                        <a:pt x="97539" y="354101"/>
                      </a:lnTo>
                      <a:lnTo>
                        <a:pt x="93022" y="350905"/>
                      </a:lnTo>
                      <a:lnTo>
                        <a:pt x="86401" y="344219"/>
                      </a:lnTo>
                      <a:lnTo>
                        <a:pt x="84218" y="340594"/>
                      </a:lnTo>
                      <a:lnTo>
                        <a:pt x="81416" y="338470"/>
                      </a:lnTo>
                      <a:lnTo>
                        <a:pt x="46680" y="322155"/>
                      </a:lnTo>
                      <a:lnTo>
                        <a:pt x="49439" y="308953"/>
                      </a:lnTo>
                      <a:lnTo>
                        <a:pt x="58350" y="291574"/>
                      </a:lnTo>
                      <a:lnTo>
                        <a:pt x="57271" y="271871"/>
                      </a:lnTo>
                      <a:lnTo>
                        <a:pt x="51199" y="267579"/>
                      </a:lnTo>
                      <a:lnTo>
                        <a:pt x="44557" y="268055"/>
                      </a:lnTo>
                      <a:lnTo>
                        <a:pt x="43421" y="269157"/>
                      </a:lnTo>
                      <a:lnTo>
                        <a:pt x="43664" y="270087"/>
                      </a:lnTo>
                      <a:lnTo>
                        <a:pt x="44112" y="271061"/>
                      </a:lnTo>
                      <a:lnTo>
                        <a:pt x="44533" y="272194"/>
                      </a:lnTo>
                      <a:lnTo>
                        <a:pt x="44517" y="273362"/>
                      </a:lnTo>
                      <a:lnTo>
                        <a:pt x="42313" y="277590"/>
                      </a:lnTo>
                      <a:lnTo>
                        <a:pt x="35746" y="271389"/>
                      </a:lnTo>
                      <a:lnTo>
                        <a:pt x="20807" y="264959"/>
                      </a:lnTo>
                      <a:lnTo>
                        <a:pt x="14091" y="257606"/>
                      </a:lnTo>
                      <a:lnTo>
                        <a:pt x="13635" y="254558"/>
                      </a:lnTo>
                      <a:lnTo>
                        <a:pt x="13549" y="250386"/>
                      </a:lnTo>
                      <a:lnTo>
                        <a:pt x="15348" y="244346"/>
                      </a:lnTo>
                      <a:lnTo>
                        <a:pt x="15760" y="240858"/>
                      </a:lnTo>
                      <a:lnTo>
                        <a:pt x="15763" y="232957"/>
                      </a:lnTo>
                      <a:lnTo>
                        <a:pt x="15846" y="232302"/>
                      </a:lnTo>
                      <a:lnTo>
                        <a:pt x="16242" y="230353"/>
                      </a:lnTo>
                      <a:lnTo>
                        <a:pt x="17348" y="227404"/>
                      </a:lnTo>
                      <a:lnTo>
                        <a:pt x="19500" y="223984"/>
                      </a:lnTo>
                      <a:lnTo>
                        <a:pt x="22294" y="221501"/>
                      </a:lnTo>
                      <a:lnTo>
                        <a:pt x="34259" y="216029"/>
                      </a:lnTo>
                      <a:lnTo>
                        <a:pt x="35527" y="213154"/>
                      </a:lnTo>
                      <a:lnTo>
                        <a:pt x="35076" y="209855"/>
                      </a:lnTo>
                      <a:lnTo>
                        <a:pt x="33131" y="205900"/>
                      </a:lnTo>
                      <a:lnTo>
                        <a:pt x="24071" y="195190"/>
                      </a:lnTo>
                      <a:lnTo>
                        <a:pt x="4123" y="177488"/>
                      </a:lnTo>
                      <a:lnTo>
                        <a:pt x="0" y="172179"/>
                      </a:lnTo>
                      <a:lnTo>
                        <a:pt x="409" y="165636"/>
                      </a:lnTo>
                      <a:lnTo>
                        <a:pt x="3404" y="160221"/>
                      </a:lnTo>
                      <a:lnTo>
                        <a:pt x="24878" y="134886"/>
                      </a:lnTo>
                      <a:lnTo>
                        <a:pt x="33377" y="123607"/>
                      </a:lnTo>
                      <a:lnTo>
                        <a:pt x="34820" y="120710"/>
                      </a:lnTo>
                      <a:lnTo>
                        <a:pt x="37782" y="116347"/>
                      </a:lnTo>
                      <a:lnTo>
                        <a:pt x="38574" y="113618"/>
                      </a:lnTo>
                      <a:lnTo>
                        <a:pt x="39495" y="111672"/>
                      </a:lnTo>
                      <a:lnTo>
                        <a:pt x="40956" y="110804"/>
                      </a:lnTo>
                      <a:lnTo>
                        <a:pt x="46910" y="113967"/>
                      </a:lnTo>
                      <a:lnTo>
                        <a:pt x="49348" y="113101"/>
                      </a:lnTo>
                      <a:lnTo>
                        <a:pt x="52198" y="110730"/>
                      </a:lnTo>
                      <a:lnTo>
                        <a:pt x="56034" y="104680"/>
                      </a:lnTo>
                      <a:lnTo>
                        <a:pt x="59514" y="100612"/>
                      </a:lnTo>
                      <a:lnTo>
                        <a:pt x="62182" y="98044"/>
                      </a:lnTo>
                      <a:lnTo>
                        <a:pt x="76926" y="92932"/>
                      </a:lnTo>
                      <a:lnTo>
                        <a:pt x="79312" y="92011"/>
                      </a:lnTo>
                      <a:lnTo>
                        <a:pt x="82763" y="87454"/>
                      </a:lnTo>
                      <a:lnTo>
                        <a:pt x="81951" y="72752"/>
                      </a:lnTo>
                      <a:lnTo>
                        <a:pt x="80885" y="63483"/>
                      </a:lnTo>
                      <a:lnTo>
                        <a:pt x="82415" y="52750"/>
                      </a:lnTo>
                      <a:lnTo>
                        <a:pt x="87449" y="38152"/>
                      </a:lnTo>
                      <a:lnTo>
                        <a:pt x="99773" y="15566"/>
                      </a:lnTo>
                      <a:lnTo>
                        <a:pt x="122218" y="0"/>
                      </a:lnTo>
                      <a:lnTo>
                        <a:pt x="168864" y="12105"/>
                      </a:lnTo>
                      <a:lnTo>
                        <a:pt x="182851" y="11031"/>
                      </a:lnTo>
                      <a:lnTo>
                        <a:pt x="187425" y="14435"/>
                      </a:lnTo>
                      <a:lnTo>
                        <a:pt x="188487" y="16893"/>
                      </a:lnTo>
                      <a:lnTo>
                        <a:pt x="188789" y="18402"/>
                      </a:lnTo>
                      <a:lnTo>
                        <a:pt x="189603" y="19976"/>
                      </a:lnTo>
                      <a:lnTo>
                        <a:pt x="190713" y="21343"/>
                      </a:lnTo>
                      <a:lnTo>
                        <a:pt x="192707" y="21522"/>
                      </a:lnTo>
                      <a:lnTo>
                        <a:pt x="194370" y="21260"/>
                      </a:lnTo>
                      <a:lnTo>
                        <a:pt x="203661" y="13414"/>
                      </a:lnTo>
                      <a:lnTo>
                        <a:pt x="218436" y="10893"/>
                      </a:lnTo>
                      <a:lnTo>
                        <a:pt x="253469" y="24412"/>
                      </a:lnTo>
                      <a:lnTo>
                        <a:pt x="259859" y="29851"/>
                      </a:lnTo>
                      <a:lnTo>
                        <a:pt x="260046" y="34929"/>
                      </a:lnTo>
                      <a:lnTo>
                        <a:pt x="259850" y="39168"/>
                      </a:lnTo>
                      <a:lnTo>
                        <a:pt x="260613" y="46337"/>
                      </a:lnTo>
                      <a:lnTo>
                        <a:pt x="262063" y="53200"/>
                      </a:lnTo>
                      <a:lnTo>
                        <a:pt x="264149" y="58667"/>
                      </a:lnTo>
                      <a:lnTo>
                        <a:pt x="266854" y="64250"/>
                      </a:lnTo>
                      <a:lnTo>
                        <a:pt x="301472" y="105398"/>
                      </a:lnTo>
                      <a:lnTo>
                        <a:pt x="303621" y="109582"/>
                      </a:lnTo>
                      <a:lnTo>
                        <a:pt x="306499" y="118096"/>
                      </a:lnTo>
                      <a:lnTo>
                        <a:pt x="309877" y="125051"/>
                      </a:lnTo>
                      <a:lnTo>
                        <a:pt x="314587" y="129172"/>
                      </a:lnTo>
                      <a:lnTo>
                        <a:pt x="325005" y="132299"/>
                      </a:lnTo>
                      <a:lnTo>
                        <a:pt x="329070" y="135175"/>
                      </a:lnTo>
                      <a:lnTo>
                        <a:pt x="331914" y="138038"/>
                      </a:lnTo>
                      <a:lnTo>
                        <a:pt x="334561" y="139946"/>
                      </a:lnTo>
                      <a:close/>
                    </a:path>
                  </a:pathLst>
                </a:custGeom>
                <a:solidFill>
                  <a:srgbClr val="72AEB8"/>
                </a:solidFill>
                <a:ln w="3175" cap="rnd">
                  <a:solidFill>
                    <a:srgbClr val="72AEB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Freeform 107">
                  <a:extLst>
                    <a:ext uri="{FF2B5EF4-FFF2-40B4-BE49-F238E27FC236}">
                      <a16:creationId xmlns:a16="http://schemas.microsoft.com/office/drawing/2014/main" id="{2692F491-6682-47D0-8B8F-42702BDD007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7"/>
                  </p:custDataLst>
                </p:nvPr>
              </p:nvSpPr>
              <p:spPr>
                <a:xfrm>
                  <a:off x="2269646" y="3151805"/>
                  <a:ext cx="523475" cy="752634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564852" h="812124">
                      <a:moveTo>
                        <a:pt x="286378" y="16912"/>
                      </a:moveTo>
                      <a:lnTo>
                        <a:pt x="297814" y="15165"/>
                      </a:lnTo>
                      <a:lnTo>
                        <a:pt x="320693" y="28627"/>
                      </a:lnTo>
                      <a:lnTo>
                        <a:pt x="353359" y="48113"/>
                      </a:lnTo>
                      <a:lnTo>
                        <a:pt x="360589" y="54748"/>
                      </a:lnTo>
                      <a:lnTo>
                        <a:pt x="373595" y="62286"/>
                      </a:lnTo>
                      <a:lnTo>
                        <a:pt x="403726" y="62162"/>
                      </a:lnTo>
                      <a:lnTo>
                        <a:pt x="382252" y="87497"/>
                      </a:lnTo>
                      <a:lnTo>
                        <a:pt x="379257" y="92912"/>
                      </a:lnTo>
                      <a:lnTo>
                        <a:pt x="378848" y="99455"/>
                      </a:lnTo>
                      <a:lnTo>
                        <a:pt x="382971" y="104764"/>
                      </a:lnTo>
                      <a:lnTo>
                        <a:pt x="402919" y="122466"/>
                      </a:lnTo>
                      <a:lnTo>
                        <a:pt x="411979" y="133176"/>
                      </a:lnTo>
                      <a:lnTo>
                        <a:pt x="413924" y="137131"/>
                      </a:lnTo>
                      <a:lnTo>
                        <a:pt x="414375" y="140430"/>
                      </a:lnTo>
                      <a:lnTo>
                        <a:pt x="413107" y="143305"/>
                      </a:lnTo>
                      <a:lnTo>
                        <a:pt x="401142" y="148777"/>
                      </a:lnTo>
                      <a:lnTo>
                        <a:pt x="398348" y="151260"/>
                      </a:lnTo>
                      <a:lnTo>
                        <a:pt x="396196" y="154680"/>
                      </a:lnTo>
                      <a:lnTo>
                        <a:pt x="395090" y="157629"/>
                      </a:lnTo>
                      <a:lnTo>
                        <a:pt x="394694" y="159578"/>
                      </a:lnTo>
                      <a:lnTo>
                        <a:pt x="394611" y="160233"/>
                      </a:lnTo>
                      <a:lnTo>
                        <a:pt x="394608" y="168134"/>
                      </a:lnTo>
                      <a:lnTo>
                        <a:pt x="394196" y="171622"/>
                      </a:lnTo>
                      <a:lnTo>
                        <a:pt x="392397" y="177662"/>
                      </a:lnTo>
                      <a:lnTo>
                        <a:pt x="392483" y="181834"/>
                      </a:lnTo>
                      <a:lnTo>
                        <a:pt x="392939" y="184882"/>
                      </a:lnTo>
                      <a:lnTo>
                        <a:pt x="399655" y="192235"/>
                      </a:lnTo>
                      <a:lnTo>
                        <a:pt x="414594" y="198665"/>
                      </a:lnTo>
                      <a:lnTo>
                        <a:pt x="421161" y="204866"/>
                      </a:lnTo>
                      <a:lnTo>
                        <a:pt x="423365" y="200638"/>
                      </a:lnTo>
                      <a:lnTo>
                        <a:pt x="423381" y="199470"/>
                      </a:lnTo>
                      <a:lnTo>
                        <a:pt x="422960" y="198337"/>
                      </a:lnTo>
                      <a:lnTo>
                        <a:pt x="422512" y="197363"/>
                      </a:lnTo>
                      <a:lnTo>
                        <a:pt x="422269" y="196433"/>
                      </a:lnTo>
                      <a:lnTo>
                        <a:pt x="423405" y="195331"/>
                      </a:lnTo>
                      <a:lnTo>
                        <a:pt x="430047" y="194855"/>
                      </a:lnTo>
                      <a:lnTo>
                        <a:pt x="436119" y="199147"/>
                      </a:lnTo>
                      <a:lnTo>
                        <a:pt x="437198" y="218850"/>
                      </a:lnTo>
                      <a:lnTo>
                        <a:pt x="428287" y="236229"/>
                      </a:lnTo>
                      <a:lnTo>
                        <a:pt x="425528" y="249431"/>
                      </a:lnTo>
                      <a:lnTo>
                        <a:pt x="460264" y="265746"/>
                      </a:lnTo>
                      <a:lnTo>
                        <a:pt x="463066" y="267870"/>
                      </a:lnTo>
                      <a:lnTo>
                        <a:pt x="465249" y="271495"/>
                      </a:lnTo>
                      <a:lnTo>
                        <a:pt x="471870" y="278181"/>
                      </a:lnTo>
                      <a:lnTo>
                        <a:pt x="476387" y="281377"/>
                      </a:lnTo>
                      <a:lnTo>
                        <a:pt x="478068" y="281305"/>
                      </a:lnTo>
                      <a:lnTo>
                        <a:pt x="491620" y="270791"/>
                      </a:lnTo>
                      <a:lnTo>
                        <a:pt x="495150" y="266982"/>
                      </a:lnTo>
                      <a:lnTo>
                        <a:pt x="499465" y="265072"/>
                      </a:lnTo>
                      <a:lnTo>
                        <a:pt x="507773" y="263070"/>
                      </a:lnTo>
                      <a:lnTo>
                        <a:pt x="510634" y="263515"/>
                      </a:lnTo>
                      <a:lnTo>
                        <a:pt x="512434" y="264981"/>
                      </a:lnTo>
                      <a:lnTo>
                        <a:pt x="514079" y="267381"/>
                      </a:lnTo>
                      <a:lnTo>
                        <a:pt x="515849" y="277384"/>
                      </a:lnTo>
                      <a:lnTo>
                        <a:pt x="518747" y="330314"/>
                      </a:lnTo>
                      <a:lnTo>
                        <a:pt x="517214" y="356537"/>
                      </a:lnTo>
                      <a:lnTo>
                        <a:pt x="537041" y="427837"/>
                      </a:lnTo>
                      <a:lnTo>
                        <a:pt x="523711" y="434144"/>
                      </a:lnTo>
                      <a:lnTo>
                        <a:pt x="517545" y="439721"/>
                      </a:lnTo>
                      <a:lnTo>
                        <a:pt x="515830" y="443979"/>
                      </a:lnTo>
                      <a:lnTo>
                        <a:pt x="514589" y="446203"/>
                      </a:lnTo>
                      <a:lnTo>
                        <a:pt x="496401" y="471507"/>
                      </a:lnTo>
                      <a:lnTo>
                        <a:pt x="489573" y="478893"/>
                      </a:lnTo>
                      <a:lnTo>
                        <a:pt x="469810" y="493894"/>
                      </a:lnTo>
                      <a:lnTo>
                        <a:pt x="468017" y="494280"/>
                      </a:lnTo>
                      <a:lnTo>
                        <a:pt x="466017" y="495101"/>
                      </a:lnTo>
                      <a:lnTo>
                        <a:pt x="461214" y="497293"/>
                      </a:lnTo>
                      <a:lnTo>
                        <a:pt x="461199" y="500835"/>
                      </a:lnTo>
                      <a:lnTo>
                        <a:pt x="462257" y="504448"/>
                      </a:lnTo>
                      <a:lnTo>
                        <a:pt x="470527" y="516593"/>
                      </a:lnTo>
                      <a:lnTo>
                        <a:pt x="479928" y="523061"/>
                      </a:lnTo>
                      <a:lnTo>
                        <a:pt x="483651" y="527182"/>
                      </a:lnTo>
                      <a:lnTo>
                        <a:pt x="501542" y="561981"/>
                      </a:lnTo>
                      <a:lnTo>
                        <a:pt x="502367" y="567520"/>
                      </a:lnTo>
                      <a:lnTo>
                        <a:pt x="501355" y="570589"/>
                      </a:lnTo>
                      <a:lnTo>
                        <a:pt x="497646" y="575709"/>
                      </a:lnTo>
                      <a:lnTo>
                        <a:pt x="496520" y="578531"/>
                      </a:lnTo>
                      <a:lnTo>
                        <a:pt x="496498" y="581818"/>
                      </a:lnTo>
                      <a:lnTo>
                        <a:pt x="497074" y="585892"/>
                      </a:lnTo>
                      <a:lnTo>
                        <a:pt x="498058" y="589373"/>
                      </a:lnTo>
                      <a:lnTo>
                        <a:pt x="503985" y="597469"/>
                      </a:lnTo>
                      <a:lnTo>
                        <a:pt x="505981" y="598804"/>
                      </a:lnTo>
                      <a:lnTo>
                        <a:pt x="507552" y="599285"/>
                      </a:lnTo>
                      <a:lnTo>
                        <a:pt x="509944" y="603433"/>
                      </a:lnTo>
                      <a:lnTo>
                        <a:pt x="547482" y="636290"/>
                      </a:lnTo>
                      <a:lnTo>
                        <a:pt x="559675" y="650619"/>
                      </a:lnTo>
                      <a:lnTo>
                        <a:pt x="560134" y="651629"/>
                      </a:lnTo>
                      <a:lnTo>
                        <a:pt x="562895" y="653034"/>
                      </a:lnTo>
                      <a:lnTo>
                        <a:pt x="564813" y="659710"/>
                      </a:lnTo>
                      <a:lnTo>
                        <a:pt x="564851" y="659803"/>
                      </a:lnTo>
                      <a:lnTo>
                        <a:pt x="564511" y="660163"/>
                      </a:lnTo>
                      <a:lnTo>
                        <a:pt x="557647" y="667425"/>
                      </a:lnTo>
                      <a:lnTo>
                        <a:pt x="556588" y="669377"/>
                      </a:lnTo>
                      <a:lnTo>
                        <a:pt x="555405" y="672351"/>
                      </a:lnTo>
                      <a:lnTo>
                        <a:pt x="555069" y="678377"/>
                      </a:lnTo>
                      <a:lnTo>
                        <a:pt x="554732" y="681628"/>
                      </a:lnTo>
                      <a:lnTo>
                        <a:pt x="553571" y="685906"/>
                      </a:lnTo>
                      <a:lnTo>
                        <a:pt x="552446" y="687799"/>
                      </a:lnTo>
                      <a:lnTo>
                        <a:pt x="550017" y="689733"/>
                      </a:lnTo>
                      <a:lnTo>
                        <a:pt x="509038" y="699840"/>
                      </a:lnTo>
                      <a:lnTo>
                        <a:pt x="498264" y="695002"/>
                      </a:lnTo>
                      <a:lnTo>
                        <a:pt x="496969" y="693888"/>
                      </a:lnTo>
                      <a:lnTo>
                        <a:pt x="492840" y="688666"/>
                      </a:lnTo>
                      <a:lnTo>
                        <a:pt x="491197" y="685975"/>
                      </a:lnTo>
                      <a:lnTo>
                        <a:pt x="488840" y="683510"/>
                      </a:lnTo>
                      <a:lnTo>
                        <a:pt x="485529" y="685781"/>
                      </a:lnTo>
                      <a:lnTo>
                        <a:pt x="484887" y="687993"/>
                      </a:lnTo>
                      <a:lnTo>
                        <a:pt x="481152" y="698968"/>
                      </a:lnTo>
                      <a:lnTo>
                        <a:pt x="478133" y="705352"/>
                      </a:lnTo>
                      <a:lnTo>
                        <a:pt x="477053" y="709346"/>
                      </a:lnTo>
                      <a:lnTo>
                        <a:pt x="477186" y="711267"/>
                      </a:lnTo>
                      <a:lnTo>
                        <a:pt x="478454" y="712317"/>
                      </a:lnTo>
                      <a:lnTo>
                        <a:pt x="498071" y="717301"/>
                      </a:lnTo>
                      <a:lnTo>
                        <a:pt x="501482" y="718973"/>
                      </a:lnTo>
                      <a:lnTo>
                        <a:pt x="505565" y="724383"/>
                      </a:lnTo>
                      <a:lnTo>
                        <a:pt x="514458" y="740881"/>
                      </a:lnTo>
                      <a:lnTo>
                        <a:pt x="514229" y="746767"/>
                      </a:lnTo>
                      <a:lnTo>
                        <a:pt x="513694" y="748532"/>
                      </a:lnTo>
                      <a:lnTo>
                        <a:pt x="512122" y="751747"/>
                      </a:lnTo>
                      <a:lnTo>
                        <a:pt x="493086" y="775496"/>
                      </a:lnTo>
                      <a:lnTo>
                        <a:pt x="489466" y="780990"/>
                      </a:lnTo>
                      <a:lnTo>
                        <a:pt x="484031" y="791960"/>
                      </a:lnTo>
                      <a:lnTo>
                        <a:pt x="478608" y="808464"/>
                      </a:lnTo>
                      <a:lnTo>
                        <a:pt x="477701" y="809639"/>
                      </a:lnTo>
                      <a:lnTo>
                        <a:pt x="476377" y="810946"/>
                      </a:lnTo>
                      <a:lnTo>
                        <a:pt x="473032" y="808812"/>
                      </a:lnTo>
                      <a:lnTo>
                        <a:pt x="470612" y="808845"/>
                      </a:lnTo>
                      <a:lnTo>
                        <a:pt x="465391" y="812123"/>
                      </a:lnTo>
                      <a:lnTo>
                        <a:pt x="455781" y="810567"/>
                      </a:lnTo>
                      <a:lnTo>
                        <a:pt x="445292" y="799304"/>
                      </a:lnTo>
                      <a:lnTo>
                        <a:pt x="420468" y="778103"/>
                      </a:lnTo>
                      <a:lnTo>
                        <a:pt x="417575" y="774294"/>
                      </a:lnTo>
                      <a:lnTo>
                        <a:pt x="410823" y="761754"/>
                      </a:lnTo>
                      <a:lnTo>
                        <a:pt x="407377" y="753413"/>
                      </a:lnTo>
                      <a:lnTo>
                        <a:pt x="398761" y="726050"/>
                      </a:lnTo>
                      <a:lnTo>
                        <a:pt x="397420" y="719683"/>
                      </a:lnTo>
                      <a:lnTo>
                        <a:pt x="396648" y="713113"/>
                      </a:lnTo>
                      <a:lnTo>
                        <a:pt x="394428" y="680550"/>
                      </a:lnTo>
                      <a:lnTo>
                        <a:pt x="393247" y="671842"/>
                      </a:lnTo>
                      <a:lnTo>
                        <a:pt x="390322" y="661835"/>
                      </a:lnTo>
                      <a:lnTo>
                        <a:pt x="385457" y="648295"/>
                      </a:lnTo>
                      <a:lnTo>
                        <a:pt x="384147" y="640873"/>
                      </a:lnTo>
                      <a:lnTo>
                        <a:pt x="382300" y="635743"/>
                      </a:lnTo>
                      <a:lnTo>
                        <a:pt x="377358" y="627029"/>
                      </a:lnTo>
                      <a:lnTo>
                        <a:pt x="360550" y="623842"/>
                      </a:lnTo>
                      <a:lnTo>
                        <a:pt x="359412" y="625140"/>
                      </a:lnTo>
                      <a:lnTo>
                        <a:pt x="358306" y="626821"/>
                      </a:lnTo>
                      <a:lnTo>
                        <a:pt x="359753" y="629486"/>
                      </a:lnTo>
                      <a:lnTo>
                        <a:pt x="360279" y="632333"/>
                      </a:lnTo>
                      <a:lnTo>
                        <a:pt x="359748" y="635156"/>
                      </a:lnTo>
                      <a:lnTo>
                        <a:pt x="357492" y="638224"/>
                      </a:lnTo>
                      <a:lnTo>
                        <a:pt x="355682" y="639151"/>
                      </a:lnTo>
                      <a:lnTo>
                        <a:pt x="341328" y="641526"/>
                      </a:lnTo>
                      <a:lnTo>
                        <a:pt x="337153" y="644312"/>
                      </a:lnTo>
                      <a:lnTo>
                        <a:pt x="334412" y="648225"/>
                      </a:lnTo>
                      <a:lnTo>
                        <a:pt x="333125" y="652806"/>
                      </a:lnTo>
                      <a:lnTo>
                        <a:pt x="332756" y="659404"/>
                      </a:lnTo>
                      <a:lnTo>
                        <a:pt x="334477" y="675512"/>
                      </a:lnTo>
                      <a:lnTo>
                        <a:pt x="334403" y="681040"/>
                      </a:lnTo>
                      <a:lnTo>
                        <a:pt x="320848" y="676546"/>
                      </a:lnTo>
                      <a:lnTo>
                        <a:pt x="306321" y="667100"/>
                      </a:lnTo>
                      <a:lnTo>
                        <a:pt x="303535" y="662850"/>
                      </a:lnTo>
                      <a:lnTo>
                        <a:pt x="302433" y="658555"/>
                      </a:lnTo>
                      <a:lnTo>
                        <a:pt x="301592" y="653880"/>
                      </a:lnTo>
                      <a:lnTo>
                        <a:pt x="299709" y="650032"/>
                      </a:lnTo>
                      <a:lnTo>
                        <a:pt x="295830" y="648374"/>
                      </a:lnTo>
                      <a:lnTo>
                        <a:pt x="278150" y="644634"/>
                      </a:lnTo>
                      <a:lnTo>
                        <a:pt x="272780" y="642202"/>
                      </a:lnTo>
                      <a:lnTo>
                        <a:pt x="267684" y="637626"/>
                      </a:lnTo>
                      <a:lnTo>
                        <a:pt x="269286" y="622321"/>
                      </a:lnTo>
                      <a:lnTo>
                        <a:pt x="267914" y="616389"/>
                      </a:lnTo>
                      <a:lnTo>
                        <a:pt x="258309" y="591039"/>
                      </a:lnTo>
                      <a:lnTo>
                        <a:pt x="259685" y="583022"/>
                      </a:lnTo>
                      <a:lnTo>
                        <a:pt x="261131" y="578078"/>
                      </a:lnTo>
                      <a:lnTo>
                        <a:pt x="261011" y="573790"/>
                      </a:lnTo>
                      <a:lnTo>
                        <a:pt x="259802" y="570148"/>
                      </a:lnTo>
                      <a:lnTo>
                        <a:pt x="258169" y="567728"/>
                      </a:lnTo>
                      <a:lnTo>
                        <a:pt x="255243" y="564512"/>
                      </a:lnTo>
                      <a:lnTo>
                        <a:pt x="244780" y="558541"/>
                      </a:lnTo>
                      <a:lnTo>
                        <a:pt x="207756" y="526173"/>
                      </a:lnTo>
                      <a:lnTo>
                        <a:pt x="196311" y="513141"/>
                      </a:lnTo>
                      <a:lnTo>
                        <a:pt x="171957" y="503334"/>
                      </a:lnTo>
                      <a:lnTo>
                        <a:pt x="159835" y="495301"/>
                      </a:lnTo>
                      <a:lnTo>
                        <a:pt x="155401" y="489474"/>
                      </a:lnTo>
                      <a:lnTo>
                        <a:pt x="154862" y="486633"/>
                      </a:lnTo>
                      <a:lnTo>
                        <a:pt x="154478" y="482712"/>
                      </a:lnTo>
                      <a:lnTo>
                        <a:pt x="154438" y="479330"/>
                      </a:lnTo>
                      <a:lnTo>
                        <a:pt x="154051" y="477450"/>
                      </a:lnTo>
                      <a:lnTo>
                        <a:pt x="153826" y="476640"/>
                      </a:lnTo>
                      <a:lnTo>
                        <a:pt x="152790" y="475261"/>
                      </a:lnTo>
                      <a:lnTo>
                        <a:pt x="147562" y="469945"/>
                      </a:lnTo>
                      <a:lnTo>
                        <a:pt x="130272" y="459701"/>
                      </a:lnTo>
                      <a:lnTo>
                        <a:pt x="119433" y="450751"/>
                      </a:lnTo>
                      <a:lnTo>
                        <a:pt x="112783" y="442112"/>
                      </a:lnTo>
                      <a:lnTo>
                        <a:pt x="104681" y="428349"/>
                      </a:lnTo>
                      <a:lnTo>
                        <a:pt x="101233" y="429824"/>
                      </a:lnTo>
                      <a:lnTo>
                        <a:pt x="88880" y="441764"/>
                      </a:lnTo>
                      <a:lnTo>
                        <a:pt x="88091" y="429225"/>
                      </a:lnTo>
                      <a:lnTo>
                        <a:pt x="73772" y="399089"/>
                      </a:lnTo>
                      <a:lnTo>
                        <a:pt x="71719" y="391647"/>
                      </a:lnTo>
                      <a:lnTo>
                        <a:pt x="71446" y="386251"/>
                      </a:lnTo>
                      <a:lnTo>
                        <a:pt x="72208" y="383656"/>
                      </a:lnTo>
                      <a:lnTo>
                        <a:pt x="73932" y="380732"/>
                      </a:lnTo>
                      <a:lnTo>
                        <a:pt x="89270" y="368189"/>
                      </a:lnTo>
                      <a:lnTo>
                        <a:pt x="103425" y="351335"/>
                      </a:lnTo>
                      <a:lnTo>
                        <a:pt x="102594" y="343381"/>
                      </a:lnTo>
                      <a:lnTo>
                        <a:pt x="100292" y="336936"/>
                      </a:lnTo>
                      <a:lnTo>
                        <a:pt x="97340" y="332704"/>
                      </a:lnTo>
                      <a:lnTo>
                        <a:pt x="96500" y="329330"/>
                      </a:lnTo>
                      <a:lnTo>
                        <a:pt x="96450" y="327090"/>
                      </a:lnTo>
                      <a:lnTo>
                        <a:pt x="97901" y="319212"/>
                      </a:lnTo>
                      <a:lnTo>
                        <a:pt x="102224" y="316566"/>
                      </a:lnTo>
                      <a:lnTo>
                        <a:pt x="126317" y="315465"/>
                      </a:lnTo>
                      <a:lnTo>
                        <a:pt x="122365" y="304809"/>
                      </a:lnTo>
                      <a:lnTo>
                        <a:pt x="113056" y="287612"/>
                      </a:lnTo>
                      <a:lnTo>
                        <a:pt x="83122" y="266721"/>
                      </a:lnTo>
                      <a:lnTo>
                        <a:pt x="81198" y="264288"/>
                      </a:lnTo>
                      <a:lnTo>
                        <a:pt x="76682" y="252365"/>
                      </a:lnTo>
                      <a:lnTo>
                        <a:pt x="74750" y="244852"/>
                      </a:lnTo>
                      <a:lnTo>
                        <a:pt x="73908" y="237927"/>
                      </a:lnTo>
                      <a:lnTo>
                        <a:pt x="73893" y="231881"/>
                      </a:lnTo>
                      <a:lnTo>
                        <a:pt x="74297" y="226951"/>
                      </a:lnTo>
                      <a:lnTo>
                        <a:pt x="75350" y="216025"/>
                      </a:lnTo>
                      <a:lnTo>
                        <a:pt x="74819" y="211834"/>
                      </a:lnTo>
                      <a:lnTo>
                        <a:pt x="73287" y="207150"/>
                      </a:lnTo>
                      <a:lnTo>
                        <a:pt x="70180" y="203466"/>
                      </a:lnTo>
                      <a:lnTo>
                        <a:pt x="65664" y="200163"/>
                      </a:lnTo>
                      <a:lnTo>
                        <a:pt x="52865" y="195248"/>
                      </a:lnTo>
                      <a:lnTo>
                        <a:pt x="14431" y="191294"/>
                      </a:lnTo>
                      <a:lnTo>
                        <a:pt x="10275" y="188402"/>
                      </a:lnTo>
                      <a:lnTo>
                        <a:pt x="7532" y="179293"/>
                      </a:lnTo>
                      <a:lnTo>
                        <a:pt x="3698" y="159202"/>
                      </a:lnTo>
                      <a:lnTo>
                        <a:pt x="893" y="145602"/>
                      </a:lnTo>
                      <a:lnTo>
                        <a:pt x="1422" y="141115"/>
                      </a:lnTo>
                      <a:lnTo>
                        <a:pt x="2744" y="133198"/>
                      </a:lnTo>
                      <a:lnTo>
                        <a:pt x="8071" y="112971"/>
                      </a:lnTo>
                      <a:lnTo>
                        <a:pt x="9770" y="103050"/>
                      </a:lnTo>
                      <a:lnTo>
                        <a:pt x="9190" y="97873"/>
                      </a:lnTo>
                      <a:lnTo>
                        <a:pt x="7997" y="93805"/>
                      </a:lnTo>
                      <a:lnTo>
                        <a:pt x="5994" y="90185"/>
                      </a:lnTo>
                      <a:lnTo>
                        <a:pt x="4577" y="88218"/>
                      </a:lnTo>
                      <a:lnTo>
                        <a:pt x="3084" y="86927"/>
                      </a:lnTo>
                      <a:lnTo>
                        <a:pt x="0" y="85253"/>
                      </a:lnTo>
                      <a:lnTo>
                        <a:pt x="8470" y="82541"/>
                      </a:lnTo>
                      <a:lnTo>
                        <a:pt x="24107" y="74029"/>
                      </a:lnTo>
                      <a:lnTo>
                        <a:pt x="29963" y="72438"/>
                      </a:lnTo>
                      <a:lnTo>
                        <a:pt x="33832" y="72700"/>
                      </a:lnTo>
                      <a:lnTo>
                        <a:pt x="38127" y="76826"/>
                      </a:lnTo>
                      <a:lnTo>
                        <a:pt x="40741" y="78575"/>
                      </a:lnTo>
                      <a:lnTo>
                        <a:pt x="44877" y="79293"/>
                      </a:lnTo>
                      <a:lnTo>
                        <a:pt x="47623" y="78326"/>
                      </a:lnTo>
                      <a:lnTo>
                        <a:pt x="49185" y="76662"/>
                      </a:lnTo>
                      <a:lnTo>
                        <a:pt x="48615" y="71190"/>
                      </a:lnTo>
                      <a:lnTo>
                        <a:pt x="49348" y="67886"/>
                      </a:lnTo>
                      <a:lnTo>
                        <a:pt x="53092" y="64311"/>
                      </a:lnTo>
                      <a:lnTo>
                        <a:pt x="62004" y="57456"/>
                      </a:lnTo>
                      <a:lnTo>
                        <a:pt x="67712" y="51406"/>
                      </a:lnTo>
                      <a:lnTo>
                        <a:pt x="71897" y="46094"/>
                      </a:lnTo>
                      <a:lnTo>
                        <a:pt x="74448" y="44846"/>
                      </a:lnTo>
                      <a:lnTo>
                        <a:pt x="77905" y="43842"/>
                      </a:lnTo>
                      <a:lnTo>
                        <a:pt x="81843" y="44054"/>
                      </a:lnTo>
                      <a:lnTo>
                        <a:pt x="84709" y="44964"/>
                      </a:lnTo>
                      <a:lnTo>
                        <a:pt x="89701" y="48989"/>
                      </a:lnTo>
                      <a:lnTo>
                        <a:pt x="99598" y="53386"/>
                      </a:lnTo>
                      <a:lnTo>
                        <a:pt x="110318" y="53487"/>
                      </a:lnTo>
                      <a:lnTo>
                        <a:pt x="119400" y="48437"/>
                      </a:lnTo>
                      <a:lnTo>
                        <a:pt x="124370" y="43783"/>
                      </a:lnTo>
                      <a:lnTo>
                        <a:pt x="129127" y="38289"/>
                      </a:lnTo>
                      <a:lnTo>
                        <a:pt x="131956" y="33988"/>
                      </a:lnTo>
                      <a:lnTo>
                        <a:pt x="143291" y="10641"/>
                      </a:lnTo>
                      <a:lnTo>
                        <a:pt x="145793" y="6605"/>
                      </a:lnTo>
                      <a:lnTo>
                        <a:pt x="147533" y="5308"/>
                      </a:lnTo>
                      <a:lnTo>
                        <a:pt x="150691" y="4725"/>
                      </a:lnTo>
                      <a:lnTo>
                        <a:pt x="171099" y="4732"/>
                      </a:lnTo>
                      <a:lnTo>
                        <a:pt x="189685" y="0"/>
                      </a:lnTo>
                      <a:lnTo>
                        <a:pt x="228148" y="2950"/>
                      </a:lnTo>
                      <a:lnTo>
                        <a:pt x="260467" y="6659"/>
                      </a:lnTo>
                      <a:lnTo>
                        <a:pt x="277992" y="15267"/>
                      </a:lnTo>
                      <a:close/>
                    </a:path>
                  </a:pathLst>
                </a:custGeom>
                <a:solidFill>
                  <a:srgbClr val="C7DFE3"/>
                </a:solidFill>
                <a:ln w="3175" cap="rnd">
                  <a:solidFill>
                    <a:srgbClr val="C7DFE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Freeform 108">
                  <a:extLst>
                    <a:ext uri="{FF2B5EF4-FFF2-40B4-BE49-F238E27FC236}">
                      <a16:creationId xmlns:a16="http://schemas.microsoft.com/office/drawing/2014/main" id="{E409D3F6-BF93-479A-A7BA-7A8A3C4CA612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8"/>
                  </p:custDataLst>
                </p:nvPr>
              </p:nvSpPr>
              <p:spPr>
                <a:xfrm>
                  <a:off x="2637034" y="3902995"/>
                  <a:ext cx="98318" cy="10939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06089" h="118045">
                      <a:moveTo>
                        <a:pt x="68964" y="1556"/>
                      </a:moveTo>
                      <a:lnTo>
                        <a:pt x="77702" y="5700"/>
                      </a:lnTo>
                      <a:lnTo>
                        <a:pt x="80781" y="8487"/>
                      </a:lnTo>
                      <a:lnTo>
                        <a:pt x="82792" y="11964"/>
                      </a:lnTo>
                      <a:lnTo>
                        <a:pt x="85451" y="20616"/>
                      </a:lnTo>
                      <a:lnTo>
                        <a:pt x="95468" y="44110"/>
                      </a:lnTo>
                      <a:lnTo>
                        <a:pt x="105531" y="61236"/>
                      </a:lnTo>
                      <a:lnTo>
                        <a:pt x="106088" y="66892"/>
                      </a:lnTo>
                      <a:lnTo>
                        <a:pt x="102196" y="102711"/>
                      </a:lnTo>
                      <a:lnTo>
                        <a:pt x="101599" y="105521"/>
                      </a:lnTo>
                      <a:lnTo>
                        <a:pt x="98294" y="111629"/>
                      </a:lnTo>
                      <a:lnTo>
                        <a:pt x="96691" y="113447"/>
                      </a:lnTo>
                      <a:lnTo>
                        <a:pt x="90612" y="116223"/>
                      </a:lnTo>
                      <a:lnTo>
                        <a:pt x="77517" y="112131"/>
                      </a:lnTo>
                      <a:lnTo>
                        <a:pt x="70456" y="109263"/>
                      </a:lnTo>
                      <a:lnTo>
                        <a:pt x="70451" y="109261"/>
                      </a:lnTo>
                      <a:lnTo>
                        <a:pt x="70999" y="107232"/>
                      </a:lnTo>
                      <a:lnTo>
                        <a:pt x="69892" y="96017"/>
                      </a:lnTo>
                      <a:lnTo>
                        <a:pt x="71440" y="93812"/>
                      </a:lnTo>
                      <a:lnTo>
                        <a:pt x="69500" y="91416"/>
                      </a:lnTo>
                      <a:lnTo>
                        <a:pt x="64726" y="88957"/>
                      </a:lnTo>
                      <a:lnTo>
                        <a:pt x="61287" y="84722"/>
                      </a:lnTo>
                      <a:lnTo>
                        <a:pt x="59669" y="86903"/>
                      </a:lnTo>
                      <a:lnTo>
                        <a:pt x="58147" y="90397"/>
                      </a:lnTo>
                      <a:lnTo>
                        <a:pt x="56547" y="92142"/>
                      </a:lnTo>
                      <a:lnTo>
                        <a:pt x="49097" y="88722"/>
                      </a:lnTo>
                      <a:lnTo>
                        <a:pt x="48021" y="89194"/>
                      </a:lnTo>
                      <a:lnTo>
                        <a:pt x="45477" y="92132"/>
                      </a:lnTo>
                      <a:lnTo>
                        <a:pt x="43865" y="93081"/>
                      </a:lnTo>
                      <a:lnTo>
                        <a:pt x="36869" y="91573"/>
                      </a:lnTo>
                      <a:lnTo>
                        <a:pt x="32702" y="91718"/>
                      </a:lnTo>
                      <a:lnTo>
                        <a:pt x="28606" y="94996"/>
                      </a:lnTo>
                      <a:lnTo>
                        <a:pt x="22126" y="101721"/>
                      </a:lnTo>
                      <a:lnTo>
                        <a:pt x="21507" y="104665"/>
                      </a:lnTo>
                      <a:lnTo>
                        <a:pt x="25508" y="107803"/>
                      </a:lnTo>
                      <a:lnTo>
                        <a:pt x="23089" y="113569"/>
                      </a:lnTo>
                      <a:lnTo>
                        <a:pt x="22241" y="118042"/>
                      </a:lnTo>
                      <a:lnTo>
                        <a:pt x="22241" y="118044"/>
                      </a:lnTo>
                      <a:lnTo>
                        <a:pt x="14013" y="117357"/>
                      </a:lnTo>
                      <a:lnTo>
                        <a:pt x="7251" y="114517"/>
                      </a:lnTo>
                      <a:lnTo>
                        <a:pt x="1307" y="108065"/>
                      </a:lnTo>
                      <a:lnTo>
                        <a:pt x="0" y="103164"/>
                      </a:lnTo>
                      <a:lnTo>
                        <a:pt x="460" y="98003"/>
                      </a:lnTo>
                      <a:lnTo>
                        <a:pt x="1864" y="88656"/>
                      </a:lnTo>
                      <a:lnTo>
                        <a:pt x="5530" y="79880"/>
                      </a:lnTo>
                      <a:lnTo>
                        <a:pt x="8955" y="69395"/>
                      </a:lnTo>
                      <a:lnTo>
                        <a:pt x="9667" y="56630"/>
                      </a:lnTo>
                      <a:lnTo>
                        <a:pt x="11498" y="53392"/>
                      </a:lnTo>
                      <a:lnTo>
                        <a:pt x="23097" y="37962"/>
                      </a:lnTo>
                      <a:lnTo>
                        <a:pt x="32321" y="33486"/>
                      </a:lnTo>
                      <a:lnTo>
                        <a:pt x="40134" y="31905"/>
                      </a:lnTo>
                      <a:lnTo>
                        <a:pt x="43830" y="28735"/>
                      </a:lnTo>
                      <a:lnTo>
                        <a:pt x="47677" y="23333"/>
                      </a:lnTo>
                      <a:lnTo>
                        <a:pt x="59354" y="0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3175" cap="rnd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1" name="Freeform 109">
                  <a:extLst>
                    <a:ext uri="{FF2B5EF4-FFF2-40B4-BE49-F238E27FC236}">
                      <a16:creationId xmlns:a16="http://schemas.microsoft.com/office/drawing/2014/main" id="{D620577B-675B-452B-8E1B-F211DC9092FE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9"/>
                  </p:custDataLst>
                </p:nvPr>
              </p:nvSpPr>
              <p:spPr>
                <a:xfrm>
                  <a:off x="2115373" y="3837840"/>
                  <a:ext cx="422966" cy="47604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456398" h="513673">
                      <a:moveTo>
                        <a:pt x="214221" y="2293"/>
                      </a:moveTo>
                      <a:lnTo>
                        <a:pt x="223768" y="3197"/>
                      </a:lnTo>
                      <a:lnTo>
                        <a:pt x="240524" y="8812"/>
                      </a:lnTo>
                      <a:lnTo>
                        <a:pt x="245509" y="12310"/>
                      </a:lnTo>
                      <a:lnTo>
                        <a:pt x="312713" y="25433"/>
                      </a:lnTo>
                      <a:lnTo>
                        <a:pt x="318506" y="29152"/>
                      </a:lnTo>
                      <a:lnTo>
                        <a:pt x="330337" y="40493"/>
                      </a:lnTo>
                      <a:lnTo>
                        <a:pt x="332310" y="43188"/>
                      </a:lnTo>
                      <a:lnTo>
                        <a:pt x="335662" y="51441"/>
                      </a:lnTo>
                      <a:lnTo>
                        <a:pt x="336709" y="72168"/>
                      </a:lnTo>
                      <a:lnTo>
                        <a:pt x="338084" y="82351"/>
                      </a:lnTo>
                      <a:lnTo>
                        <a:pt x="341249" y="88699"/>
                      </a:lnTo>
                      <a:lnTo>
                        <a:pt x="356712" y="99167"/>
                      </a:lnTo>
                      <a:lnTo>
                        <a:pt x="359874" y="102432"/>
                      </a:lnTo>
                      <a:lnTo>
                        <a:pt x="364549" y="109247"/>
                      </a:lnTo>
                      <a:lnTo>
                        <a:pt x="365931" y="112491"/>
                      </a:lnTo>
                      <a:lnTo>
                        <a:pt x="366158" y="114847"/>
                      </a:lnTo>
                      <a:lnTo>
                        <a:pt x="365159" y="116234"/>
                      </a:lnTo>
                      <a:lnTo>
                        <a:pt x="364971" y="118048"/>
                      </a:lnTo>
                      <a:lnTo>
                        <a:pt x="365586" y="119331"/>
                      </a:lnTo>
                      <a:lnTo>
                        <a:pt x="368298" y="121972"/>
                      </a:lnTo>
                      <a:lnTo>
                        <a:pt x="367742" y="134694"/>
                      </a:lnTo>
                      <a:lnTo>
                        <a:pt x="365689" y="144402"/>
                      </a:lnTo>
                      <a:lnTo>
                        <a:pt x="374767" y="151012"/>
                      </a:lnTo>
                      <a:lnTo>
                        <a:pt x="382537" y="154619"/>
                      </a:lnTo>
                      <a:lnTo>
                        <a:pt x="390779" y="162553"/>
                      </a:lnTo>
                      <a:lnTo>
                        <a:pt x="389601" y="168026"/>
                      </a:lnTo>
                      <a:lnTo>
                        <a:pt x="387444" y="174315"/>
                      </a:lnTo>
                      <a:lnTo>
                        <a:pt x="386399" y="181258"/>
                      </a:lnTo>
                      <a:lnTo>
                        <a:pt x="386145" y="186954"/>
                      </a:lnTo>
                      <a:lnTo>
                        <a:pt x="386762" y="190153"/>
                      </a:lnTo>
                      <a:lnTo>
                        <a:pt x="388444" y="192521"/>
                      </a:lnTo>
                      <a:lnTo>
                        <a:pt x="390834" y="194895"/>
                      </a:lnTo>
                      <a:lnTo>
                        <a:pt x="393997" y="199171"/>
                      </a:lnTo>
                      <a:lnTo>
                        <a:pt x="396083" y="206438"/>
                      </a:lnTo>
                      <a:lnTo>
                        <a:pt x="398665" y="218417"/>
                      </a:lnTo>
                      <a:lnTo>
                        <a:pt x="399672" y="237734"/>
                      </a:lnTo>
                      <a:lnTo>
                        <a:pt x="400843" y="245004"/>
                      </a:lnTo>
                      <a:lnTo>
                        <a:pt x="404588" y="249819"/>
                      </a:lnTo>
                      <a:lnTo>
                        <a:pt x="404682" y="251867"/>
                      </a:lnTo>
                      <a:lnTo>
                        <a:pt x="403149" y="254349"/>
                      </a:lnTo>
                      <a:lnTo>
                        <a:pt x="400330" y="257508"/>
                      </a:lnTo>
                      <a:lnTo>
                        <a:pt x="398759" y="260347"/>
                      </a:lnTo>
                      <a:lnTo>
                        <a:pt x="398450" y="263170"/>
                      </a:lnTo>
                      <a:lnTo>
                        <a:pt x="398784" y="264627"/>
                      </a:lnTo>
                      <a:lnTo>
                        <a:pt x="400827" y="266022"/>
                      </a:lnTo>
                      <a:lnTo>
                        <a:pt x="410547" y="267097"/>
                      </a:lnTo>
                      <a:lnTo>
                        <a:pt x="412248" y="268669"/>
                      </a:lnTo>
                      <a:lnTo>
                        <a:pt x="414342" y="271192"/>
                      </a:lnTo>
                      <a:lnTo>
                        <a:pt x="417352" y="278174"/>
                      </a:lnTo>
                      <a:lnTo>
                        <a:pt x="421624" y="285498"/>
                      </a:lnTo>
                      <a:lnTo>
                        <a:pt x="422985" y="289294"/>
                      </a:lnTo>
                      <a:lnTo>
                        <a:pt x="430561" y="295995"/>
                      </a:lnTo>
                      <a:lnTo>
                        <a:pt x="447759" y="300834"/>
                      </a:lnTo>
                      <a:lnTo>
                        <a:pt x="442862" y="322299"/>
                      </a:lnTo>
                      <a:lnTo>
                        <a:pt x="443445" y="329374"/>
                      </a:lnTo>
                      <a:lnTo>
                        <a:pt x="444514" y="333721"/>
                      </a:lnTo>
                      <a:lnTo>
                        <a:pt x="456397" y="354476"/>
                      </a:lnTo>
                      <a:lnTo>
                        <a:pt x="454800" y="359171"/>
                      </a:lnTo>
                      <a:lnTo>
                        <a:pt x="454624" y="360606"/>
                      </a:lnTo>
                      <a:lnTo>
                        <a:pt x="455595" y="368250"/>
                      </a:lnTo>
                      <a:lnTo>
                        <a:pt x="455155" y="375915"/>
                      </a:lnTo>
                      <a:lnTo>
                        <a:pt x="455892" y="381207"/>
                      </a:lnTo>
                      <a:lnTo>
                        <a:pt x="455223" y="382833"/>
                      </a:lnTo>
                      <a:lnTo>
                        <a:pt x="452733" y="385311"/>
                      </a:lnTo>
                      <a:lnTo>
                        <a:pt x="449708" y="387414"/>
                      </a:lnTo>
                      <a:lnTo>
                        <a:pt x="447158" y="389685"/>
                      </a:lnTo>
                      <a:lnTo>
                        <a:pt x="445373" y="392196"/>
                      </a:lnTo>
                      <a:lnTo>
                        <a:pt x="444870" y="394481"/>
                      </a:lnTo>
                      <a:lnTo>
                        <a:pt x="444870" y="398323"/>
                      </a:lnTo>
                      <a:lnTo>
                        <a:pt x="446195" y="403862"/>
                      </a:lnTo>
                      <a:lnTo>
                        <a:pt x="446956" y="408734"/>
                      </a:lnTo>
                      <a:lnTo>
                        <a:pt x="446784" y="413536"/>
                      </a:lnTo>
                      <a:lnTo>
                        <a:pt x="445118" y="420110"/>
                      </a:lnTo>
                      <a:lnTo>
                        <a:pt x="443698" y="424449"/>
                      </a:lnTo>
                      <a:lnTo>
                        <a:pt x="442300" y="437661"/>
                      </a:lnTo>
                      <a:lnTo>
                        <a:pt x="438096" y="443664"/>
                      </a:lnTo>
                      <a:lnTo>
                        <a:pt x="438062" y="443718"/>
                      </a:lnTo>
                      <a:lnTo>
                        <a:pt x="437022" y="441087"/>
                      </a:lnTo>
                      <a:lnTo>
                        <a:pt x="431420" y="431467"/>
                      </a:lnTo>
                      <a:lnTo>
                        <a:pt x="428685" y="430695"/>
                      </a:lnTo>
                      <a:lnTo>
                        <a:pt x="426454" y="437384"/>
                      </a:lnTo>
                      <a:lnTo>
                        <a:pt x="425051" y="435278"/>
                      </a:lnTo>
                      <a:lnTo>
                        <a:pt x="421584" y="427240"/>
                      </a:lnTo>
                      <a:lnTo>
                        <a:pt x="420770" y="426513"/>
                      </a:lnTo>
                      <a:lnTo>
                        <a:pt x="419599" y="426079"/>
                      </a:lnTo>
                      <a:lnTo>
                        <a:pt x="418619" y="425274"/>
                      </a:lnTo>
                      <a:lnTo>
                        <a:pt x="418403" y="423263"/>
                      </a:lnTo>
                      <a:lnTo>
                        <a:pt x="419131" y="418366"/>
                      </a:lnTo>
                      <a:lnTo>
                        <a:pt x="419131" y="417431"/>
                      </a:lnTo>
                      <a:lnTo>
                        <a:pt x="416653" y="415795"/>
                      </a:lnTo>
                      <a:lnTo>
                        <a:pt x="415649" y="419395"/>
                      </a:lnTo>
                      <a:lnTo>
                        <a:pt x="415060" y="425386"/>
                      </a:lnTo>
                      <a:lnTo>
                        <a:pt x="413788" y="431005"/>
                      </a:lnTo>
                      <a:lnTo>
                        <a:pt x="411463" y="428821"/>
                      </a:lnTo>
                      <a:lnTo>
                        <a:pt x="410321" y="426988"/>
                      </a:lnTo>
                      <a:lnTo>
                        <a:pt x="408928" y="420884"/>
                      </a:lnTo>
                      <a:lnTo>
                        <a:pt x="408729" y="417244"/>
                      </a:lnTo>
                      <a:lnTo>
                        <a:pt x="409098" y="413734"/>
                      </a:lnTo>
                      <a:lnTo>
                        <a:pt x="408849" y="410725"/>
                      </a:lnTo>
                      <a:lnTo>
                        <a:pt x="406813" y="408491"/>
                      </a:lnTo>
                      <a:lnTo>
                        <a:pt x="409344" y="405515"/>
                      </a:lnTo>
                      <a:lnTo>
                        <a:pt x="409647" y="402180"/>
                      </a:lnTo>
                      <a:lnTo>
                        <a:pt x="408207" y="400548"/>
                      </a:lnTo>
                      <a:lnTo>
                        <a:pt x="402295" y="405270"/>
                      </a:lnTo>
                      <a:lnTo>
                        <a:pt x="391614" y="402180"/>
                      </a:lnTo>
                      <a:lnTo>
                        <a:pt x="394347" y="408874"/>
                      </a:lnTo>
                      <a:lnTo>
                        <a:pt x="404147" y="419586"/>
                      </a:lnTo>
                      <a:lnTo>
                        <a:pt x="405373" y="428732"/>
                      </a:lnTo>
                      <a:lnTo>
                        <a:pt x="408297" y="433347"/>
                      </a:lnTo>
                      <a:lnTo>
                        <a:pt x="415061" y="436936"/>
                      </a:lnTo>
                      <a:lnTo>
                        <a:pt x="420188" y="442566"/>
                      </a:lnTo>
                      <a:lnTo>
                        <a:pt x="418351" y="453216"/>
                      </a:lnTo>
                      <a:lnTo>
                        <a:pt x="417257" y="453077"/>
                      </a:lnTo>
                      <a:lnTo>
                        <a:pt x="416937" y="451420"/>
                      </a:lnTo>
                      <a:lnTo>
                        <a:pt x="416049" y="449635"/>
                      </a:lnTo>
                      <a:lnTo>
                        <a:pt x="415335" y="447856"/>
                      </a:lnTo>
                      <a:lnTo>
                        <a:pt x="413489" y="451404"/>
                      </a:lnTo>
                      <a:lnTo>
                        <a:pt x="411393" y="452496"/>
                      </a:lnTo>
                      <a:lnTo>
                        <a:pt x="406289" y="451671"/>
                      </a:lnTo>
                      <a:lnTo>
                        <a:pt x="405995" y="454015"/>
                      </a:lnTo>
                      <a:lnTo>
                        <a:pt x="408027" y="454616"/>
                      </a:lnTo>
                      <a:lnTo>
                        <a:pt x="409645" y="456057"/>
                      </a:lnTo>
                      <a:lnTo>
                        <a:pt x="410712" y="458405"/>
                      </a:lnTo>
                      <a:lnTo>
                        <a:pt x="411138" y="461790"/>
                      </a:lnTo>
                      <a:lnTo>
                        <a:pt x="406548" y="460464"/>
                      </a:lnTo>
                      <a:lnTo>
                        <a:pt x="393636" y="464298"/>
                      </a:lnTo>
                      <a:lnTo>
                        <a:pt x="393339" y="466640"/>
                      </a:lnTo>
                      <a:lnTo>
                        <a:pt x="393989" y="467292"/>
                      </a:lnTo>
                      <a:lnTo>
                        <a:pt x="395437" y="469521"/>
                      </a:lnTo>
                      <a:lnTo>
                        <a:pt x="389458" y="471268"/>
                      </a:lnTo>
                      <a:lnTo>
                        <a:pt x="371021" y="466335"/>
                      </a:lnTo>
                      <a:lnTo>
                        <a:pt x="377071" y="473353"/>
                      </a:lnTo>
                      <a:lnTo>
                        <a:pt x="379310" y="477403"/>
                      </a:lnTo>
                      <a:lnTo>
                        <a:pt x="376892" y="478773"/>
                      </a:lnTo>
                      <a:lnTo>
                        <a:pt x="370056" y="475920"/>
                      </a:lnTo>
                      <a:lnTo>
                        <a:pt x="367148" y="476630"/>
                      </a:lnTo>
                      <a:lnTo>
                        <a:pt x="365456" y="482035"/>
                      </a:lnTo>
                      <a:lnTo>
                        <a:pt x="362015" y="477539"/>
                      </a:lnTo>
                      <a:lnTo>
                        <a:pt x="357176" y="475027"/>
                      </a:lnTo>
                      <a:lnTo>
                        <a:pt x="352495" y="475483"/>
                      </a:lnTo>
                      <a:lnTo>
                        <a:pt x="349469" y="479916"/>
                      </a:lnTo>
                      <a:lnTo>
                        <a:pt x="353522" y="478315"/>
                      </a:lnTo>
                      <a:lnTo>
                        <a:pt x="355870" y="477861"/>
                      </a:lnTo>
                      <a:lnTo>
                        <a:pt x="357188" y="478560"/>
                      </a:lnTo>
                      <a:lnTo>
                        <a:pt x="357147" y="481149"/>
                      </a:lnTo>
                      <a:lnTo>
                        <a:pt x="356012" y="483338"/>
                      </a:lnTo>
                      <a:lnTo>
                        <a:pt x="354434" y="484873"/>
                      </a:lnTo>
                      <a:lnTo>
                        <a:pt x="353149" y="485383"/>
                      </a:lnTo>
                      <a:lnTo>
                        <a:pt x="344961" y="485909"/>
                      </a:lnTo>
                      <a:lnTo>
                        <a:pt x="341390" y="484239"/>
                      </a:lnTo>
                      <a:lnTo>
                        <a:pt x="338592" y="478460"/>
                      </a:lnTo>
                      <a:lnTo>
                        <a:pt x="337178" y="482866"/>
                      </a:lnTo>
                      <a:lnTo>
                        <a:pt x="331453" y="494366"/>
                      </a:lnTo>
                      <a:lnTo>
                        <a:pt x="333559" y="494677"/>
                      </a:lnTo>
                      <a:lnTo>
                        <a:pt x="336893" y="497168"/>
                      </a:lnTo>
                      <a:lnTo>
                        <a:pt x="338544" y="497701"/>
                      </a:lnTo>
                      <a:lnTo>
                        <a:pt x="340524" y="497173"/>
                      </a:lnTo>
                      <a:lnTo>
                        <a:pt x="346551" y="494007"/>
                      </a:lnTo>
                      <a:lnTo>
                        <a:pt x="351258" y="493173"/>
                      </a:lnTo>
                      <a:lnTo>
                        <a:pt x="355427" y="493769"/>
                      </a:lnTo>
                      <a:lnTo>
                        <a:pt x="359328" y="495646"/>
                      </a:lnTo>
                      <a:lnTo>
                        <a:pt x="363325" y="498614"/>
                      </a:lnTo>
                      <a:lnTo>
                        <a:pt x="360244" y="502688"/>
                      </a:lnTo>
                      <a:lnTo>
                        <a:pt x="350921" y="507352"/>
                      </a:lnTo>
                      <a:lnTo>
                        <a:pt x="346707" y="510691"/>
                      </a:lnTo>
                      <a:lnTo>
                        <a:pt x="350609" y="510444"/>
                      </a:lnTo>
                      <a:lnTo>
                        <a:pt x="354443" y="509124"/>
                      </a:lnTo>
                      <a:lnTo>
                        <a:pt x="354114" y="511675"/>
                      </a:lnTo>
                      <a:lnTo>
                        <a:pt x="350991" y="512949"/>
                      </a:lnTo>
                      <a:lnTo>
                        <a:pt x="349856" y="513672"/>
                      </a:lnTo>
                      <a:lnTo>
                        <a:pt x="327943" y="501812"/>
                      </a:lnTo>
                      <a:lnTo>
                        <a:pt x="322455" y="501133"/>
                      </a:lnTo>
                      <a:lnTo>
                        <a:pt x="320379" y="499599"/>
                      </a:lnTo>
                      <a:lnTo>
                        <a:pt x="319342" y="498116"/>
                      </a:lnTo>
                      <a:lnTo>
                        <a:pt x="320533" y="486152"/>
                      </a:lnTo>
                      <a:lnTo>
                        <a:pt x="320804" y="480721"/>
                      </a:lnTo>
                      <a:lnTo>
                        <a:pt x="320164" y="478372"/>
                      </a:lnTo>
                      <a:lnTo>
                        <a:pt x="319498" y="475164"/>
                      </a:lnTo>
                      <a:lnTo>
                        <a:pt x="314630" y="466700"/>
                      </a:lnTo>
                      <a:lnTo>
                        <a:pt x="295347" y="441041"/>
                      </a:lnTo>
                      <a:lnTo>
                        <a:pt x="294898" y="436318"/>
                      </a:lnTo>
                      <a:lnTo>
                        <a:pt x="293401" y="431921"/>
                      </a:lnTo>
                      <a:lnTo>
                        <a:pt x="293823" y="431069"/>
                      </a:lnTo>
                      <a:lnTo>
                        <a:pt x="293937" y="430643"/>
                      </a:lnTo>
                      <a:lnTo>
                        <a:pt x="294056" y="429965"/>
                      </a:lnTo>
                      <a:lnTo>
                        <a:pt x="294024" y="428969"/>
                      </a:lnTo>
                      <a:lnTo>
                        <a:pt x="290066" y="427050"/>
                      </a:lnTo>
                      <a:lnTo>
                        <a:pt x="274059" y="425584"/>
                      </a:lnTo>
                      <a:lnTo>
                        <a:pt x="264297" y="425740"/>
                      </a:lnTo>
                      <a:lnTo>
                        <a:pt x="262898" y="426173"/>
                      </a:lnTo>
                      <a:lnTo>
                        <a:pt x="262566" y="426360"/>
                      </a:lnTo>
                      <a:lnTo>
                        <a:pt x="262349" y="426510"/>
                      </a:lnTo>
                      <a:lnTo>
                        <a:pt x="260106" y="429221"/>
                      </a:lnTo>
                      <a:lnTo>
                        <a:pt x="257578" y="433912"/>
                      </a:lnTo>
                      <a:lnTo>
                        <a:pt x="256009" y="438784"/>
                      </a:lnTo>
                      <a:lnTo>
                        <a:pt x="258202" y="447635"/>
                      </a:lnTo>
                      <a:lnTo>
                        <a:pt x="258476" y="450504"/>
                      </a:lnTo>
                      <a:lnTo>
                        <a:pt x="257986" y="452437"/>
                      </a:lnTo>
                      <a:lnTo>
                        <a:pt x="255717" y="455633"/>
                      </a:lnTo>
                      <a:lnTo>
                        <a:pt x="251737" y="461955"/>
                      </a:lnTo>
                      <a:lnTo>
                        <a:pt x="251382" y="463510"/>
                      </a:lnTo>
                      <a:lnTo>
                        <a:pt x="251103" y="465724"/>
                      </a:lnTo>
                      <a:lnTo>
                        <a:pt x="251282" y="467869"/>
                      </a:lnTo>
                      <a:lnTo>
                        <a:pt x="250858" y="469919"/>
                      </a:lnTo>
                      <a:lnTo>
                        <a:pt x="249803" y="471671"/>
                      </a:lnTo>
                      <a:lnTo>
                        <a:pt x="247942" y="472976"/>
                      </a:lnTo>
                      <a:lnTo>
                        <a:pt x="246229" y="473616"/>
                      </a:lnTo>
                      <a:lnTo>
                        <a:pt x="242101" y="473622"/>
                      </a:lnTo>
                      <a:lnTo>
                        <a:pt x="237379" y="469718"/>
                      </a:lnTo>
                      <a:lnTo>
                        <a:pt x="230136" y="460794"/>
                      </a:lnTo>
                      <a:lnTo>
                        <a:pt x="221340" y="447102"/>
                      </a:lnTo>
                      <a:lnTo>
                        <a:pt x="217649" y="442497"/>
                      </a:lnTo>
                      <a:lnTo>
                        <a:pt x="214067" y="440154"/>
                      </a:lnTo>
                      <a:lnTo>
                        <a:pt x="208735" y="440106"/>
                      </a:lnTo>
                      <a:lnTo>
                        <a:pt x="204545" y="441577"/>
                      </a:lnTo>
                      <a:lnTo>
                        <a:pt x="197663" y="445881"/>
                      </a:lnTo>
                      <a:lnTo>
                        <a:pt x="194521" y="445878"/>
                      </a:lnTo>
                      <a:lnTo>
                        <a:pt x="190896" y="444044"/>
                      </a:lnTo>
                      <a:lnTo>
                        <a:pt x="186178" y="438869"/>
                      </a:lnTo>
                      <a:lnTo>
                        <a:pt x="184244" y="435225"/>
                      </a:lnTo>
                      <a:lnTo>
                        <a:pt x="182279" y="430068"/>
                      </a:lnTo>
                      <a:lnTo>
                        <a:pt x="180339" y="428416"/>
                      </a:lnTo>
                      <a:lnTo>
                        <a:pt x="178132" y="427384"/>
                      </a:lnTo>
                      <a:lnTo>
                        <a:pt x="171175" y="428890"/>
                      </a:lnTo>
                      <a:lnTo>
                        <a:pt x="160395" y="422466"/>
                      </a:lnTo>
                      <a:lnTo>
                        <a:pt x="150540" y="412615"/>
                      </a:lnTo>
                      <a:lnTo>
                        <a:pt x="147645" y="410477"/>
                      </a:lnTo>
                      <a:lnTo>
                        <a:pt x="144532" y="409056"/>
                      </a:lnTo>
                      <a:lnTo>
                        <a:pt x="141154" y="409543"/>
                      </a:lnTo>
                      <a:lnTo>
                        <a:pt x="137233" y="411111"/>
                      </a:lnTo>
                      <a:lnTo>
                        <a:pt x="136370" y="412027"/>
                      </a:lnTo>
                      <a:lnTo>
                        <a:pt x="136695" y="412654"/>
                      </a:lnTo>
                      <a:lnTo>
                        <a:pt x="137964" y="412958"/>
                      </a:lnTo>
                      <a:lnTo>
                        <a:pt x="138692" y="413321"/>
                      </a:lnTo>
                      <a:lnTo>
                        <a:pt x="139042" y="413970"/>
                      </a:lnTo>
                      <a:lnTo>
                        <a:pt x="138819" y="415092"/>
                      </a:lnTo>
                      <a:lnTo>
                        <a:pt x="137534" y="416215"/>
                      </a:lnTo>
                      <a:lnTo>
                        <a:pt x="134480" y="416453"/>
                      </a:lnTo>
                      <a:lnTo>
                        <a:pt x="129689" y="415899"/>
                      </a:lnTo>
                      <a:lnTo>
                        <a:pt x="119892" y="411643"/>
                      </a:lnTo>
                      <a:lnTo>
                        <a:pt x="109937" y="403667"/>
                      </a:lnTo>
                      <a:lnTo>
                        <a:pt x="109424" y="402811"/>
                      </a:lnTo>
                      <a:lnTo>
                        <a:pt x="93475" y="358795"/>
                      </a:lnTo>
                      <a:lnTo>
                        <a:pt x="89255" y="353229"/>
                      </a:lnTo>
                      <a:lnTo>
                        <a:pt x="84490" y="348397"/>
                      </a:lnTo>
                      <a:lnTo>
                        <a:pt x="82880" y="344770"/>
                      </a:lnTo>
                      <a:lnTo>
                        <a:pt x="82139" y="339679"/>
                      </a:lnTo>
                      <a:lnTo>
                        <a:pt x="82830" y="331399"/>
                      </a:lnTo>
                      <a:lnTo>
                        <a:pt x="84653" y="325974"/>
                      </a:lnTo>
                      <a:lnTo>
                        <a:pt x="87486" y="321668"/>
                      </a:lnTo>
                      <a:lnTo>
                        <a:pt x="89994" y="319281"/>
                      </a:lnTo>
                      <a:lnTo>
                        <a:pt x="90572" y="315540"/>
                      </a:lnTo>
                      <a:lnTo>
                        <a:pt x="89746" y="309768"/>
                      </a:lnTo>
                      <a:lnTo>
                        <a:pt x="83521" y="288215"/>
                      </a:lnTo>
                      <a:lnTo>
                        <a:pt x="74219" y="273105"/>
                      </a:lnTo>
                      <a:lnTo>
                        <a:pt x="69865" y="271700"/>
                      </a:lnTo>
                      <a:lnTo>
                        <a:pt x="67978" y="269804"/>
                      </a:lnTo>
                      <a:lnTo>
                        <a:pt x="66210" y="266625"/>
                      </a:lnTo>
                      <a:lnTo>
                        <a:pt x="64607" y="259961"/>
                      </a:lnTo>
                      <a:lnTo>
                        <a:pt x="62372" y="253231"/>
                      </a:lnTo>
                      <a:lnTo>
                        <a:pt x="55970" y="247205"/>
                      </a:lnTo>
                      <a:lnTo>
                        <a:pt x="54786" y="245612"/>
                      </a:lnTo>
                      <a:lnTo>
                        <a:pt x="55361" y="244257"/>
                      </a:lnTo>
                      <a:lnTo>
                        <a:pt x="57029" y="243027"/>
                      </a:lnTo>
                      <a:lnTo>
                        <a:pt x="62414" y="241802"/>
                      </a:lnTo>
                      <a:lnTo>
                        <a:pt x="65657" y="239794"/>
                      </a:lnTo>
                      <a:lnTo>
                        <a:pt x="68706" y="236795"/>
                      </a:lnTo>
                      <a:lnTo>
                        <a:pt x="72947" y="230017"/>
                      </a:lnTo>
                      <a:lnTo>
                        <a:pt x="74342" y="225710"/>
                      </a:lnTo>
                      <a:lnTo>
                        <a:pt x="74007" y="221195"/>
                      </a:lnTo>
                      <a:lnTo>
                        <a:pt x="71010" y="213954"/>
                      </a:lnTo>
                      <a:lnTo>
                        <a:pt x="64351" y="208893"/>
                      </a:lnTo>
                      <a:lnTo>
                        <a:pt x="62780" y="206999"/>
                      </a:lnTo>
                      <a:lnTo>
                        <a:pt x="61973" y="204055"/>
                      </a:lnTo>
                      <a:lnTo>
                        <a:pt x="61167" y="196504"/>
                      </a:lnTo>
                      <a:lnTo>
                        <a:pt x="61530" y="192491"/>
                      </a:lnTo>
                      <a:lnTo>
                        <a:pt x="61959" y="189973"/>
                      </a:lnTo>
                      <a:lnTo>
                        <a:pt x="68162" y="182295"/>
                      </a:lnTo>
                      <a:lnTo>
                        <a:pt x="62229" y="179139"/>
                      </a:lnTo>
                      <a:lnTo>
                        <a:pt x="60801" y="177251"/>
                      </a:lnTo>
                      <a:lnTo>
                        <a:pt x="59193" y="172363"/>
                      </a:lnTo>
                      <a:lnTo>
                        <a:pt x="58011" y="166486"/>
                      </a:lnTo>
                      <a:lnTo>
                        <a:pt x="57417" y="164543"/>
                      </a:lnTo>
                      <a:lnTo>
                        <a:pt x="56454" y="162502"/>
                      </a:lnTo>
                      <a:lnTo>
                        <a:pt x="55131" y="160493"/>
                      </a:lnTo>
                      <a:lnTo>
                        <a:pt x="53040" y="158140"/>
                      </a:lnTo>
                      <a:lnTo>
                        <a:pt x="50840" y="156992"/>
                      </a:lnTo>
                      <a:lnTo>
                        <a:pt x="46214" y="156546"/>
                      </a:lnTo>
                      <a:lnTo>
                        <a:pt x="43982" y="157120"/>
                      </a:lnTo>
                      <a:lnTo>
                        <a:pt x="42638" y="158310"/>
                      </a:lnTo>
                      <a:lnTo>
                        <a:pt x="42196" y="160537"/>
                      </a:lnTo>
                      <a:lnTo>
                        <a:pt x="41137" y="161828"/>
                      </a:lnTo>
                      <a:lnTo>
                        <a:pt x="39350" y="162130"/>
                      </a:lnTo>
                      <a:lnTo>
                        <a:pt x="35135" y="160201"/>
                      </a:lnTo>
                      <a:lnTo>
                        <a:pt x="32798" y="158544"/>
                      </a:lnTo>
                      <a:lnTo>
                        <a:pt x="30366" y="155387"/>
                      </a:lnTo>
                      <a:lnTo>
                        <a:pt x="28857" y="154214"/>
                      </a:lnTo>
                      <a:lnTo>
                        <a:pt x="23505" y="153221"/>
                      </a:lnTo>
                      <a:lnTo>
                        <a:pt x="20303" y="147587"/>
                      </a:lnTo>
                      <a:lnTo>
                        <a:pt x="4483" y="136547"/>
                      </a:lnTo>
                      <a:lnTo>
                        <a:pt x="2122" y="133204"/>
                      </a:lnTo>
                      <a:lnTo>
                        <a:pt x="309" y="128602"/>
                      </a:lnTo>
                      <a:lnTo>
                        <a:pt x="1512" y="116068"/>
                      </a:lnTo>
                      <a:lnTo>
                        <a:pt x="0" y="108039"/>
                      </a:lnTo>
                      <a:lnTo>
                        <a:pt x="11865" y="97022"/>
                      </a:lnTo>
                      <a:lnTo>
                        <a:pt x="13065" y="95213"/>
                      </a:lnTo>
                      <a:lnTo>
                        <a:pt x="14517" y="92704"/>
                      </a:lnTo>
                      <a:lnTo>
                        <a:pt x="15078" y="87653"/>
                      </a:lnTo>
                      <a:lnTo>
                        <a:pt x="16231" y="82159"/>
                      </a:lnTo>
                      <a:lnTo>
                        <a:pt x="17518" y="72719"/>
                      </a:lnTo>
                      <a:lnTo>
                        <a:pt x="18873" y="69632"/>
                      </a:lnTo>
                      <a:lnTo>
                        <a:pt x="21726" y="65385"/>
                      </a:lnTo>
                      <a:lnTo>
                        <a:pt x="31951" y="53084"/>
                      </a:lnTo>
                      <a:lnTo>
                        <a:pt x="36029" y="49111"/>
                      </a:lnTo>
                      <a:lnTo>
                        <a:pt x="40058" y="46308"/>
                      </a:lnTo>
                      <a:lnTo>
                        <a:pt x="56002" y="41357"/>
                      </a:lnTo>
                      <a:lnTo>
                        <a:pt x="64134" y="37124"/>
                      </a:lnTo>
                      <a:lnTo>
                        <a:pt x="71831" y="28308"/>
                      </a:lnTo>
                      <a:lnTo>
                        <a:pt x="82002" y="9700"/>
                      </a:lnTo>
                      <a:lnTo>
                        <a:pt x="110334" y="3106"/>
                      </a:lnTo>
                      <a:lnTo>
                        <a:pt x="125029" y="4781"/>
                      </a:lnTo>
                      <a:lnTo>
                        <a:pt x="143232" y="14643"/>
                      </a:lnTo>
                      <a:lnTo>
                        <a:pt x="155025" y="12163"/>
                      </a:lnTo>
                      <a:lnTo>
                        <a:pt x="206040" y="0"/>
                      </a:lnTo>
                      <a:close/>
                    </a:path>
                  </a:pathLst>
                </a:custGeom>
                <a:solidFill>
                  <a:srgbClr val="72AEB8"/>
                </a:solidFill>
                <a:ln w="3175" cap="rnd">
                  <a:solidFill>
                    <a:srgbClr val="72AEB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Freeform 110">
                  <a:extLst>
                    <a:ext uri="{FF2B5EF4-FFF2-40B4-BE49-F238E27FC236}">
                      <a16:creationId xmlns:a16="http://schemas.microsoft.com/office/drawing/2014/main" id="{5165D40E-C262-44BD-B3E7-6F9C0E62FFA1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0"/>
                  </p:custDataLst>
                </p:nvPr>
              </p:nvSpPr>
              <p:spPr>
                <a:xfrm>
                  <a:off x="2516740" y="4040542"/>
                  <a:ext cx="127381" cy="23079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7450" h="249035">
                      <a:moveTo>
                        <a:pt x="114860" y="4017"/>
                      </a:moveTo>
                      <a:lnTo>
                        <a:pt x="125001" y="11842"/>
                      </a:lnTo>
                      <a:lnTo>
                        <a:pt x="127765" y="17179"/>
                      </a:lnTo>
                      <a:lnTo>
                        <a:pt x="128991" y="24345"/>
                      </a:lnTo>
                      <a:lnTo>
                        <a:pt x="128621" y="33701"/>
                      </a:lnTo>
                      <a:lnTo>
                        <a:pt x="127534" y="42196"/>
                      </a:lnTo>
                      <a:lnTo>
                        <a:pt x="125721" y="51752"/>
                      </a:lnTo>
                      <a:lnTo>
                        <a:pt x="123231" y="59444"/>
                      </a:lnTo>
                      <a:lnTo>
                        <a:pt x="119934" y="62370"/>
                      </a:lnTo>
                      <a:lnTo>
                        <a:pt x="114715" y="59391"/>
                      </a:lnTo>
                      <a:lnTo>
                        <a:pt x="104726" y="49017"/>
                      </a:lnTo>
                      <a:lnTo>
                        <a:pt x="99182" y="48031"/>
                      </a:lnTo>
                      <a:lnTo>
                        <a:pt x="100336" y="54016"/>
                      </a:lnTo>
                      <a:lnTo>
                        <a:pt x="103113" y="60649"/>
                      </a:lnTo>
                      <a:lnTo>
                        <a:pt x="106563" y="66100"/>
                      </a:lnTo>
                      <a:lnTo>
                        <a:pt x="109693" y="68510"/>
                      </a:lnTo>
                      <a:lnTo>
                        <a:pt x="112971" y="72253"/>
                      </a:lnTo>
                      <a:lnTo>
                        <a:pt x="118046" y="86696"/>
                      </a:lnTo>
                      <a:lnTo>
                        <a:pt x="133135" y="93469"/>
                      </a:lnTo>
                      <a:lnTo>
                        <a:pt x="135941" y="97700"/>
                      </a:lnTo>
                      <a:lnTo>
                        <a:pt x="135744" y="103778"/>
                      </a:lnTo>
                      <a:lnTo>
                        <a:pt x="133612" y="109872"/>
                      </a:lnTo>
                      <a:lnTo>
                        <a:pt x="128033" y="119360"/>
                      </a:lnTo>
                      <a:lnTo>
                        <a:pt x="127019" y="124733"/>
                      </a:lnTo>
                      <a:lnTo>
                        <a:pt x="129515" y="129608"/>
                      </a:lnTo>
                      <a:lnTo>
                        <a:pt x="135387" y="135850"/>
                      </a:lnTo>
                      <a:lnTo>
                        <a:pt x="137449" y="141946"/>
                      </a:lnTo>
                      <a:lnTo>
                        <a:pt x="135424" y="145024"/>
                      </a:lnTo>
                      <a:lnTo>
                        <a:pt x="131964" y="147852"/>
                      </a:lnTo>
                      <a:lnTo>
                        <a:pt x="129675" y="153122"/>
                      </a:lnTo>
                      <a:lnTo>
                        <a:pt x="127481" y="159972"/>
                      </a:lnTo>
                      <a:lnTo>
                        <a:pt x="124295" y="159192"/>
                      </a:lnTo>
                      <a:lnTo>
                        <a:pt x="118775" y="152944"/>
                      </a:lnTo>
                      <a:lnTo>
                        <a:pt x="111282" y="149053"/>
                      </a:lnTo>
                      <a:lnTo>
                        <a:pt x="109300" y="149669"/>
                      </a:lnTo>
                      <a:lnTo>
                        <a:pt x="108755" y="151771"/>
                      </a:lnTo>
                      <a:lnTo>
                        <a:pt x="108314" y="158641"/>
                      </a:lnTo>
                      <a:lnTo>
                        <a:pt x="107982" y="161150"/>
                      </a:lnTo>
                      <a:lnTo>
                        <a:pt x="108201" y="165310"/>
                      </a:lnTo>
                      <a:lnTo>
                        <a:pt x="107461" y="167459"/>
                      </a:lnTo>
                      <a:lnTo>
                        <a:pt x="102478" y="168529"/>
                      </a:lnTo>
                      <a:lnTo>
                        <a:pt x="101488" y="170196"/>
                      </a:lnTo>
                      <a:lnTo>
                        <a:pt x="100864" y="172713"/>
                      </a:lnTo>
                      <a:lnTo>
                        <a:pt x="97992" y="180245"/>
                      </a:lnTo>
                      <a:lnTo>
                        <a:pt x="96488" y="187102"/>
                      </a:lnTo>
                      <a:lnTo>
                        <a:pt x="95466" y="193819"/>
                      </a:lnTo>
                      <a:lnTo>
                        <a:pt x="95346" y="197882"/>
                      </a:lnTo>
                      <a:lnTo>
                        <a:pt x="91389" y="195120"/>
                      </a:lnTo>
                      <a:lnTo>
                        <a:pt x="90103" y="201819"/>
                      </a:lnTo>
                      <a:lnTo>
                        <a:pt x="90484" y="212369"/>
                      </a:lnTo>
                      <a:lnTo>
                        <a:pt x="91434" y="221173"/>
                      </a:lnTo>
                      <a:lnTo>
                        <a:pt x="89331" y="217300"/>
                      </a:lnTo>
                      <a:lnTo>
                        <a:pt x="88830" y="212314"/>
                      </a:lnTo>
                      <a:lnTo>
                        <a:pt x="88623" y="206938"/>
                      </a:lnTo>
                      <a:lnTo>
                        <a:pt x="87468" y="201704"/>
                      </a:lnTo>
                      <a:lnTo>
                        <a:pt x="85967" y="208363"/>
                      </a:lnTo>
                      <a:lnTo>
                        <a:pt x="84359" y="224481"/>
                      </a:lnTo>
                      <a:lnTo>
                        <a:pt x="82739" y="227503"/>
                      </a:lnTo>
                      <a:lnTo>
                        <a:pt x="82778" y="223529"/>
                      </a:lnTo>
                      <a:lnTo>
                        <a:pt x="80234" y="200842"/>
                      </a:lnTo>
                      <a:lnTo>
                        <a:pt x="79042" y="200699"/>
                      </a:lnTo>
                      <a:lnTo>
                        <a:pt x="78202" y="205271"/>
                      </a:lnTo>
                      <a:lnTo>
                        <a:pt x="75536" y="212881"/>
                      </a:lnTo>
                      <a:lnTo>
                        <a:pt x="74813" y="216815"/>
                      </a:lnTo>
                      <a:lnTo>
                        <a:pt x="75441" y="219552"/>
                      </a:lnTo>
                      <a:lnTo>
                        <a:pt x="76747" y="222724"/>
                      </a:lnTo>
                      <a:lnTo>
                        <a:pt x="77459" y="226250"/>
                      </a:lnTo>
                      <a:lnTo>
                        <a:pt x="76226" y="230067"/>
                      </a:lnTo>
                      <a:lnTo>
                        <a:pt x="72053" y="233927"/>
                      </a:lnTo>
                      <a:lnTo>
                        <a:pt x="65934" y="237057"/>
                      </a:lnTo>
                      <a:lnTo>
                        <a:pt x="59669" y="238171"/>
                      </a:lnTo>
                      <a:lnTo>
                        <a:pt x="55226" y="235848"/>
                      </a:lnTo>
                      <a:lnTo>
                        <a:pt x="57583" y="232835"/>
                      </a:lnTo>
                      <a:lnTo>
                        <a:pt x="64513" y="229155"/>
                      </a:lnTo>
                      <a:lnTo>
                        <a:pt x="66215" y="226599"/>
                      </a:lnTo>
                      <a:lnTo>
                        <a:pt x="65787" y="220686"/>
                      </a:lnTo>
                      <a:lnTo>
                        <a:pt x="63169" y="220624"/>
                      </a:lnTo>
                      <a:lnTo>
                        <a:pt x="57191" y="224433"/>
                      </a:lnTo>
                      <a:lnTo>
                        <a:pt x="54559" y="225218"/>
                      </a:lnTo>
                      <a:lnTo>
                        <a:pt x="49166" y="229460"/>
                      </a:lnTo>
                      <a:lnTo>
                        <a:pt x="46014" y="230180"/>
                      </a:lnTo>
                      <a:lnTo>
                        <a:pt x="45200" y="228438"/>
                      </a:lnTo>
                      <a:lnTo>
                        <a:pt x="41955" y="225179"/>
                      </a:lnTo>
                      <a:lnTo>
                        <a:pt x="39114" y="223925"/>
                      </a:lnTo>
                      <a:lnTo>
                        <a:pt x="40397" y="238075"/>
                      </a:lnTo>
                      <a:lnTo>
                        <a:pt x="36277" y="244652"/>
                      </a:lnTo>
                      <a:lnTo>
                        <a:pt x="30253" y="248172"/>
                      </a:lnTo>
                      <a:lnTo>
                        <a:pt x="25424" y="249034"/>
                      </a:lnTo>
                      <a:lnTo>
                        <a:pt x="5694" y="246941"/>
                      </a:lnTo>
                      <a:lnTo>
                        <a:pt x="0" y="243504"/>
                      </a:lnTo>
                      <a:lnTo>
                        <a:pt x="5080" y="241211"/>
                      </a:lnTo>
                      <a:lnTo>
                        <a:pt x="6936" y="235366"/>
                      </a:lnTo>
                      <a:lnTo>
                        <a:pt x="6281" y="228313"/>
                      </a:lnTo>
                      <a:lnTo>
                        <a:pt x="4970" y="224994"/>
                      </a:lnTo>
                      <a:lnTo>
                        <a:pt x="5004" y="224940"/>
                      </a:lnTo>
                      <a:lnTo>
                        <a:pt x="9208" y="218937"/>
                      </a:lnTo>
                      <a:lnTo>
                        <a:pt x="10606" y="205725"/>
                      </a:lnTo>
                      <a:lnTo>
                        <a:pt x="12026" y="201386"/>
                      </a:lnTo>
                      <a:lnTo>
                        <a:pt x="13692" y="194812"/>
                      </a:lnTo>
                      <a:lnTo>
                        <a:pt x="13864" y="190010"/>
                      </a:lnTo>
                      <a:lnTo>
                        <a:pt x="13103" y="185138"/>
                      </a:lnTo>
                      <a:lnTo>
                        <a:pt x="11778" y="179599"/>
                      </a:lnTo>
                      <a:lnTo>
                        <a:pt x="11778" y="175757"/>
                      </a:lnTo>
                      <a:lnTo>
                        <a:pt x="12281" y="173472"/>
                      </a:lnTo>
                      <a:lnTo>
                        <a:pt x="14066" y="170961"/>
                      </a:lnTo>
                      <a:lnTo>
                        <a:pt x="16616" y="168690"/>
                      </a:lnTo>
                      <a:lnTo>
                        <a:pt x="19641" y="166587"/>
                      </a:lnTo>
                      <a:lnTo>
                        <a:pt x="22131" y="164109"/>
                      </a:lnTo>
                      <a:lnTo>
                        <a:pt x="22800" y="162483"/>
                      </a:lnTo>
                      <a:lnTo>
                        <a:pt x="22063" y="157191"/>
                      </a:lnTo>
                      <a:lnTo>
                        <a:pt x="22503" y="149526"/>
                      </a:lnTo>
                      <a:lnTo>
                        <a:pt x="21532" y="141882"/>
                      </a:lnTo>
                      <a:lnTo>
                        <a:pt x="21708" y="140447"/>
                      </a:lnTo>
                      <a:lnTo>
                        <a:pt x="23305" y="135752"/>
                      </a:lnTo>
                      <a:lnTo>
                        <a:pt x="11422" y="114997"/>
                      </a:lnTo>
                      <a:lnTo>
                        <a:pt x="10353" y="110650"/>
                      </a:lnTo>
                      <a:lnTo>
                        <a:pt x="9770" y="103575"/>
                      </a:lnTo>
                      <a:lnTo>
                        <a:pt x="14667" y="82110"/>
                      </a:lnTo>
                      <a:lnTo>
                        <a:pt x="15026" y="66513"/>
                      </a:lnTo>
                      <a:lnTo>
                        <a:pt x="15870" y="64135"/>
                      </a:lnTo>
                      <a:lnTo>
                        <a:pt x="17586" y="61653"/>
                      </a:lnTo>
                      <a:lnTo>
                        <a:pt x="58339" y="66544"/>
                      </a:lnTo>
                      <a:lnTo>
                        <a:pt x="63830" y="66031"/>
                      </a:lnTo>
                      <a:lnTo>
                        <a:pt x="66863" y="65053"/>
                      </a:lnTo>
                      <a:lnTo>
                        <a:pt x="66911" y="64646"/>
                      </a:lnTo>
                      <a:lnTo>
                        <a:pt x="66885" y="64409"/>
                      </a:lnTo>
                      <a:lnTo>
                        <a:pt x="66862" y="61851"/>
                      </a:lnTo>
                      <a:lnTo>
                        <a:pt x="61923" y="47212"/>
                      </a:lnTo>
                      <a:lnTo>
                        <a:pt x="56344" y="37564"/>
                      </a:lnTo>
                      <a:lnTo>
                        <a:pt x="49447" y="28271"/>
                      </a:lnTo>
                      <a:lnTo>
                        <a:pt x="48120" y="25244"/>
                      </a:lnTo>
                      <a:lnTo>
                        <a:pt x="47649" y="22828"/>
                      </a:lnTo>
                      <a:lnTo>
                        <a:pt x="48478" y="18037"/>
                      </a:lnTo>
                      <a:lnTo>
                        <a:pt x="52560" y="13289"/>
                      </a:lnTo>
                      <a:lnTo>
                        <a:pt x="68768" y="949"/>
                      </a:lnTo>
                      <a:lnTo>
                        <a:pt x="72222" y="1930"/>
                      </a:lnTo>
                      <a:lnTo>
                        <a:pt x="74620" y="8413"/>
                      </a:lnTo>
                      <a:lnTo>
                        <a:pt x="85562" y="877"/>
                      </a:lnTo>
                      <a:lnTo>
                        <a:pt x="92289" y="0"/>
                      </a:lnTo>
                      <a:lnTo>
                        <a:pt x="111582" y="4110"/>
                      </a:lnTo>
                      <a:lnTo>
                        <a:pt x="112559" y="2338"/>
                      </a:lnTo>
                      <a:lnTo>
                        <a:pt x="112801" y="2414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3175" cap="rnd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3" name="Freeform 111">
                  <a:extLst>
                    <a:ext uri="{FF2B5EF4-FFF2-40B4-BE49-F238E27FC236}">
                      <a16:creationId xmlns:a16="http://schemas.microsoft.com/office/drawing/2014/main" id="{D4CFDB9E-DD73-4AD2-B180-06A9B065A31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1"/>
                  </p:custDataLst>
                </p:nvPr>
              </p:nvSpPr>
              <p:spPr>
                <a:xfrm>
                  <a:off x="2661246" y="4031437"/>
                  <a:ext cx="222908" cy="2919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527" h="314978">
                      <a:moveTo>
                        <a:pt x="62860" y="234386"/>
                      </a:moveTo>
                      <a:lnTo>
                        <a:pt x="65179" y="235440"/>
                      </a:lnTo>
                      <a:lnTo>
                        <a:pt x="65932" y="238264"/>
                      </a:lnTo>
                      <a:lnTo>
                        <a:pt x="65622" y="240534"/>
                      </a:lnTo>
                      <a:lnTo>
                        <a:pt x="66961" y="241101"/>
                      </a:lnTo>
                      <a:lnTo>
                        <a:pt x="71066" y="240944"/>
                      </a:lnTo>
                      <a:lnTo>
                        <a:pt x="71005" y="239991"/>
                      </a:lnTo>
                      <a:lnTo>
                        <a:pt x="71195" y="239418"/>
                      </a:lnTo>
                      <a:lnTo>
                        <a:pt x="72186" y="239127"/>
                      </a:lnTo>
                      <a:lnTo>
                        <a:pt x="73368" y="240355"/>
                      </a:lnTo>
                      <a:lnTo>
                        <a:pt x="72917" y="243587"/>
                      </a:lnTo>
                      <a:lnTo>
                        <a:pt x="71376" y="246660"/>
                      </a:lnTo>
                      <a:lnTo>
                        <a:pt x="69224" y="248878"/>
                      </a:lnTo>
                      <a:lnTo>
                        <a:pt x="66699" y="250475"/>
                      </a:lnTo>
                      <a:lnTo>
                        <a:pt x="66361" y="251767"/>
                      </a:lnTo>
                      <a:lnTo>
                        <a:pt x="66909" y="254060"/>
                      </a:lnTo>
                      <a:lnTo>
                        <a:pt x="65086" y="257017"/>
                      </a:lnTo>
                      <a:lnTo>
                        <a:pt x="62061" y="258772"/>
                      </a:lnTo>
                      <a:lnTo>
                        <a:pt x="59832" y="259043"/>
                      </a:lnTo>
                      <a:lnTo>
                        <a:pt x="59078" y="258171"/>
                      </a:lnTo>
                      <a:lnTo>
                        <a:pt x="58866" y="256847"/>
                      </a:lnTo>
                      <a:lnTo>
                        <a:pt x="58542" y="255483"/>
                      </a:lnTo>
                      <a:lnTo>
                        <a:pt x="57116" y="255189"/>
                      </a:lnTo>
                      <a:lnTo>
                        <a:pt x="55603" y="253641"/>
                      </a:lnTo>
                      <a:lnTo>
                        <a:pt x="56095" y="249085"/>
                      </a:lnTo>
                      <a:lnTo>
                        <a:pt x="56983" y="243807"/>
                      </a:lnTo>
                      <a:lnTo>
                        <a:pt x="57457" y="238883"/>
                      </a:lnTo>
                      <a:lnTo>
                        <a:pt x="59596" y="235690"/>
                      </a:lnTo>
                      <a:close/>
                      <a:moveTo>
                        <a:pt x="36305" y="222702"/>
                      </a:moveTo>
                      <a:lnTo>
                        <a:pt x="36656" y="223901"/>
                      </a:lnTo>
                      <a:lnTo>
                        <a:pt x="35980" y="225324"/>
                      </a:lnTo>
                      <a:lnTo>
                        <a:pt x="34838" y="226217"/>
                      </a:lnTo>
                      <a:lnTo>
                        <a:pt x="34100" y="227409"/>
                      </a:lnTo>
                      <a:lnTo>
                        <a:pt x="34252" y="228572"/>
                      </a:lnTo>
                      <a:lnTo>
                        <a:pt x="37113" y="226297"/>
                      </a:lnTo>
                      <a:lnTo>
                        <a:pt x="41989" y="223663"/>
                      </a:lnTo>
                      <a:lnTo>
                        <a:pt x="44289" y="223630"/>
                      </a:lnTo>
                      <a:lnTo>
                        <a:pt x="44700" y="225372"/>
                      </a:lnTo>
                      <a:lnTo>
                        <a:pt x="44406" y="229101"/>
                      </a:lnTo>
                      <a:lnTo>
                        <a:pt x="42741" y="232455"/>
                      </a:lnTo>
                      <a:lnTo>
                        <a:pt x="37954" y="238324"/>
                      </a:lnTo>
                      <a:lnTo>
                        <a:pt x="36797" y="238523"/>
                      </a:lnTo>
                      <a:lnTo>
                        <a:pt x="36485" y="236948"/>
                      </a:lnTo>
                      <a:lnTo>
                        <a:pt x="35660" y="236362"/>
                      </a:lnTo>
                      <a:lnTo>
                        <a:pt x="33062" y="237096"/>
                      </a:lnTo>
                      <a:lnTo>
                        <a:pt x="31351" y="236357"/>
                      </a:lnTo>
                      <a:lnTo>
                        <a:pt x="30826" y="234744"/>
                      </a:lnTo>
                      <a:lnTo>
                        <a:pt x="30449" y="232553"/>
                      </a:lnTo>
                      <a:lnTo>
                        <a:pt x="29291" y="227900"/>
                      </a:lnTo>
                      <a:lnTo>
                        <a:pt x="30079" y="226247"/>
                      </a:lnTo>
                      <a:lnTo>
                        <a:pt x="32067" y="224528"/>
                      </a:lnTo>
                      <a:lnTo>
                        <a:pt x="34535" y="222932"/>
                      </a:lnTo>
                      <a:close/>
                      <a:moveTo>
                        <a:pt x="130506" y="0"/>
                      </a:moveTo>
                      <a:lnTo>
                        <a:pt x="134473" y="203"/>
                      </a:lnTo>
                      <a:lnTo>
                        <a:pt x="145104" y="8841"/>
                      </a:lnTo>
                      <a:lnTo>
                        <a:pt x="147430" y="19560"/>
                      </a:lnTo>
                      <a:lnTo>
                        <a:pt x="151074" y="27754"/>
                      </a:lnTo>
                      <a:lnTo>
                        <a:pt x="154668" y="31097"/>
                      </a:lnTo>
                      <a:lnTo>
                        <a:pt x="157786" y="33116"/>
                      </a:lnTo>
                      <a:lnTo>
                        <a:pt x="160498" y="34304"/>
                      </a:lnTo>
                      <a:lnTo>
                        <a:pt x="162423" y="35843"/>
                      </a:lnTo>
                      <a:lnTo>
                        <a:pt x="164196" y="38011"/>
                      </a:lnTo>
                      <a:lnTo>
                        <a:pt x="166198" y="42034"/>
                      </a:lnTo>
                      <a:lnTo>
                        <a:pt x="167124" y="44530"/>
                      </a:lnTo>
                      <a:lnTo>
                        <a:pt x="167258" y="47630"/>
                      </a:lnTo>
                      <a:lnTo>
                        <a:pt x="166907" y="49839"/>
                      </a:lnTo>
                      <a:lnTo>
                        <a:pt x="163722" y="55676"/>
                      </a:lnTo>
                      <a:lnTo>
                        <a:pt x="164547" y="58109"/>
                      </a:lnTo>
                      <a:lnTo>
                        <a:pt x="165469" y="58999"/>
                      </a:lnTo>
                      <a:lnTo>
                        <a:pt x="169441" y="59717"/>
                      </a:lnTo>
                      <a:lnTo>
                        <a:pt x="187077" y="42679"/>
                      </a:lnTo>
                      <a:lnTo>
                        <a:pt x="192393" y="34657"/>
                      </a:lnTo>
                      <a:lnTo>
                        <a:pt x="198407" y="33735"/>
                      </a:lnTo>
                      <a:lnTo>
                        <a:pt x="200444" y="32407"/>
                      </a:lnTo>
                      <a:lnTo>
                        <a:pt x="202589" y="29547"/>
                      </a:lnTo>
                      <a:lnTo>
                        <a:pt x="204690" y="25999"/>
                      </a:lnTo>
                      <a:lnTo>
                        <a:pt x="205736" y="22962"/>
                      </a:lnTo>
                      <a:lnTo>
                        <a:pt x="206288" y="20001"/>
                      </a:lnTo>
                      <a:lnTo>
                        <a:pt x="206424" y="17395"/>
                      </a:lnTo>
                      <a:lnTo>
                        <a:pt x="207514" y="14764"/>
                      </a:lnTo>
                      <a:lnTo>
                        <a:pt x="209738" y="12170"/>
                      </a:lnTo>
                      <a:lnTo>
                        <a:pt x="214241" y="8207"/>
                      </a:lnTo>
                      <a:lnTo>
                        <a:pt x="223663" y="4056"/>
                      </a:lnTo>
                      <a:lnTo>
                        <a:pt x="237983" y="3983"/>
                      </a:lnTo>
                      <a:lnTo>
                        <a:pt x="238907" y="5446"/>
                      </a:lnTo>
                      <a:lnTo>
                        <a:pt x="240527" y="11247"/>
                      </a:lnTo>
                      <a:lnTo>
                        <a:pt x="240302" y="16480"/>
                      </a:lnTo>
                      <a:lnTo>
                        <a:pt x="238013" y="29448"/>
                      </a:lnTo>
                      <a:lnTo>
                        <a:pt x="237446" y="35655"/>
                      </a:lnTo>
                      <a:lnTo>
                        <a:pt x="236217" y="38391"/>
                      </a:lnTo>
                      <a:lnTo>
                        <a:pt x="228384" y="48901"/>
                      </a:lnTo>
                      <a:lnTo>
                        <a:pt x="223761" y="53201"/>
                      </a:lnTo>
                      <a:lnTo>
                        <a:pt x="199113" y="63832"/>
                      </a:lnTo>
                      <a:lnTo>
                        <a:pt x="195342" y="68742"/>
                      </a:lnTo>
                      <a:lnTo>
                        <a:pt x="193791" y="77813"/>
                      </a:lnTo>
                      <a:lnTo>
                        <a:pt x="194208" y="85316"/>
                      </a:lnTo>
                      <a:lnTo>
                        <a:pt x="206456" y="155367"/>
                      </a:lnTo>
                      <a:lnTo>
                        <a:pt x="208332" y="178805"/>
                      </a:lnTo>
                      <a:lnTo>
                        <a:pt x="208465" y="186690"/>
                      </a:lnTo>
                      <a:lnTo>
                        <a:pt x="207789" y="193996"/>
                      </a:lnTo>
                      <a:lnTo>
                        <a:pt x="207658" y="194313"/>
                      </a:lnTo>
                      <a:lnTo>
                        <a:pt x="205683" y="199087"/>
                      </a:lnTo>
                      <a:lnTo>
                        <a:pt x="202030" y="204389"/>
                      </a:lnTo>
                      <a:lnTo>
                        <a:pt x="199928" y="209605"/>
                      </a:lnTo>
                      <a:lnTo>
                        <a:pt x="193145" y="230640"/>
                      </a:lnTo>
                      <a:lnTo>
                        <a:pt x="191040" y="247063"/>
                      </a:lnTo>
                      <a:lnTo>
                        <a:pt x="188227" y="256028"/>
                      </a:lnTo>
                      <a:lnTo>
                        <a:pt x="182324" y="270706"/>
                      </a:lnTo>
                      <a:lnTo>
                        <a:pt x="180057" y="278289"/>
                      </a:lnTo>
                      <a:lnTo>
                        <a:pt x="178073" y="286993"/>
                      </a:lnTo>
                      <a:lnTo>
                        <a:pt x="171124" y="304865"/>
                      </a:lnTo>
                      <a:lnTo>
                        <a:pt x="160849" y="313209"/>
                      </a:lnTo>
                      <a:lnTo>
                        <a:pt x="149093" y="314978"/>
                      </a:lnTo>
                      <a:lnTo>
                        <a:pt x="137686" y="313093"/>
                      </a:lnTo>
                      <a:lnTo>
                        <a:pt x="132549" y="309404"/>
                      </a:lnTo>
                      <a:lnTo>
                        <a:pt x="134935" y="287272"/>
                      </a:lnTo>
                      <a:lnTo>
                        <a:pt x="133289" y="276467"/>
                      </a:lnTo>
                      <a:lnTo>
                        <a:pt x="133198" y="276257"/>
                      </a:lnTo>
                      <a:lnTo>
                        <a:pt x="133196" y="276253"/>
                      </a:lnTo>
                      <a:lnTo>
                        <a:pt x="133196" y="276251"/>
                      </a:lnTo>
                      <a:lnTo>
                        <a:pt x="133459" y="274017"/>
                      </a:lnTo>
                      <a:lnTo>
                        <a:pt x="128763" y="259544"/>
                      </a:lnTo>
                      <a:lnTo>
                        <a:pt x="128366" y="256339"/>
                      </a:lnTo>
                      <a:lnTo>
                        <a:pt x="128101" y="248556"/>
                      </a:lnTo>
                      <a:lnTo>
                        <a:pt x="127673" y="244782"/>
                      </a:lnTo>
                      <a:lnTo>
                        <a:pt x="125011" y="237603"/>
                      </a:lnTo>
                      <a:lnTo>
                        <a:pt x="120803" y="233445"/>
                      </a:lnTo>
                      <a:lnTo>
                        <a:pt x="115496" y="231588"/>
                      </a:lnTo>
                      <a:lnTo>
                        <a:pt x="98145" y="231451"/>
                      </a:lnTo>
                      <a:lnTo>
                        <a:pt x="92301" y="228892"/>
                      </a:lnTo>
                      <a:lnTo>
                        <a:pt x="90802" y="222234"/>
                      </a:lnTo>
                      <a:lnTo>
                        <a:pt x="91810" y="220190"/>
                      </a:lnTo>
                      <a:lnTo>
                        <a:pt x="93372" y="219675"/>
                      </a:lnTo>
                      <a:lnTo>
                        <a:pt x="96496" y="220228"/>
                      </a:lnTo>
                      <a:lnTo>
                        <a:pt x="97637" y="219145"/>
                      </a:lnTo>
                      <a:lnTo>
                        <a:pt x="96985" y="216703"/>
                      </a:lnTo>
                      <a:lnTo>
                        <a:pt x="95739" y="214834"/>
                      </a:lnTo>
                      <a:lnTo>
                        <a:pt x="95040" y="215567"/>
                      </a:lnTo>
                      <a:lnTo>
                        <a:pt x="93975" y="213774"/>
                      </a:lnTo>
                      <a:lnTo>
                        <a:pt x="93343" y="211997"/>
                      </a:lnTo>
                      <a:lnTo>
                        <a:pt x="93227" y="209441"/>
                      </a:lnTo>
                      <a:lnTo>
                        <a:pt x="93796" y="206575"/>
                      </a:lnTo>
                      <a:lnTo>
                        <a:pt x="94365" y="205405"/>
                      </a:lnTo>
                      <a:lnTo>
                        <a:pt x="94584" y="204113"/>
                      </a:lnTo>
                      <a:lnTo>
                        <a:pt x="94089" y="201008"/>
                      </a:lnTo>
                      <a:lnTo>
                        <a:pt x="92201" y="202451"/>
                      </a:lnTo>
                      <a:lnTo>
                        <a:pt x="86391" y="204950"/>
                      </a:lnTo>
                      <a:lnTo>
                        <a:pt x="88693" y="207963"/>
                      </a:lnTo>
                      <a:lnTo>
                        <a:pt x="88763" y="212366"/>
                      </a:lnTo>
                      <a:lnTo>
                        <a:pt x="87301" y="216580"/>
                      </a:lnTo>
                      <a:lnTo>
                        <a:pt x="84945" y="219018"/>
                      </a:lnTo>
                      <a:lnTo>
                        <a:pt x="82001" y="218693"/>
                      </a:lnTo>
                      <a:lnTo>
                        <a:pt x="80232" y="215580"/>
                      </a:lnTo>
                      <a:lnTo>
                        <a:pt x="77705" y="206606"/>
                      </a:lnTo>
                      <a:lnTo>
                        <a:pt x="78430" y="216153"/>
                      </a:lnTo>
                      <a:lnTo>
                        <a:pt x="78238" y="221109"/>
                      </a:lnTo>
                      <a:lnTo>
                        <a:pt x="76595" y="223083"/>
                      </a:lnTo>
                      <a:lnTo>
                        <a:pt x="66248" y="221982"/>
                      </a:lnTo>
                      <a:lnTo>
                        <a:pt x="68106" y="216710"/>
                      </a:lnTo>
                      <a:lnTo>
                        <a:pt x="66084" y="213681"/>
                      </a:lnTo>
                      <a:lnTo>
                        <a:pt x="63015" y="210821"/>
                      </a:lnTo>
                      <a:lnTo>
                        <a:pt x="61810" y="206111"/>
                      </a:lnTo>
                      <a:lnTo>
                        <a:pt x="60368" y="204782"/>
                      </a:lnTo>
                      <a:lnTo>
                        <a:pt x="53429" y="201376"/>
                      </a:lnTo>
                      <a:lnTo>
                        <a:pt x="51257" y="201196"/>
                      </a:lnTo>
                      <a:lnTo>
                        <a:pt x="52112" y="207652"/>
                      </a:lnTo>
                      <a:lnTo>
                        <a:pt x="51404" y="212977"/>
                      </a:lnTo>
                      <a:lnTo>
                        <a:pt x="49327" y="215863"/>
                      </a:lnTo>
                      <a:lnTo>
                        <a:pt x="46264" y="214880"/>
                      </a:lnTo>
                      <a:lnTo>
                        <a:pt x="45049" y="212103"/>
                      </a:lnTo>
                      <a:lnTo>
                        <a:pt x="44289" y="207099"/>
                      </a:lnTo>
                      <a:lnTo>
                        <a:pt x="44389" y="201242"/>
                      </a:lnTo>
                      <a:lnTo>
                        <a:pt x="45747" y="195846"/>
                      </a:lnTo>
                      <a:lnTo>
                        <a:pt x="42013" y="198621"/>
                      </a:lnTo>
                      <a:lnTo>
                        <a:pt x="40089" y="199528"/>
                      </a:lnTo>
                      <a:lnTo>
                        <a:pt x="38090" y="199761"/>
                      </a:lnTo>
                      <a:lnTo>
                        <a:pt x="36008" y="200509"/>
                      </a:lnTo>
                      <a:lnTo>
                        <a:pt x="35437" y="202724"/>
                      </a:lnTo>
                      <a:lnTo>
                        <a:pt x="35098" y="205203"/>
                      </a:lnTo>
                      <a:lnTo>
                        <a:pt x="33704" y="206831"/>
                      </a:lnTo>
                      <a:lnTo>
                        <a:pt x="30583" y="205612"/>
                      </a:lnTo>
                      <a:lnTo>
                        <a:pt x="27815" y="196679"/>
                      </a:lnTo>
                      <a:lnTo>
                        <a:pt x="23809" y="196023"/>
                      </a:lnTo>
                      <a:lnTo>
                        <a:pt x="25326" y="190322"/>
                      </a:lnTo>
                      <a:lnTo>
                        <a:pt x="23137" y="181224"/>
                      </a:lnTo>
                      <a:lnTo>
                        <a:pt x="25054" y="174364"/>
                      </a:lnTo>
                      <a:lnTo>
                        <a:pt x="22841" y="176608"/>
                      </a:lnTo>
                      <a:lnTo>
                        <a:pt x="19852" y="183574"/>
                      </a:lnTo>
                      <a:lnTo>
                        <a:pt x="17605" y="185842"/>
                      </a:lnTo>
                      <a:lnTo>
                        <a:pt x="17638" y="177429"/>
                      </a:lnTo>
                      <a:lnTo>
                        <a:pt x="20498" y="168326"/>
                      </a:lnTo>
                      <a:lnTo>
                        <a:pt x="24596" y="159913"/>
                      </a:lnTo>
                      <a:lnTo>
                        <a:pt x="28406" y="153589"/>
                      </a:lnTo>
                      <a:lnTo>
                        <a:pt x="25739" y="152459"/>
                      </a:lnTo>
                      <a:lnTo>
                        <a:pt x="24129" y="149719"/>
                      </a:lnTo>
                      <a:lnTo>
                        <a:pt x="22920" y="146883"/>
                      </a:lnTo>
                      <a:lnTo>
                        <a:pt x="21398" y="145468"/>
                      </a:lnTo>
                      <a:lnTo>
                        <a:pt x="19439" y="146734"/>
                      </a:lnTo>
                      <a:lnTo>
                        <a:pt x="16020" y="152888"/>
                      </a:lnTo>
                      <a:lnTo>
                        <a:pt x="14402" y="154192"/>
                      </a:lnTo>
                      <a:lnTo>
                        <a:pt x="10073" y="150564"/>
                      </a:lnTo>
                      <a:lnTo>
                        <a:pt x="9327" y="143294"/>
                      </a:lnTo>
                      <a:lnTo>
                        <a:pt x="9225" y="135303"/>
                      </a:lnTo>
                      <a:lnTo>
                        <a:pt x="6822" y="129612"/>
                      </a:lnTo>
                      <a:lnTo>
                        <a:pt x="9719" y="124803"/>
                      </a:lnTo>
                      <a:lnTo>
                        <a:pt x="10744" y="121268"/>
                      </a:lnTo>
                      <a:lnTo>
                        <a:pt x="9878" y="118398"/>
                      </a:lnTo>
                      <a:lnTo>
                        <a:pt x="7069" y="115377"/>
                      </a:lnTo>
                      <a:lnTo>
                        <a:pt x="490" y="111928"/>
                      </a:lnTo>
                      <a:lnTo>
                        <a:pt x="0" y="109467"/>
                      </a:lnTo>
                      <a:lnTo>
                        <a:pt x="2394" y="102975"/>
                      </a:lnTo>
                      <a:lnTo>
                        <a:pt x="8095" y="93632"/>
                      </a:lnTo>
                      <a:lnTo>
                        <a:pt x="11623" y="89052"/>
                      </a:lnTo>
                      <a:lnTo>
                        <a:pt x="13876" y="87664"/>
                      </a:lnTo>
                      <a:lnTo>
                        <a:pt x="14665" y="90937"/>
                      </a:lnTo>
                      <a:lnTo>
                        <a:pt x="13768" y="96199"/>
                      </a:lnTo>
                      <a:lnTo>
                        <a:pt x="10518" y="106076"/>
                      </a:lnTo>
                      <a:lnTo>
                        <a:pt x="12655" y="108383"/>
                      </a:lnTo>
                      <a:lnTo>
                        <a:pt x="14987" y="107612"/>
                      </a:lnTo>
                      <a:lnTo>
                        <a:pt x="17077" y="104579"/>
                      </a:lnTo>
                      <a:lnTo>
                        <a:pt x="18501" y="100269"/>
                      </a:lnTo>
                      <a:lnTo>
                        <a:pt x="19135" y="94241"/>
                      </a:lnTo>
                      <a:lnTo>
                        <a:pt x="18841" y="93186"/>
                      </a:lnTo>
                      <a:lnTo>
                        <a:pt x="18891" y="93145"/>
                      </a:lnTo>
                      <a:lnTo>
                        <a:pt x="25324" y="87857"/>
                      </a:lnTo>
                      <a:lnTo>
                        <a:pt x="26754" y="88303"/>
                      </a:lnTo>
                      <a:lnTo>
                        <a:pt x="27343" y="88262"/>
                      </a:lnTo>
                      <a:lnTo>
                        <a:pt x="33780" y="83212"/>
                      </a:lnTo>
                      <a:lnTo>
                        <a:pt x="37669" y="77885"/>
                      </a:lnTo>
                      <a:lnTo>
                        <a:pt x="39467" y="73755"/>
                      </a:lnTo>
                      <a:lnTo>
                        <a:pt x="43325" y="66142"/>
                      </a:lnTo>
                      <a:lnTo>
                        <a:pt x="45461" y="63055"/>
                      </a:lnTo>
                      <a:lnTo>
                        <a:pt x="50172" y="58122"/>
                      </a:lnTo>
                      <a:lnTo>
                        <a:pt x="53112" y="53459"/>
                      </a:lnTo>
                      <a:lnTo>
                        <a:pt x="59664" y="48069"/>
                      </a:lnTo>
                      <a:lnTo>
                        <a:pt x="61303" y="42517"/>
                      </a:lnTo>
                      <a:lnTo>
                        <a:pt x="61913" y="41399"/>
                      </a:lnTo>
                      <a:lnTo>
                        <a:pt x="65636" y="38176"/>
                      </a:lnTo>
                      <a:lnTo>
                        <a:pt x="70246" y="35821"/>
                      </a:lnTo>
                      <a:lnTo>
                        <a:pt x="71774" y="33992"/>
                      </a:lnTo>
                      <a:lnTo>
                        <a:pt x="73898" y="30738"/>
                      </a:lnTo>
                      <a:lnTo>
                        <a:pt x="77495" y="20404"/>
                      </a:lnTo>
                      <a:lnTo>
                        <a:pt x="78722" y="17797"/>
                      </a:lnTo>
                      <a:lnTo>
                        <a:pt x="85136" y="16367"/>
                      </a:lnTo>
                      <a:lnTo>
                        <a:pt x="96738" y="20703"/>
                      </a:lnTo>
                      <a:lnTo>
                        <a:pt x="118642" y="24460"/>
                      </a:lnTo>
                      <a:lnTo>
                        <a:pt x="126105" y="23350"/>
                      </a:lnTo>
                      <a:lnTo>
                        <a:pt x="127687" y="16853"/>
                      </a:lnTo>
                      <a:lnTo>
                        <a:pt x="128426" y="5800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 w="3175" cap="rnd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Freeform 114">
                  <a:extLst>
                    <a:ext uri="{FF2B5EF4-FFF2-40B4-BE49-F238E27FC236}">
                      <a16:creationId xmlns:a16="http://schemas.microsoft.com/office/drawing/2014/main" id="{7B900258-3B9F-47A6-97F7-EF192DC0D7E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22"/>
                  </p:custDataLst>
                </p:nvPr>
              </p:nvSpPr>
              <p:spPr>
                <a:xfrm>
                  <a:off x="2750022" y="2337130"/>
                  <a:ext cx="618841" cy="6158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756" h="664539">
                      <a:moveTo>
                        <a:pt x="220722" y="162203"/>
                      </a:moveTo>
                      <a:lnTo>
                        <a:pt x="223578" y="170632"/>
                      </a:lnTo>
                      <a:lnTo>
                        <a:pt x="223519" y="167414"/>
                      </a:lnTo>
                      <a:lnTo>
                        <a:pt x="224342" y="165532"/>
                      </a:lnTo>
                      <a:lnTo>
                        <a:pt x="225646" y="166769"/>
                      </a:lnTo>
                      <a:lnTo>
                        <a:pt x="230784" y="176799"/>
                      </a:lnTo>
                      <a:lnTo>
                        <a:pt x="232231" y="177723"/>
                      </a:lnTo>
                      <a:lnTo>
                        <a:pt x="233690" y="179725"/>
                      </a:lnTo>
                      <a:lnTo>
                        <a:pt x="234145" y="186149"/>
                      </a:lnTo>
                      <a:lnTo>
                        <a:pt x="235233" y="188368"/>
                      </a:lnTo>
                      <a:lnTo>
                        <a:pt x="234761" y="190880"/>
                      </a:lnTo>
                      <a:lnTo>
                        <a:pt x="232438" y="192343"/>
                      </a:lnTo>
                      <a:lnTo>
                        <a:pt x="228280" y="192374"/>
                      </a:lnTo>
                      <a:lnTo>
                        <a:pt x="227614" y="193185"/>
                      </a:lnTo>
                      <a:lnTo>
                        <a:pt x="227990" y="194509"/>
                      </a:lnTo>
                      <a:lnTo>
                        <a:pt x="227286" y="194862"/>
                      </a:lnTo>
                      <a:lnTo>
                        <a:pt x="224679" y="193366"/>
                      </a:lnTo>
                      <a:lnTo>
                        <a:pt x="220722" y="190584"/>
                      </a:lnTo>
                      <a:lnTo>
                        <a:pt x="216011" y="186068"/>
                      </a:lnTo>
                      <a:lnTo>
                        <a:pt x="215330" y="182772"/>
                      </a:lnTo>
                      <a:lnTo>
                        <a:pt x="216150" y="179758"/>
                      </a:lnTo>
                      <a:lnTo>
                        <a:pt x="217256" y="178217"/>
                      </a:lnTo>
                      <a:lnTo>
                        <a:pt x="219535" y="177178"/>
                      </a:lnTo>
                      <a:lnTo>
                        <a:pt x="219931" y="172847"/>
                      </a:lnTo>
                      <a:lnTo>
                        <a:pt x="219730" y="164423"/>
                      </a:lnTo>
                      <a:close/>
                      <a:moveTo>
                        <a:pt x="177186" y="151709"/>
                      </a:moveTo>
                      <a:lnTo>
                        <a:pt x="180034" y="151803"/>
                      </a:lnTo>
                      <a:lnTo>
                        <a:pt x="182793" y="154094"/>
                      </a:lnTo>
                      <a:lnTo>
                        <a:pt x="187588" y="159927"/>
                      </a:lnTo>
                      <a:lnTo>
                        <a:pt x="199676" y="168069"/>
                      </a:lnTo>
                      <a:lnTo>
                        <a:pt x="204907" y="175239"/>
                      </a:lnTo>
                      <a:lnTo>
                        <a:pt x="206215" y="186935"/>
                      </a:lnTo>
                      <a:lnTo>
                        <a:pt x="209364" y="193828"/>
                      </a:lnTo>
                      <a:lnTo>
                        <a:pt x="226121" y="195677"/>
                      </a:lnTo>
                      <a:lnTo>
                        <a:pt x="229071" y="204592"/>
                      </a:lnTo>
                      <a:lnTo>
                        <a:pt x="226947" y="207177"/>
                      </a:lnTo>
                      <a:lnTo>
                        <a:pt x="225364" y="210539"/>
                      </a:lnTo>
                      <a:lnTo>
                        <a:pt x="222461" y="218604"/>
                      </a:lnTo>
                      <a:lnTo>
                        <a:pt x="219062" y="214776"/>
                      </a:lnTo>
                      <a:lnTo>
                        <a:pt x="208038" y="211816"/>
                      </a:lnTo>
                      <a:lnTo>
                        <a:pt x="206018" y="208508"/>
                      </a:lnTo>
                      <a:lnTo>
                        <a:pt x="204218" y="202633"/>
                      </a:lnTo>
                      <a:lnTo>
                        <a:pt x="198825" y="201361"/>
                      </a:lnTo>
                      <a:lnTo>
                        <a:pt x="188671" y="203010"/>
                      </a:lnTo>
                      <a:lnTo>
                        <a:pt x="182821" y="185562"/>
                      </a:lnTo>
                      <a:lnTo>
                        <a:pt x="185296" y="180462"/>
                      </a:lnTo>
                      <a:lnTo>
                        <a:pt x="189577" y="179953"/>
                      </a:lnTo>
                      <a:lnTo>
                        <a:pt x="197521" y="182362"/>
                      </a:lnTo>
                      <a:lnTo>
                        <a:pt x="193578" y="172875"/>
                      </a:lnTo>
                      <a:lnTo>
                        <a:pt x="177420" y="173703"/>
                      </a:lnTo>
                      <a:lnTo>
                        <a:pt x="171802" y="169051"/>
                      </a:lnTo>
                      <a:lnTo>
                        <a:pt x="171514" y="163966"/>
                      </a:lnTo>
                      <a:lnTo>
                        <a:pt x="172884" y="158579"/>
                      </a:lnTo>
                      <a:lnTo>
                        <a:pt x="175053" y="154084"/>
                      </a:lnTo>
                      <a:close/>
                      <a:moveTo>
                        <a:pt x="213574" y="141417"/>
                      </a:moveTo>
                      <a:lnTo>
                        <a:pt x="215357" y="142408"/>
                      </a:lnTo>
                      <a:lnTo>
                        <a:pt x="215002" y="145483"/>
                      </a:lnTo>
                      <a:lnTo>
                        <a:pt x="218744" y="146961"/>
                      </a:lnTo>
                      <a:lnTo>
                        <a:pt x="220303" y="150729"/>
                      </a:lnTo>
                      <a:lnTo>
                        <a:pt x="219015" y="156072"/>
                      </a:lnTo>
                      <a:lnTo>
                        <a:pt x="217538" y="160292"/>
                      </a:lnTo>
                      <a:lnTo>
                        <a:pt x="216836" y="163814"/>
                      </a:lnTo>
                      <a:lnTo>
                        <a:pt x="216740" y="165685"/>
                      </a:lnTo>
                      <a:lnTo>
                        <a:pt x="216340" y="166620"/>
                      </a:lnTo>
                      <a:lnTo>
                        <a:pt x="215342" y="167833"/>
                      </a:lnTo>
                      <a:lnTo>
                        <a:pt x="214451" y="168717"/>
                      </a:lnTo>
                      <a:lnTo>
                        <a:pt x="213878" y="170156"/>
                      </a:lnTo>
                      <a:lnTo>
                        <a:pt x="212938" y="172211"/>
                      </a:lnTo>
                      <a:lnTo>
                        <a:pt x="211499" y="173335"/>
                      </a:lnTo>
                      <a:lnTo>
                        <a:pt x="209510" y="171813"/>
                      </a:lnTo>
                      <a:lnTo>
                        <a:pt x="207143" y="168680"/>
                      </a:lnTo>
                      <a:lnTo>
                        <a:pt x="205406" y="164763"/>
                      </a:lnTo>
                      <a:lnTo>
                        <a:pt x="204285" y="160754"/>
                      </a:lnTo>
                      <a:lnTo>
                        <a:pt x="203076" y="158648"/>
                      </a:lnTo>
                      <a:lnTo>
                        <a:pt x="201760" y="158608"/>
                      </a:lnTo>
                      <a:lnTo>
                        <a:pt x="200885" y="159437"/>
                      </a:lnTo>
                      <a:lnTo>
                        <a:pt x="200505" y="160175"/>
                      </a:lnTo>
                      <a:lnTo>
                        <a:pt x="199183" y="160304"/>
                      </a:lnTo>
                      <a:lnTo>
                        <a:pt x="192350" y="158224"/>
                      </a:lnTo>
                      <a:lnTo>
                        <a:pt x="192146" y="155684"/>
                      </a:lnTo>
                      <a:lnTo>
                        <a:pt x="194219" y="152804"/>
                      </a:lnTo>
                      <a:lnTo>
                        <a:pt x="194341" y="151416"/>
                      </a:lnTo>
                      <a:lnTo>
                        <a:pt x="192410" y="150447"/>
                      </a:lnTo>
                      <a:lnTo>
                        <a:pt x="193034" y="149126"/>
                      </a:lnTo>
                      <a:lnTo>
                        <a:pt x="193628" y="147405"/>
                      </a:lnTo>
                      <a:lnTo>
                        <a:pt x="195508" y="145879"/>
                      </a:lnTo>
                      <a:close/>
                      <a:moveTo>
                        <a:pt x="193410" y="48506"/>
                      </a:moveTo>
                      <a:lnTo>
                        <a:pt x="195526" y="49438"/>
                      </a:lnTo>
                      <a:lnTo>
                        <a:pt x="198755" y="53082"/>
                      </a:lnTo>
                      <a:lnTo>
                        <a:pt x="202414" y="54956"/>
                      </a:lnTo>
                      <a:lnTo>
                        <a:pt x="204204" y="57070"/>
                      </a:lnTo>
                      <a:lnTo>
                        <a:pt x="205638" y="59939"/>
                      </a:lnTo>
                      <a:lnTo>
                        <a:pt x="206043" y="63025"/>
                      </a:lnTo>
                      <a:lnTo>
                        <a:pt x="207174" y="65267"/>
                      </a:lnTo>
                      <a:lnTo>
                        <a:pt x="215382" y="69822"/>
                      </a:lnTo>
                      <a:lnTo>
                        <a:pt x="215292" y="71482"/>
                      </a:lnTo>
                      <a:lnTo>
                        <a:pt x="215058" y="71996"/>
                      </a:lnTo>
                      <a:lnTo>
                        <a:pt x="214649" y="72009"/>
                      </a:lnTo>
                      <a:lnTo>
                        <a:pt x="214129" y="72280"/>
                      </a:lnTo>
                      <a:lnTo>
                        <a:pt x="207099" y="80331"/>
                      </a:lnTo>
                      <a:lnTo>
                        <a:pt x="200509" y="85609"/>
                      </a:lnTo>
                      <a:lnTo>
                        <a:pt x="193707" y="88283"/>
                      </a:lnTo>
                      <a:lnTo>
                        <a:pt x="186103" y="88515"/>
                      </a:lnTo>
                      <a:lnTo>
                        <a:pt x="187077" y="85053"/>
                      </a:lnTo>
                      <a:lnTo>
                        <a:pt x="187628" y="83726"/>
                      </a:lnTo>
                      <a:lnTo>
                        <a:pt x="186333" y="82242"/>
                      </a:lnTo>
                      <a:lnTo>
                        <a:pt x="184852" y="81814"/>
                      </a:lnTo>
                      <a:lnTo>
                        <a:pt x="183204" y="82160"/>
                      </a:lnTo>
                      <a:lnTo>
                        <a:pt x="181542" y="83071"/>
                      </a:lnTo>
                      <a:lnTo>
                        <a:pt x="181820" y="80495"/>
                      </a:lnTo>
                      <a:lnTo>
                        <a:pt x="184411" y="78991"/>
                      </a:lnTo>
                      <a:lnTo>
                        <a:pt x="187458" y="75016"/>
                      </a:lnTo>
                      <a:lnTo>
                        <a:pt x="189717" y="70192"/>
                      </a:lnTo>
                      <a:lnTo>
                        <a:pt x="190016" y="66063"/>
                      </a:lnTo>
                      <a:lnTo>
                        <a:pt x="188473" y="67027"/>
                      </a:lnTo>
                      <a:lnTo>
                        <a:pt x="177456" y="65782"/>
                      </a:lnTo>
                      <a:lnTo>
                        <a:pt x="167025" y="72884"/>
                      </a:lnTo>
                      <a:lnTo>
                        <a:pt x="161497" y="78337"/>
                      </a:lnTo>
                      <a:lnTo>
                        <a:pt x="157227" y="79875"/>
                      </a:lnTo>
                      <a:lnTo>
                        <a:pt x="152897" y="80202"/>
                      </a:lnTo>
                      <a:lnTo>
                        <a:pt x="149540" y="79561"/>
                      </a:lnTo>
                      <a:lnTo>
                        <a:pt x="149827" y="76985"/>
                      </a:lnTo>
                      <a:lnTo>
                        <a:pt x="191523" y="49238"/>
                      </a:lnTo>
                      <a:close/>
                      <a:moveTo>
                        <a:pt x="188684" y="35017"/>
                      </a:moveTo>
                      <a:lnTo>
                        <a:pt x="193255" y="37788"/>
                      </a:lnTo>
                      <a:lnTo>
                        <a:pt x="196130" y="41889"/>
                      </a:lnTo>
                      <a:lnTo>
                        <a:pt x="195543" y="43015"/>
                      </a:lnTo>
                      <a:lnTo>
                        <a:pt x="195032" y="43428"/>
                      </a:lnTo>
                      <a:lnTo>
                        <a:pt x="194515" y="43555"/>
                      </a:lnTo>
                      <a:lnTo>
                        <a:pt x="172283" y="58197"/>
                      </a:lnTo>
                      <a:lnTo>
                        <a:pt x="162263" y="60721"/>
                      </a:lnTo>
                      <a:lnTo>
                        <a:pt x="152664" y="70405"/>
                      </a:lnTo>
                      <a:lnTo>
                        <a:pt x="148788" y="73046"/>
                      </a:lnTo>
                      <a:lnTo>
                        <a:pt x="136578" y="78107"/>
                      </a:lnTo>
                      <a:lnTo>
                        <a:pt x="137551" y="74817"/>
                      </a:lnTo>
                      <a:lnTo>
                        <a:pt x="138129" y="73536"/>
                      </a:lnTo>
                      <a:lnTo>
                        <a:pt x="133142" y="72972"/>
                      </a:lnTo>
                      <a:lnTo>
                        <a:pt x="136322" y="70371"/>
                      </a:lnTo>
                      <a:lnTo>
                        <a:pt x="138467" y="65429"/>
                      </a:lnTo>
                      <a:lnTo>
                        <a:pt x="140472" y="59791"/>
                      </a:lnTo>
                      <a:lnTo>
                        <a:pt x="143234" y="55088"/>
                      </a:lnTo>
                      <a:lnTo>
                        <a:pt x="146107" y="53443"/>
                      </a:lnTo>
                      <a:lnTo>
                        <a:pt x="155986" y="54134"/>
                      </a:lnTo>
                      <a:lnTo>
                        <a:pt x="159043" y="53610"/>
                      </a:lnTo>
                      <a:lnTo>
                        <a:pt x="167255" y="49602"/>
                      </a:lnTo>
                      <a:lnTo>
                        <a:pt x="173505" y="44837"/>
                      </a:lnTo>
                      <a:lnTo>
                        <a:pt x="184132" y="40599"/>
                      </a:lnTo>
                      <a:lnTo>
                        <a:pt x="184842" y="35367"/>
                      </a:lnTo>
                      <a:close/>
                      <a:moveTo>
                        <a:pt x="497506" y="18146"/>
                      </a:moveTo>
                      <a:lnTo>
                        <a:pt x="521183" y="24973"/>
                      </a:lnTo>
                      <a:lnTo>
                        <a:pt x="554993" y="24408"/>
                      </a:lnTo>
                      <a:lnTo>
                        <a:pt x="567601" y="27997"/>
                      </a:lnTo>
                      <a:lnTo>
                        <a:pt x="572665" y="28127"/>
                      </a:lnTo>
                      <a:lnTo>
                        <a:pt x="652858" y="24145"/>
                      </a:lnTo>
                      <a:lnTo>
                        <a:pt x="667676" y="31267"/>
                      </a:lnTo>
                      <a:lnTo>
                        <a:pt x="667756" y="31306"/>
                      </a:lnTo>
                      <a:lnTo>
                        <a:pt x="664070" y="41426"/>
                      </a:lnTo>
                      <a:lnTo>
                        <a:pt x="642124" y="72248"/>
                      </a:lnTo>
                      <a:lnTo>
                        <a:pt x="642091" y="72298"/>
                      </a:lnTo>
                      <a:lnTo>
                        <a:pt x="599060" y="140268"/>
                      </a:lnTo>
                      <a:lnTo>
                        <a:pt x="555458" y="208038"/>
                      </a:lnTo>
                      <a:lnTo>
                        <a:pt x="597502" y="242863"/>
                      </a:lnTo>
                      <a:lnTo>
                        <a:pt x="603638" y="245641"/>
                      </a:lnTo>
                      <a:lnTo>
                        <a:pt x="615154" y="249025"/>
                      </a:lnTo>
                      <a:lnTo>
                        <a:pt x="620287" y="253250"/>
                      </a:lnTo>
                      <a:lnTo>
                        <a:pt x="622564" y="261727"/>
                      </a:lnTo>
                      <a:lnTo>
                        <a:pt x="624653" y="343532"/>
                      </a:lnTo>
                      <a:lnTo>
                        <a:pt x="624147" y="349803"/>
                      </a:lnTo>
                      <a:lnTo>
                        <a:pt x="621869" y="355989"/>
                      </a:lnTo>
                      <a:lnTo>
                        <a:pt x="593837" y="406104"/>
                      </a:lnTo>
                      <a:lnTo>
                        <a:pt x="590892" y="409378"/>
                      </a:lnTo>
                      <a:lnTo>
                        <a:pt x="587141" y="409147"/>
                      </a:lnTo>
                      <a:lnTo>
                        <a:pt x="534762" y="391668"/>
                      </a:lnTo>
                      <a:lnTo>
                        <a:pt x="482561" y="373906"/>
                      </a:lnTo>
                      <a:lnTo>
                        <a:pt x="443802" y="382109"/>
                      </a:lnTo>
                      <a:lnTo>
                        <a:pt x="407684" y="402658"/>
                      </a:lnTo>
                      <a:lnTo>
                        <a:pt x="395612" y="413835"/>
                      </a:lnTo>
                      <a:lnTo>
                        <a:pt x="361173" y="461934"/>
                      </a:lnTo>
                      <a:lnTo>
                        <a:pt x="327791" y="511986"/>
                      </a:lnTo>
                      <a:lnTo>
                        <a:pt x="307201" y="530594"/>
                      </a:lnTo>
                      <a:lnTo>
                        <a:pt x="311635" y="566248"/>
                      </a:lnTo>
                      <a:lnTo>
                        <a:pt x="311002" y="573942"/>
                      </a:lnTo>
                      <a:lnTo>
                        <a:pt x="308113" y="580503"/>
                      </a:lnTo>
                      <a:lnTo>
                        <a:pt x="270163" y="634604"/>
                      </a:lnTo>
                      <a:lnTo>
                        <a:pt x="277958" y="664539"/>
                      </a:lnTo>
                      <a:lnTo>
                        <a:pt x="212938" y="661123"/>
                      </a:lnTo>
                      <a:lnTo>
                        <a:pt x="189321" y="610162"/>
                      </a:lnTo>
                      <a:lnTo>
                        <a:pt x="113239" y="597924"/>
                      </a:lnTo>
                      <a:lnTo>
                        <a:pt x="108746" y="595582"/>
                      </a:lnTo>
                      <a:lnTo>
                        <a:pt x="106315" y="593265"/>
                      </a:lnTo>
                      <a:lnTo>
                        <a:pt x="104019" y="588321"/>
                      </a:lnTo>
                      <a:lnTo>
                        <a:pt x="102554" y="583619"/>
                      </a:lnTo>
                      <a:lnTo>
                        <a:pt x="103471" y="563118"/>
                      </a:lnTo>
                      <a:lnTo>
                        <a:pt x="103475" y="563118"/>
                      </a:lnTo>
                      <a:lnTo>
                        <a:pt x="103489" y="563105"/>
                      </a:lnTo>
                      <a:lnTo>
                        <a:pt x="106249" y="562163"/>
                      </a:lnTo>
                      <a:lnTo>
                        <a:pt x="108801" y="560107"/>
                      </a:lnTo>
                      <a:lnTo>
                        <a:pt x="110461" y="556708"/>
                      </a:lnTo>
                      <a:lnTo>
                        <a:pt x="96415" y="551899"/>
                      </a:lnTo>
                      <a:lnTo>
                        <a:pt x="89980" y="547145"/>
                      </a:lnTo>
                      <a:lnTo>
                        <a:pt x="88235" y="536513"/>
                      </a:lnTo>
                      <a:lnTo>
                        <a:pt x="92425" y="529490"/>
                      </a:lnTo>
                      <a:lnTo>
                        <a:pt x="100555" y="526446"/>
                      </a:lnTo>
                      <a:lnTo>
                        <a:pt x="114731" y="526481"/>
                      </a:lnTo>
                      <a:lnTo>
                        <a:pt x="115011" y="523921"/>
                      </a:lnTo>
                      <a:lnTo>
                        <a:pt x="108159" y="522403"/>
                      </a:lnTo>
                      <a:lnTo>
                        <a:pt x="105233" y="520367"/>
                      </a:lnTo>
                      <a:lnTo>
                        <a:pt x="106282" y="517254"/>
                      </a:lnTo>
                      <a:lnTo>
                        <a:pt x="109160" y="515929"/>
                      </a:lnTo>
                      <a:lnTo>
                        <a:pt x="111924" y="515866"/>
                      </a:lnTo>
                      <a:lnTo>
                        <a:pt x="114431" y="514697"/>
                      </a:lnTo>
                      <a:lnTo>
                        <a:pt x="116522" y="510070"/>
                      </a:lnTo>
                      <a:lnTo>
                        <a:pt x="105465" y="510380"/>
                      </a:lnTo>
                      <a:lnTo>
                        <a:pt x="100027" y="512326"/>
                      </a:lnTo>
                      <a:lnTo>
                        <a:pt x="94736" y="515970"/>
                      </a:lnTo>
                      <a:lnTo>
                        <a:pt x="91862" y="517234"/>
                      </a:lnTo>
                      <a:lnTo>
                        <a:pt x="85939" y="517362"/>
                      </a:lnTo>
                      <a:lnTo>
                        <a:pt x="83262" y="519440"/>
                      </a:lnTo>
                      <a:lnTo>
                        <a:pt x="81106" y="521801"/>
                      </a:lnTo>
                      <a:lnTo>
                        <a:pt x="78652" y="523435"/>
                      </a:lnTo>
                      <a:lnTo>
                        <a:pt x="76101" y="524251"/>
                      </a:lnTo>
                      <a:lnTo>
                        <a:pt x="73763" y="524070"/>
                      </a:lnTo>
                      <a:lnTo>
                        <a:pt x="74006" y="521930"/>
                      </a:lnTo>
                      <a:lnTo>
                        <a:pt x="76616" y="521037"/>
                      </a:lnTo>
                      <a:lnTo>
                        <a:pt x="78115" y="517922"/>
                      </a:lnTo>
                      <a:lnTo>
                        <a:pt x="79417" y="514641"/>
                      </a:lnTo>
                      <a:lnTo>
                        <a:pt x="81309" y="513283"/>
                      </a:lnTo>
                      <a:lnTo>
                        <a:pt x="82569" y="512831"/>
                      </a:lnTo>
                      <a:lnTo>
                        <a:pt x="83252" y="511463"/>
                      </a:lnTo>
                      <a:lnTo>
                        <a:pt x="83787" y="509612"/>
                      </a:lnTo>
                      <a:lnTo>
                        <a:pt x="84581" y="507704"/>
                      </a:lnTo>
                      <a:lnTo>
                        <a:pt x="85572" y="506273"/>
                      </a:lnTo>
                      <a:lnTo>
                        <a:pt x="87244" y="504606"/>
                      </a:lnTo>
                      <a:lnTo>
                        <a:pt x="88239" y="503146"/>
                      </a:lnTo>
                      <a:lnTo>
                        <a:pt x="91894" y="499478"/>
                      </a:lnTo>
                      <a:lnTo>
                        <a:pt x="97161" y="496669"/>
                      </a:lnTo>
                      <a:lnTo>
                        <a:pt x="106179" y="494445"/>
                      </a:lnTo>
                      <a:lnTo>
                        <a:pt x="109463" y="492232"/>
                      </a:lnTo>
                      <a:lnTo>
                        <a:pt x="116983" y="481592"/>
                      </a:lnTo>
                      <a:lnTo>
                        <a:pt x="137767" y="471779"/>
                      </a:lnTo>
                      <a:lnTo>
                        <a:pt x="141218" y="473242"/>
                      </a:lnTo>
                      <a:lnTo>
                        <a:pt x="144773" y="477615"/>
                      </a:lnTo>
                      <a:lnTo>
                        <a:pt x="150346" y="478238"/>
                      </a:lnTo>
                      <a:lnTo>
                        <a:pt x="156238" y="476557"/>
                      </a:lnTo>
                      <a:lnTo>
                        <a:pt x="160678" y="474011"/>
                      </a:lnTo>
                      <a:lnTo>
                        <a:pt x="164523" y="469577"/>
                      </a:lnTo>
                      <a:lnTo>
                        <a:pt x="171182" y="459365"/>
                      </a:lnTo>
                      <a:lnTo>
                        <a:pt x="175101" y="456535"/>
                      </a:lnTo>
                      <a:lnTo>
                        <a:pt x="186303" y="454300"/>
                      </a:lnTo>
                      <a:lnTo>
                        <a:pt x="202442" y="455284"/>
                      </a:lnTo>
                      <a:lnTo>
                        <a:pt x="204802" y="454165"/>
                      </a:lnTo>
                      <a:lnTo>
                        <a:pt x="206148" y="450227"/>
                      </a:lnTo>
                      <a:lnTo>
                        <a:pt x="205890" y="446467"/>
                      </a:lnTo>
                      <a:lnTo>
                        <a:pt x="204546" y="444082"/>
                      </a:lnTo>
                      <a:lnTo>
                        <a:pt x="202672" y="442873"/>
                      </a:lnTo>
                      <a:lnTo>
                        <a:pt x="200820" y="442558"/>
                      </a:lnTo>
                      <a:lnTo>
                        <a:pt x="201458" y="441562"/>
                      </a:lnTo>
                      <a:lnTo>
                        <a:pt x="202728" y="439117"/>
                      </a:lnTo>
                      <a:lnTo>
                        <a:pt x="203371" y="438064"/>
                      </a:lnTo>
                      <a:lnTo>
                        <a:pt x="200448" y="432831"/>
                      </a:lnTo>
                      <a:lnTo>
                        <a:pt x="191215" y="432565"/>
                      </a:lnTo>
                      <a:lnTo>
                        <a:pt x="187230" y="430470"/>
                      </a:lnTo>
                      <a:lnTo>
                        <a:pt x="183737" y="426643"/>
                      </a:lnTo>
                      <a:lnTo>
                        <a:pt x="180135" y="424726"/>
                      </a:lnTo>
                      <a:lnTo>
                        <a:pt x="176295" y="424397"/>
                      </a:lnTo>
                      <a:lnTo>
                        <a:pt x="154420" y="428215"/>
                      </a:lnTo>
                      <a:lnTo>
                        <a:pt x="153014" y="427258"/>
                      </a:lnTo>
                      <a:lnTo>
                        <a:pt x="152452" y="425033"/>
                      </a:lnTo>
                      <a:lnTo>
                        <a:pt x="152479" y="421978"/>
                      </a:lnTo>
                      <a:lnTo>
                        <a:pt x="152832" y="418548"/>
                      </a:lnTo>
                      <a:lnTo>
                        <a:pt x="153596" y="414186"/>
                      </a:lnTo>
                      <a:lnTo>
                        <a:pt x="154562" y="412944"/>
                      </a:lnTo>
                      <a:lnTo>
                        <a:pt x="156160" y="412902"/>
                      </a:lnTo>
                      <a:lnTo>
                        <a:pt x="166433" y="408728"/>
                      </a:lnTo>
                      <a:lnTo>
                        <a:pt x="170404" y="405496"/>
                      </a:lnTo>
                      <a:lnTo>
                        <a:pt x="172511" y="400340"/>
                      </a:lnTo>
                      <a:lnTo>
                        <a:pt x="174798" y="397015"/>
                      </a:lnTo>
                      <a:lnTo>
                        <a:pt x="187089" y="391307"/>
                      </a:lnTo>
                      <a:lnTo>
                        <a:pt x="208361" y="387378"/>
                      </a:lnTo>
                      <a:lnTo>
                        <a:pt x="212677" y="384306"/>
                      </a:lnTo>
                      <a:lnTo>
                        <a:pt x="216712" y="380046"/>
                      </a:lnTo>
                      <a:lnTo>
                        <a:pt x="218869" y="375341"/>
                      </a:lnTo>
                      <a:lnTo>
                        <a:pt x="212203" y="375856"/>
                      </a:lnTo>
                      <a:lnTo>
                        <a:pt x="210580" y="372806"/>
                      </a:lnTo>
                      <a:lnTo>
                        <a:pt x="208358" y="371506"/>
                      </a:lnTo>
                      <a:lnTo>
                        <a:pt x="199310" y="371104"/>
                      </a:lnTo>
                      <a:lnTo>
                        <a:pt x="183891" y="366439"/>
                      </a:lnTo>
                      <a:lnTo>
                        <a:pt x="182779" y="365699"/>
                      </a:lnTo>
                      <a:lnTo>
                        <a:pt x="181420" y="360803"/>
                      </a:lnTo>
                      <a:lnTo>
                        <a:pt x="181539" y="357533"/>
                      </a:lnTo>
                      <a:lnTo>
                        <a:pt x="183590" y="355298"/>
                      </a:lnTo>
                      <a:lnTo>
                        <a:pt x="188026" y="352959"/>
                      </a:lnTo>
                      <a:lnTo>
                        <a:pt x="198817" y="344072"/>
                      </a:lnTo>
                      <a:lnTo>
                        <a:pt x="201802" y="340135"/>
                      </a:lnTo>
                      <a:lnTo>
                        <a:pt x="196649" y="340538"/>
                      </a:lnTo>
                      <a:lnTo>
                        <a:pt x="192128" y="342590"/>
                      </a:lnTo>
                      <a:lnTo>
                        <a:pt x="179657" y="353528"/>
                      </a:lnTo>
                      <a:lnTo>
                        <a:pt x="174757" y="368509"/>
                      </a:lnTo>
                      <a:lnTo>
                        <a:pt x="173637" y="370684"/>
                      </a:lnTo>
                      <a:lnTo>
                        <a:pt x="169754" y="375072"/>
                      </a:lnTo>
                      <a:lnTo>
                        <a:pt x="135552" y="391951"/>
                      </a:lnTo>
                      <a:lnTo>
                        <a:pt x="131125" y="395503"/>
                      </a:lnTo>
                      <a:lnTo>
                        <a:pt x="126752" y="400120"/>
                      </a:lnTo>
                      <a:lnTo>
                        <a:pt x="123391" y="404677"/>
                      </a:lnTo>
                      <a:lnTo>
                        <a:pt x="119839" y="407883"/>
                      </a:lnTo>
                      <a:lnTo>
                        <a:pt x="114430" y="410738"/>
                      </a:lnTo>
                      <a:lnTo>
                        <a:pt x="95913" y="414739"/>
                      </a:lnTo>
                      <a:lnTo>
                        <a:pt x="90792" y="417474"/>
                      </a:lnTo>
                      <a:lnTo>
                        <a:pt x="83307" y="426043"/>
                      </a:lnTo>
                      <a:lnTo>
                        <a:pt x="75106" y="429623"/>
                      </a:lnTo>
                      <a:lnTo>
                        <a:pt x="71388" y="433062"/>
                      </a:lnTo>
                      <a:lnTo>
                        <a:pt x="74408" y="433537"/>
                      </a:lnTo>
                      <a:lnTo>
                        <a:pt x="77449" y="432951"/>
                      </a:lnTo>
                      <a:lnTo>
                        <a:pt x="80438" y="431608"/>
                      </a:lnTo>
                      <a:lnTo>
                        <a:pt x="90083" y="424405"/>
                      </a:lnTo>
                      <a:lnTo>
                        <a:pt x="91932" y="423723"/>
                      </a:lnTo>
                      <a:lnTo>
                        <a:pt x="102722" y="422304"/>
                      </a:lnTo>
                      <a:lnTo>
                        <a:pt x="124113" y="409217"/>
                      </a:lnTo>
                      <a:lnTo>
                        <a:pt x="129482" y="408617"/>
                      </a:lnTo>
                      <a:lnTo>
                        <a:pt x="138654" y="416824"/>
                      </a:lnTo>
                      <a:lnTo>
                        <a:pt x="142935" y="419183"/>
                      </a:lnTo>
                      <a:lnTo>
                        <a:pt x="146432" y="423283"/>
                      </a:lnTo>
                      <a:lnTo>
                        <a:pt x="148222" y="432308"/>
                      </a:lnTo>
                      <a:lnTo>
                        <a:pt x="144952" y="433485"/>
                      </a:lnTo>
                      <a:lnTo>
                        <a:pt x="141065" y="435869"/>
                      </a:lnTo>
                      <a:lnTo>
                        <a:pt x="137302" y="439044"/>
                      </a:lnTo>
                      <a:lnTo>
                        <a:pt x="134445" y="442711"/>
                      </a:lnTo>
                      <a:lnTo>
                        <a:pt x="133518" y="445159"/>
                      </a:lnTo>
                      <a:lnTo>
                        <a:pt x="132085" y="451473"/>
                      </a:lnTo>
                      <a:lnTo>
                        <a:pt x="131112" y="454227"/>
                      </a:lnTo>
                      <a:lnTo>
                        <a:pt x="130008" y="455636"/>
                      </a:lnTo>
                      <a:lnTo>
                        <a:pt x="127141" y="457843"/>
                      </a:lnTo>
                      <a:lnTo>
                        <a:pt x="125777" y="459690"/>
                      </a:lnTo>
                      <a:lnTo>
                        <a:pt x="119428" y="465663"/>
                      </a:lnTo>
                      <a:lnTo>
                        <a:pt x="103966" y="467732"/>
                      </a:lnTo>
                      <a:lnTo>
                        <a:pt x="92124" y="476773"/>
                      </a:lnTo>
                      <a:lnTo>
                        <a:pt x="81480" y="476801"/>
                      </a:lnTo>
                      <a:lnTo>
                        <a:pt x="76711" y="479459"/>
                      </a:lnTo>
                      <a:lnTo>
                        <a:pt x="74997" y="482054"/>
                      </a:lnTo>
                      <a:lnTo>
                        <a:pt x="70501" y="491739"/>
                      </a:lnTo>
                      <a:lnTo>
                        <a:pt x="68915" y="493087"/>
                      </a:lnTo>
                      <a:lnTo>
                        <a:pt x="63055" y="496153"/>
                      </a:lnTo>
                      <a:lnTo>
                        <a:pt x="57179" y="497472"/>
                      </a:lnTo>
                      <a:lnTo>
                        <a:pt x="38200" y="509198"/>
                      </a:lnTo>
                      <a:lnTo>
                        <a:pt x="35914" y="509991"/>
                      </a:lnTo>
                      <a:lnTo>
                        <a:pt x="30452" y="510451"/>
                      </a:lnTo>
                      <a:lnTo>
                        <a:pt x="25311" y="512987"/>
                      </a:lnTo>
                      <a:lnTo>
                        <a:pt x="22893" y="513379"/>
                      </a:lnTo>
                      <a:lnTo>
                        <a:pt x="10856" y="511936"/>
                      </a:lnTo>
                      <a:lnTo>
                        <a:pt x="8727" y="512857"/>
                      </a:lnTo>
                      <a:lnTo>
                        <a:pt x="4535" y="517397"/>
                      </a:lnTo>
                      <a:lnTo>
                        <a:pt x="3391" y="517975"/>
                      </a:lnTo>
                      <a:lnTo>
                        <a:pt x="3377" y="517941"/>
                      </a:lnTo>
                      <a:lnTo>
                        <a:pt x="833" y="511537"/>
                      </a:lnTo>
                      <a:lnTo>
                        <a:pt x="180" y="506740"/>
                      </a:lnTo>
                      <a:lnTo>
                        <a:pt x="0" y="501685"/>
                      </a:lnTo>
                      <a:lnTo>
                        <a:pt x="746" y="498300"/>
                      </a:lnTo>
                      <a:lnTo>
                        <a:pt x="2129" y="495858"/>
                      </a:lnTo>
                      <a:lnTo>
                        <a:pt x="3728" y="493549"/>
                      </a:lnTo>
                      <a:lnTo>
                        <a:pt x="7754" y="486223"/>
                      </a:lnTo>
                      <a:lnTo>
                        <a:pt x="14407" y="480185"/>
                      </a:lnTo>
                      <a:lnTo>
                        <a:pt x="43569" y="463039"/>
                      </a:lnTo>
                      <a:lnTo>
                        <a:pt x="54668" y="455999"/>
                      </a:lnTo>
                      <a:lnTo>
                        <a:pt x="57280" y="452614"/>
                      </a:lnTo>
                      <a:lnTo>
                        <a:pt x="57649" y="451703"/>
                      </a:lnTo>
                      <a:lnTo>
                        <a:pt x="58038" y="450814"/>
                      </a:lnTo>
                      <a:lnTo>
                        <a:pt x="58673" y="448422"/>
                      </a:lnTo>
                      <a:lnTo>
                        <a:pt x="63902" y="433788"/>
                      </a:lnTo>
                      <a:lnTo>
                        <a:pt x="74436" y="416327"/>
                      </a:lnTo>
                      <a:lnTo>
                        <a:pt x="85141" y="403765"/>
                      </a:lnTo>
                      <a:lnTo>
                        <a:pt x="108634" y="386409"/>
                      </a:lnTo>
                      <a:lnTo>
                        <a:pt x="111527" y="382182"/>
                      </a:lnTo>
                      <a:lnTo>
                        <a:pt x="112421" y="378190"/>
                      </a:lnTo>
                      <a:lnTo>
                        <a:pt x="112676" y="375261"/>
                      </a:lnTo>
                      <a:lnTo>
                        <a:pt x="113873" y="373433"/>
                      </a:lnTo>
                      <a:lnTo>
                        <a:pt x="116481" y="371441"/>
                      </a:lnTo>
                      <a:lnTo>
                        <a:pt x="117395" y="369599"/>
                      </a:lnTo>
                      <a:lnTo>
                        <a:pt x="117460" y="367097"/>
                      </a:lnTo>
                      <a:lnTo>
                        <a:pt x="116496" y="363861"/>
                      </a:lnTo>
                      <a:lnTo>
                        <a:pt x="117013" y="359846"/>
                      </a:lnTo>
                      <a:lnTo>
                        <a:pt x="118032" y="357469"/>
                      </a:lnTo>
                      <a:lnTo>
                        <a:pt x="127038" y="346913"/>
                      </a:lnTo>
                      <a:lnTo>
                        <a:pt x="134598" y="336704"/>
                      </a:lnTo>
                      <a:lnTo>
                        <a:pt x="129710" y="328865"/>
                      </a:lnTo>
                      <a:lnTo>
                        <a:pt x="124723" y="327790"/>
                      </a:lnTo>
                      <a:lnTo>
                        <a:pt x="120256" y="322195"/>
                      </a:lnTo>
                      <a:lnTo>
                        <a:pt x="125417" y="304291"/>
                      </a:lnTo>
                      <a:lnTo>
                        <a:pt x="137806" y="296526"/>
                      </a:lnTo>
                      <a:lnTo>
                        <a:pt x="148689" y="273082"/>
                      </a:lnTo>
                      <a:lnTo>
                        <a:pt x="137475" y="267960"/>
                      </a:lnTo>
                      <a:lnTo>
                        <a:pt x="124240" y="256406"/>
                      </a:lnTo>
                      <a:lnTo>
                        <a:pt x="120459" y="251524"/>
                      </a:lnTo>
                      <a:lnTo>
                        <a:pt x="114039" y="239061"/>
                      </a:lnTo>
                      <a:lnTo>
                        <a:pt x="107547" y="233330"/>
                      </a:lnTo>
                      <a:lnTo>
                        <a:pt x="102630" y="229116"/>
                      </a:lnTo>
                      <a:lnTo>
                        <a:pt x="102587" y="229079"/>
                      </a:lnTo>
                      <a:lnTo>
                        <a:pt x="102488" y="227315"/>
                      </a:lnTo>
                      <a:lnTo>
                        <a:pt x="101404" y="223549"/>
                      </a:lnTo>
                      <a:lnTo>
                        <a:pt x="100011" y="221407"/>
                      </a:lnTo>
                      <a:lnTo>
                        <a:pt x="98765" y="221829"/>
                      </a:lnTo>
                      <a:lnTo>
                        <a:pt x="98634" y="219987"/>
                      </a:lnTo>
                      <a:lnTo>
                        <a:pt x="98100" y="219004"/>
                      </a:lnTo>
                      <a:lnTo>
                        <a:pt x="97835" y="218436"/>
                      </a:lnTo>
                      <a:lnTo>
                        <a:pt x="99272" y="216137"/>
                      </a:lnTo>
                      <a:lnTo>
                        <a:pt x="100457" y="213694"/>
                      </a:lnTo>
                      <a:lnTo>
                        <a:pt x="101399" y="212612"/>
                      </a:lnTo>
                      <a:lnTo>
                        <a:pt x="102871" y="213517"/>
                      </a:lnTo>
                      <a:lnTo>
                        <a:pt x="104853" y="217003"/>
                      </a:lnTo>
                      <a:lnTo>
                        <a:pt x="105925" y="217891"/>
                      </a:lnTo>
                      <a:lnTo>
                        <a:pt x="106885" y="219106"/>
                      </a:lnTo>
                      <a:lnTo>
                        <a:pt x="108204" y="224157"/>
                      </a:lnTo>
                      <a:lnTo>
                        <a:pt x="109178" y="225373"/>
                      </a:lnTo>
                      <a:lnTo>
                        <a:pt x="117324" y="226297"/>
                      </a:lnTo>
                      <a:lnTo>
                        <a:pt x="118826" y="227290"/>
                      </a:lnTo>
                      <a:lnTo>
                        <a:pt x="119307" y="229312"/>
                      </a:lnTo>
                      <a:lnTo>
                        <a:pt x="119506" y="231672"/>
                      </a:lnTo>
                      <a:lnTo>
                        <a:pt x="120081" y="233734"/>
                      </a:lnTo>
                      <a:lnTo>
                        <a:pt x="121184" y="235459"/>
                      </a:lnTo>
                      <a:lnTo>
                        <a:pt x="129422" y="244311"/>
                      </a:lnTo>
                      <a:lnTo>
                        <a:pt x="132328" y="245033"/>
                      </a:lnTo>
                      <a:lnTo>
                        <a:pt x="135632" y="242397"/>
                      </a:lnTo>
                      <a:lnTo>
                        <a:pt x="128247" y="233559"/>
                      </a:lnTo>
                      <a:lnTo>
                        <a:pt x="126766" y="229739"/>
                      </a:lnTo>
                      <a:lnTo>
                        <a:pt x="129884" y="226774"/>
                      </a:lnTo>
                      <a:lnTo>
                        <a:pt x="129059" y="222674"/>
                      </a:lnTo>
                      <a:lnTo>
                        <a:pt x="126157" y="219022"/>
                      </a:lnTo>
                      <a:lnTo>
                        <a:pt x="123060" y="217243"/>
                      </a:lnTo>
                      <a:lnTo>
                        <a:pt x="112022" y="218416"/>
                      </a:lnTo>
                      <a:lnTo>
                        <a:pt x="108809" y="215628"/>
                      </a:lnTo>
                      <a:lnTo>
                        <a:pt x="109053" y="213488"/>
                      </a:lnTo>
                      <a:lnTo>
                        <a:pt x="111207" y="213011"/>
                      </a:lnTo>
                      <a:lnTo>
                        <a:pt x="114956" y="208691"/>
                      </a:lnTo>
                      <a:lnTo>
                        <a:pt x="116914" y="207243"/>
                      </a:lnTo>
                      <a:lnTo>
                        <a:pt x="118530" y="207511"/>
                      </a:lnTo>
                      <a:lnTo>
                        <a:pt x="121993" y="209912"/>
                      </a:lnTo>
                      <a:lnTo>
                        <a:pt x="123829" y="210403"/>
                      </a:lnTo>
                      <a:lnTo>
                        <a:pt x="123941" y="209622"/>
                      </a:lnTo>
                      <a:lnTo>
                        <a:pt x="124371" y="207971"/>
                      </a:lnTo>
                      <a:lnTo>
                        <a:pt x="124993" y="206341"/>
                      </a:lnTo>
                      <a:lnTo>
                        <a:pt x="125802" y="205654"/>
                      </a:lnTo>
                      <a:lnTo>
                        <a:pt x="130330" y="206162"/>
                      </a:lnTo>
                      <a:lnTo>
                        <a:pt x="132117" y="207636"/>
                      </a:lnTo>
                      <a:lnTo>
                        <a:pt x="134943" y="211167"/>
                      </a:lnTo>
                      <a:lnTo>
                        <a:pt x="136939" y="211870"/>
                      </a:lnTo>
                      <a:lnTo>
                        <a:pt x="136962" y="205954"/>
                      </a:lnTo>
                      <a:lnTo>
                        <a:pt x="135909" y="202706"/>
                      </a:lnTo>
                      <a:lnTo>
                        <a:pt x="134261" y="200326"/>
                      </a:lnTo>
                      <a:lnTo>
                        <a:pt x="132487" y="196899"/>
                      </a:lnTo>
                      <a:lnTo>
                        <a:pt x="136246" y="195959"/>
                      </a:lnTo>
                      <a:lnTo>
                        <a:pt x="139498" y="198589"/>
                      </a:lnTo>
                      <a:lnTo>
                        <a:pt x="142102" y="203351"/>
                      </a:lnTo>
                      <a:lnTo>
                        <a:pt x="143897" y="208958"/>
                      </a:lnTo>
                      <a:lnTo>
                        <a:pt x="144841" y="209686"/>
                      </a:lnTo>
                      <a:lnTo>
                        <a:pt x="146238" y="207844"/>
                      </a:lnTo>
                      <a:lnTo>
                        <a:pt x="147755" y="205249"/>
                      </a:lnTo>
                      <a:lnTo>
                        <a:pt x="149105" y="203728"/>
                      </a:lnTo>
                      <a:lnTo>
                        <a:pt x="150681" y="204241"/>
                      </a:lnTo>
                      <a:lnTo>
                        <a:pt x="151828" y="206008"/>
                      </a:lnTo>
                      <a:lnTo>
                        <a:pt x="153073" y="207333"/>
                      </a:lnTo>
                      <a:lnTo>
                        <a:pt x="154846" y="206495"/>
                      </a:lnTo>
                      <a:lnTo>
                        <a:pt x="150908" y="200839"/>
                      </a:lnTo>
                      <a:lnTo>
                        <a:pt x="150572" y="198904"/>
                      </a:lnTo>
                      <a:lnTo>
                        <a:pt x="151577" y="196962"/>
                      </a:lnTo>
                      <a:lnTo>
                        <a:pt x="153172" y="197293"/>
                      </a:lnTo>
                      <a:lnTo>
                        <a:pt x="156710" y="199576"/>
                      </a:lnTo>
                      <a:lnTo>
                        <a:pt x="156991" y="197002"/>
                      </a:lnTo>
                      <a:lnTo>
                        <a:pt x="155093" y="194870"/>
                      </a:lnTo>
                      <a:lnTo>
                        <a:pt x="155234" y="192024"/>
                      </a:lnTo>
                      <a:lnTo>
                        <a:pt x="156350" y="188493"/>
                      </a:lnTo>
                      <a:lnTo>
                        <a:pt x="157294" y="184081"/>
                      </a:lnTo>
                      <a:lnTo>
                        <a:pt x="156797" y="181733"/>
                      </a:lnTo>
                      <a:lnTo>
                        <a:pt x="155343" y="179025"/>
                      </a:lnTo>
                      <a:lnTo>
                        <a:pt x="153588" y="176637"/>
                      </a:lnTo>
                      <a:lnTo>
                        <a:pt x="152225" y="175327"/>
                      </a:lnTo>
                      <a:lnTo>
                        <a:pt x="152483" y="172977"/>
                      </a:lnTo>
                      <a:lnTo>
                        <a:pt x="153996" y="173355"/>
                      </a:lnTo>
                      <a:lnTo>
                        <a:pt x="155244" y="172940"/>
                      </a:lnTo>
                      <a:lnTo>
                        <a:pt x="157792" y="170968"/>
                      </a:lnTo>
                      <a:lnTo>
                        <a:pt x="158338" y="170080"/>
                      </a:lnTo>
                      <a:lnTo>
                        <a:pt x="158842" y="168577"/>
                      </a:lnTo>
                      <a:lnTo>
                        <a:pt x="159187" y="167199"/>
                      </a:lnTo>
                      <a:lnTo>
                        <a:pt x="159203" y="166606"/>
                      </a:lnTo>
                      <a:lnTo>
                        <a:pt x="161323" y="166979"/>
                      </a:lnTo>
                      <a:lnTo>
                        <a:pt x="164511" y="170809"/>
                      </a:lnTo>
                      <a:lnTo>
                        <a:pt x="172377" y="176106"/>
                      </a:lnTo>
                      <a:lnTo>
                        <a:pt x="173463" y="177638"/>
                      </a:lnTo>
                      <a:lnTo>
                        <a:pt x="173576" y="180992"/>
                      </a:lnTo>
                      <a:lnTo>
                        <a:pt x="172331" y="187368"/>
                      </a:lnTo>
                      <a:lnTo>
                        <a:pt x="172541" y="190619"/>
                      </a:lnTo>
                      <a:lnTo>
                        <a:pt x="173881" y="195816"/>
                      </a:lnTo>
                      <a:lnTo>
                        <a:pt x="175004" y="196688"/>
                      </a:lnTo>
                      <a:lnTo>
                        <a:pt x="177507" y="197067"/>
                      </a:lnTo>
                      <a:lnTo>
                        <a:pt x="186090" y="209106"/>
                      </a:lnTo>
                      <a:lnTo>
                        <a:pt x="187310" y="212886"/>
                      </a:lnTo>
                      <a:lnTo>
                        <a:pt x="186542" y="217391"/>
                      </a:lnTo>
                      <a:lnTo>
                        <a:pt x="183855" y="223886"/>
                      </a:lnTo>
                      <a:lnTo>
                        <a:pt x="187002" y="225747"/>
                      </a:lnTo>
                      <a:lnTo>
                        <a:pt x="196327" y="223034"/>
                      </a:lnTo>
                      <a:lnTo>
                        <a:pt x="199960" y="223287"/>
                      </a:lnTo>
                      <a:lnTo>
                        <a:pt x="203422" y="224836"/>
                      </a:lnTo>
                      <a:lnTo>
                        <a:pt x="206696" y="227624"/>
                      </a:lnTo>
                      <a:lnTo>
                        <a:pt x="209864" y="231573"/>
                      </a:lnTo>
                      <a:lnTo>
                        <a:pt x="207718" y="238171"/>
                      </a:lnTo>
                      <a:lnTo>
                        <a:pt x="205537" y="242615"/>
                      </a:lnTo>
                      <a:lnTo>
                        <a:pt x="196724" y="252835"/>
                      </a:lnTo>
                      <a:lnTo>
                        <a:pt x="188607" y="267353"/>
                      </a:lnTo>
                      <a:lnTo>
                        <a:pt x="192078" y="266626"/>
                      </a:lnTo>
                      <a:lnTo>
                        <a:pt x="195546" y="262149"/>
                      </a:lnTo>
                      <a:lnTo>
                        <a:pt x="201503" y="252058"/>
                      </a:lnTo>
                      <a:lnTo>
                        <a:pt x="213996" y="244010"/>
                      </a:lnTo>
                      <a:lnTo>
                        <a:pt x="216017" y="241458"/>
                      </a:lnTo>
                      <a:lnTo>
                        <a:pt x="213337" y="239231"/>
                      </a:lnTo>
                      <a:lnTo>
                        <a:pt x="212185" y="238913"/>
                      </a:lnTo>
                      <a:lnTo>
                        <a:pt x="213622" y="235978"/>
                      </a:lnTo>
                      <a:lnTo>
                        <a:pt x="218618" y="227591"/>
                      </a:lnTo>
                      <a:lnTo>
                        <a:pt x="220716" y="225556"/>
                      </a:lnTo>
                      <a:lnTo>
                        <a:pt x="221686" y="226206"/>
                      </a:lnTo>
                      <a:lnTo>
                        <a:pt x="223990" y="229823"/>
                      </a:lnTo>
                      <a:lnTo>
                        <a:pt x="225212" y="230767"/>
                      </a:lnTo>
                      <a:lnTo>
                        <a:pt x="226818" y="230449"/>
                      </a:lnTo>
                      <a:lnTo>
                        <a:pt x="230734" y="226573"/>
                      </a:lnTo>
                      <a:lnTo>
                        <a:pt x="237449" y="223684"/>
                      </a:lnTo>
                      <a:lnTo>
                        <a:pt x="251387" y="222611"/>
                      </a:lnTo>
                      <a:lnTo>
                        <a:pt x="258213" y="219592"/>
                      </a:lnTo>
                      <a:lnTo>
                        <a:pt x="225333" y="221273"/>
                      </a:lnTo>
                      <a:lnTo>
                        <a:pt x="227205" y="217601"/>
                      </a:lnTo>
                      <a:lnTo>
                        <a:pt x="228456" y="211022"/>
                      </a:lnTo>
                      <a:lnTo>
                        <a:pt x="230312" y="206033"/>
                      </a:lnTo>
                      <a:lnTo>
                        <a:pt x="232679" y="204164"/>
                      </a:lnTo>
                      <a:lnTo>
                        <a:pt x="239528" y="204514"/>
                      </a:lnTo>
                      <a:lnTo>
                        <a:pt x="242327" y="203776"/>
                      </a:lnTo>
                      <a:lnTo>
                        <a:pt x="242562" y="201423"/>
                      </a:lnTo>
                      <a:lnTo>
                        <a:pt x="240912" y="200778"/>
                      </a:lnTo>
                      <a:lnTo>
                        <a:pt x="239562" y="199327"/>
                      </a:lnTo>
                      <a:lnTo>
                        <a:pt x="238646" y="197071"/>
                      </a:lnTo>
                      <a:lnTo>
                        <a:pt x="238308" y="193897"/>
                      </a:lnTo>
                      <a:lnTo>
                        <a:pt x="248571" y="192335"/>
                      </a:lnTo>
                      <a:lnTo>
                        <a:pt x="245332" y="195959"/>
                      </a:lnTo>
                      <a:lnTo>
                        <a:pt x="244136" y="196857"/>
                      </a:lnTo>
                      <a:lnTo>
                        <a:pt x="247394" y="198680"/>
                      </a:lnTo>
                      <a:lnTo>
                        <a:pt x="261229" y="188834"/>
                      </a:lnTo>
                      <a:lnTo>
                        <a:pt x="275689" y="184630"/>
                      </a:lnTo>
                      <a:lnTo>
                        <a:pt x="280386" y="181194"/>
                      </a:lnTo>
                      <a:lnTo>
                        <a:pt x="262547" y="180352"/>
                      </a:lnTo>
                      <a:lnTo>
                        <a:pt x="258642" y="184041"/>
                      </a:lnTo>
                      <a:lnTo>
                        <a:pt x="257324" y="180432"/>
                      </a:lnTo>
                      <a:lnTo>
                        <a:pt x="258168" y="177036"/>
                      </a:lnTo>
                      <a:lnTo>
                        <a:pt x="259348" y="173546"/>
                      </a:lnTo>
                      <a:lnTo>
                        <a:pt x="259043" y="169626"/>
                      </a:lnTo>
                      <a:lnTo>
                        <a:pt x="256579" y="167842"/>
                      </a:lnTo>
                      <a:lnTo>
                        <a:pt x="253135" y="169466"/>
                      </a:lnTo>
                      <a:lnTo>
                        <a:pt x="249647" y="172742"/>
                      </a:lnTo>
                      <a:lnTo>
                        <a:pt x="247159" y="175804"/>
                      </a:lnTo>
                      <a:lnTo>
                        <a:pt x="248399" y="177481"/>
                      </a:lnTo>
                      <a:lnTo>
                        <a:pt x="249814" y="178372"/>
                      </a:lnTo>
                      <a:lnTo>
                        <a:pt x="251387" y="178656"/>
                      </a:lnTo>
                      <a:lnTo>
                        <a:pt x="253073" y="178526"/>
                      </a:lnTo>
                      <a:lnTo>
                        <a:pt x="249732" y="185789"/>
                      </a:lnTo>
                      <a:lnTo>
                        <a:pt x="245134" y="187707"/>
                      </a:lnTo>
                      <a:lnTo>
                        <a:pt x="240743" y="185613"/>
                      </a:lnTo>
                      <a:lnTo>
                        <a:pt x="237974" y="180680"/>
                      </a:lnTo>
                      <a:lnTo>
                        <a:pt x="236903" y="177461"/>
                      </a:lnTo>
                      <a:lnTo>
                        <a:pt x="234266" y="171635"/>
                      </a:lnTo>
                      <a:lnTo>
                        <a:pt x="233193" y="168344"/>
                      </a:lnTo>
                      <a:lnTo>
                        <a:pt x="231796" y="165868"/>
                      </a:lnTo>
                      <a:lnTo>
                        <a:pt x="229913" y="164135"/>
                      </a:lnTo>
                      <a:lnTo>
                        <a:pt x="228775" y="162348"/>
                      </a:lnTo>
                      <a:lnTo>
                        <a:pt x="229544" y="159782"/>
                      </a:lnTo>
                      <a:lnTo>
                        <a:pt x="229805" y="157220"/>
                      </a:lnTo>
                      <a:lnTo>
                        <a:pt x="228276" y="155480"/>
                      </a:lnTo>
                      <a:lnTo>
                        <a:pt x="226970" y="152857"/>
                      </a:lnTo>
                      <a:lnTo>
                        <a:pt x="226377" y="149430"/>
                      </a:lnTo>
                      <a:lnTo>
                        <a:pt x="226899" y="145040"/>
                      </a:lnTo>
                      <a:lnTo>
                        <a:pt x="227855" y="144204"/>
                      </a:lnTo>
                      <a:lnTo>
                        <a:pt x="229154" y="145100"/>
                      </a:lnTo>
                      <a:lnTo>
                        <a:pt x="230446" y="145232"/>
                      </a:lnTo>
                      <a:lnTo>
                        <a:pt x="231363" y="141930"/>
                      </a:lnTo>
                      <a:lnTo>
                        <a:pt x="230984" y="140661"/>
                      </a:lnTo>
                      <a:lnTo>
                        <a:pt x="229925" y="139322"/>
                      </a:lnTo>
                      <a:lnTo>
                        <a:pt x="228656" y="138259"/>
                      </a:lnTo>
                      <a:lnTo>
                        <a:pt x="227642" y="137773"/>
                      </a:lnTo>
                      <a:lnTo>
                        <a:pt x="231550" y="135711"/>
                      </a:lnTo>
                      <a:lnTo>
                        <a:pt x="240380" y="134612"/>
                      </a:lnTo>
                      <a:lnTo>
                        <a:pt x="248869" y="126767"/>
                      </a:lnTo>
                      <a:lnTo>
                        <a:pt x="252996" y="127957"/>
                      </a:lnTo>
                      <a:lnTo>
                        <a:pt x="256926" y="130413"/>
                      </a:lnTo>
                      <a:lnTo>
                        <a:pt x="261071" y="129496"/>
                      </a:lnTo>
                      <a:lnTo>
                        <a:pt x="260255" y="128961"/>
                      </a:lnTo>
                      <a:lnTo>
                        <a:pt x="258220" y="126609"/>
                      </a:lnTo>
                      <a:lnTo>
                        <a:pt x="258660" y="122906"/>
                      </a:lnTo>
                      <a:lnTo>
                        <a:pt x="257157" y="121527"/>
                      </a:lnTo>
                      <a:lnTo>
                        <a:pt x="254791" y="120838"/>
                      </a:lnTo>
                      <a:lnTo>
                        <a:pt x="252811" y="119184"/>
                      </a:lnTo>
                      <a:lnTo>
                        <a:pt x="288123" y="117043"/>
                      </a:lnTo>
                      <a:lnTo>
                        <a:pt x="293276" y="114017"/>
                      </a:lnTo>
                      <a:lnTo>
                        <a:pt x="296032" y="113898"/>
                      </a:lnTo>
                      <a:lnTo>
                        <a:pt x="296276" y="111334"/>
                      </a:lnTo>
                      <a:lnTo>
                        <a:pt x="281183" y="109884"/>
                      </a:lnTo>
                      <a:lnTo>
                        <a:pt x="282412" y="107628"/>
                      </a:lnTo>
                      <a:lnTo>
                        <a:pt x="278227" y="106500"/>
                      </a:lnTo>
                      <a:lnTo>
                        <a:pt x="271859" y="102613"/>
                      </a:lnTo>
                      <a:lnTo>
                        <a:pt x="267880" y="101488"/>
                      </a:lnTo>
                      <a:lnTo>
                        <a:pt x="273151" y="98751"/>
                      </a:lnTo>
                      <a:lnTo>
                        <a:pt x="289398" y="99026"/>
                      </a:lnTo>
                      <a:lnTo>
                        <a:pt x="289488" y="97338"/>
                      </a:lnTo>
                      <a:lnTo>
                        <a:pt x="289400" y="96256"/>
                      </a:lnTo>
                      <a:lnTo>
                        <a:pt x="288774" y="94019"/>
                      </a:lnTo>
                      <a:lnTo>
                        <a:pt x="290117" y="91545"/>
                      </a:lnTo>
                      <a:lnTo>
                        <a:pt x="279578" y="96197"/>
                      </a:lnTo>
                      <a:lnTo>
                        <a:pt x="274271" y="97135"/>
                      </a:lnTo>
                      <a:lnTo>
                        <a:pt x="269479" y="94531"/>
                      </a:lnTo>
                      <a:lnTo>
                        <a:pt x="278626" y="90179"/>
                      </a:lnTo>
                      <a:lnTo>
                        <a:pt x="281808" y="84125"/>
                      </a:lnTo>
                      <a:lnTo>
                        <a:pt x="284890" y="81794"/>
                      </a:lnTo>
                      <a:lnTo>
                        <a:pt x="288124" y="80354"/>
                      </a:lnTo>
                      <a:lnTo>
                        <a:pt x="295328" y="79011"/>
                      </a:lnTo>
                      <a:lnTo>
                        <a:pt x="311253" y="70060"/>
                      </a:lnTo>
                      <a:lnTo>
                        <a:pt x="322371" y="69347"/>
                      </a:lnTo>
                      <a:lnTo>
                        <a:pt x="325012" y="67586"/>
                      </a:lnTo>
                      <a:lnTo>
                        <a:pt x="326772" y="65261"/>
                      </a:lnTo>
                      <a:lnTo>
                        <a:pt x="331836" y="60809"/>
                      </a:lnTo>
                      <a:lnTo>
                        <a:pt x="333780" y="60084"/>
                      </a:lnTo>
                      <a:lnTo>
                        <a:pt x="356630" y="69273"/>
                      </a:lnTo>
                      <a:lnTo>
                        <a:pt x="351626" y="61845"/>
                      </a:lnTo>
                      <a:lnTo>
                        <a:pt x="345756" y="57882"/>
                      </a:lnTo>
                      <a:lnTo>
                        <a:pt x="332698" y="55462"/>
                      </a:lnTo>
                      <a:lnTo>
                        <a:pt x="329686" y="56245"/>
                      </a:lnTo>
                      <a:lnTo>
                        <a:pt x="324092" y="60489"/>
                      </a:lnTo>
                      <a:lnTo>
                        <a:pt x="321680" y="61341"/>
                      </a:lnTo>
                      <a:lnTo>
                        <a:pt x="311279" y="61652"/>
                      </a:lnTo>
                      <a:lnTo>
                        <a:pt x="284144" y="79334"/>
                      </a:lnTo>
                      <a:lnTo>
                        <a:pt x="265641" y="84975"/>
                      </a:lnTo>
                      <a:lnTo>
                        <a:pt x="264120" y="87482"/>
                      </a:lnTo>
                      <a:lnTo>
                        <a:pt x="265714" y="91771"/>
                      </a:lnTo>
                      <a:lnTo>
                        <a:pt x="265480" y="94137"/>
                      </a:lnTo>
                      <a:lnTo>
                        <a:pt x="253780" y="101163"/>
                      </a:lnTo>
                      <a:lnTo>
                        <a:pt x="249971" y="102084"/>
                      </a:lnTo>
                      <a:lnTo>
                        <a:pt x="245910" y="102028"/>
                      </a:lnTo>
                      <a:lnTo>
                        <a:pt x="243320" y="103252"/>
                      </a:lnTo>
                      <a:lnTo>
                        <a:pt x="241026" y="106288"/>
                      </a:lnTo>
                      <a:lnTo>
                        <a:pt x="237906" y="111645"/>
                      </a:lnTo>
                      <a:lnTo>
                        <a:pt x="234364" y="116377"/>
                      </a:lnTo>
                      <a:lnTo>
                        <a:pt x="230558" y="119652"/>
                      </a:lnTo>
                      <a:lnTo>
                        <a:pt x="226673" y="121788"/>
                      </a:lnTo>
                      <a:lnTo>
                        <a:pt x="208778" y="126216"/>
                      </a:lnTo>
                      <a:lnTo>
                        <a:pt x="205693" y="123856"/>
                      </a:lnTo>
                      <a:lnTo>
                        <a:pt x="207705" y="122284"/>
                      </a:lnTo>
                      <a:lnTo>
                        <a:pt x="216751" y="119517"/>
                      </a:lnTo>
                      <a:lnTo>
                        <a:pt x="221165" y="116721"/>
                      </a:lnTo>
                      <a:lnTo>
                        <a:pt x="223222" y="116182"/>
                      </a:lnTo>
                      <a:lnTo>
                        <a:pt x="224689" y="115047"/>
                      </a:lnTo>
                      <a:lnTo>
                        <a:pt x="234912" y="103205"/>
                      </a:lnTo>
                      <a:lnTo>
                        <a:pt x="236393" y="100711"/>
                      </a:lnTo>
                      <a:lnTo>
                        <a:pt x="223812" y="103213"/>
                      </a:lnTo>
                      <a:lnTo>
                        <a:pt x="217987" y="96710"/>
                      </a:lnTo>
                      <a:lnTo>
                        <a:pt x="210866" y="97835"/>
                      </a:lnTo>
                      <a:lnTo>
                        <a:pt x="207671" y="95364"/>
                      </a:lnTo>
                      <a:lnTo>
                        <a:pt x="211285" y="90493"/>
                      </a:lnTo>
                      <a:lnTo>
                        <a:pt x="215809" y="88630"/>
                      </a:lnTo>
                      <a:lnTo>
                        <a:pt x="251772" y="86055"/>
                      </a:lnTo>
                      <a:lnTo>
                        <a:pt x="273431" y="77525"/>
                      </a:lnTo>
                      <a:lnTo>
                        <a:pt x="278771" y="71472"/>
                      </a:lnTo>
                      <a:lnTo>
                        <a:pt x="275190" y="71080"/>
                      </a:lnTo>
                      <a:lnTo>
                        <a:pt x="264114" y="77370"/>
                      </a:lnTo>
                      <a:lnTo>
                        <a:pt x="210926" y="83591"/>
                      </a:lnTo>
                      <a:lnTo>
                        <a:pt x="214564" y="79713"/>
                      </a:lnTo>
                      <a:lnTo>
                        <a:pt x="235995" y="63689"/>
                      </a:lnTo>
                      <a:lnTo>
                        <a:pt x="239277" y="63005"/>
                      </a:lnTo>
                      <a:lnTo>
                        <a:pt x="243114" y="64401"/>
                      </a:lnTo>
                      <a:lnTo>
                        <a:pt x="251329" y="73506"/>
                      </a:lnTo>
                      <a:lnTo>
                        <a:pt x="254327" y="74711"/>
                      </a:lnTo>
                      <a:lnTo>
                        <a:pt x="257476" y="73923"/>
                      </a:lnTo>
                      <a:lnTo>
                        <a:pt x="260702" y="71516"/>
                      </a:lnTo>
                      <a:lnTo>
                        <a:pt x="264049" y="67873"/>
                      </a:lnTo>
                      <a:lnTo>
                        <a:pt x="264283" y="65521"/>
                      </a:lnTo>
                      <a:lnTo>
                        <a:pt x="261736" y="66188"/>
                      </a:lnTo>
                      <a:lnTo>
                        <a:pt x="257069" y="70801"/>
                      </a:lnTo>
                      <a:lnTo>
                        <a:pt x="254714" y="71682"/>
                      </a:lnTo>
                      <a:lnTo>
                        <a:pt x="253087" y="70331"/>
                      </a:lnTo>
                      <a:lnTo>
                        <a:pt x="247434" y="61261"/>
                      </a:lnTo>
                      <a:lnTo>
                        <a:pt x="250342" y="58682"/>
                      </a:lnTo>
                      <a:lnTo>
                        <a:pt x="260188" y="55413"/>
                      </a:lnTo>
                      <a:lnTo>
                        <a:pt x="263094" y="55800"/>
                      </a:lnTo>
                      <a:lnTo>
                        <a:pt x="268780" y="59292"/>
                      </a:lnTo>
                      <a:lnTo>
                        <a:pt x="270956" y="59082"/>
                      </a:lnTo>
                      <a:lnTo>
                        <a:pt x="270333" y="57875"/>
                      </a:lnTo>
                      <a:lnTo>
                        <a:pt x="269380" y="55164"/>
                      </a:lnTo>
                      <a:lnTo>
                        <a:pt x="268551" y="53868"/>
                      </a:lnTo>
                      <a:lnTo>
                        <a:pt x="270673" y="52012"/>
                      </a:lnTo>
                      <a:lnTo>
                        <a:pt x="272132" y="53229"/>
                      </a:lnTo>
                      <a:lnTo>
                        <a:pt x="273422" y="55549"/>
                      </a:lnTo>
                      <a:lnTo>
                        <a:pt x="275193" y="56898"/>
                      </a:lnTo>
                      <a:lnTo>
                        <a:pt x="282254" y="56145"/>
                      </a:lnTo>
                      <a:lnTo>
                        <a:pt x="290886" y="52244"/>
                      </a:lnTo>
                      <a:lnTo>
                        <a:pt x="292477" y="50375"/>
                      </a:lnTo>
                      <a:lnTo>
                        <a:pt x="298997" y="49447"/>
                      </a:lnTo>
                      <a:lnTo>
                        <a:pt x="301332" y="47775"/>
                      </a:lnTo>
                      <a:lnTo>
                        <a:pt x="298978" y="45896"/>
                      </a:lnTo>
                      <a:lnTo>
                        <a:pt x="297299" y="43233"/>
                      </a:lnTo>
                      <a:lnTo>
                        <a:pt x="297160" y="40081"/>
                      </a:lnTo>
                      <a:lnTo>
                        <a:pt x="299348" y="36686"/>
                      </a:lnTo>
                      <a:lnTo>
                        <a:pt x="308609" y="29269"/>
                      </a:lnTo>
                      <a:lnTo>
                        <a:pt x="313926" y="27256"/>
                      </a:lnTo>
                      <a:lnTo>
                        <a:pt x="319519" y="23159"/>
                      </a:lnTo>
                      <a:lnTo>
                        <a:pt x="324862" y="21440"/>
                      </a:lnTo>
                      <a:lnTo>
                        <a:pt x="329359" y="26493"/>
                      </a:lnTo>
                      <a:lnTo>
                        <a:pt x="328598" y="29687"/>
                      </a:lnTo>
                      <a:lnTo>
                        <a:pt x="328393" y="33187"/>
                      </a:lnTo>
                      <a:lnTo>
                        <a:pt x="328971" y="35445"/>
                      </a:lnTo>
                      <a:lnTo>
                        <a:pt x="330575" y="35000"/>
                      </a:lnTo>
                      <a:lnTo>
                        <a:pt x="331504" y="33334"/>
                      </a:lnTo>
                      <a:lnTo>
                        <a:pt x="333052" y="28191"/>
                      </a:lnTo>
                      <a:lnTo>
                        <a:pt x="333972" y="25702"/>
                      </a:lnTo>
                      <a:lnTo>
                        <a:pt x="334286" y="25334"/>
                      </a:lnTo>
                      <a:lnTo>
                        <a:pt x="334295" y="25343"/>
                      </a:lnTo>
                      <a:lnTo>
                        <a:pt x="335054" y="25969"/>
                      </a:lnTo>
                      <a:lnTo>
                        <a:pt x="335663" y="31929"/>
                      </a:lnTo>
                      <a:lnTo>
                        <a:pt x="338256" y="35685"/>
                      </a:lnTo>
                      <a:lnTo>
                        <a:pt x="340093" y="38707"/>
                      </a:lnTo>
                      <a:lnTo>
                        <a:pt x="342202" y="40245"/>
                      </a:lnTo>
                      <a:lnTo>
                        <a:pt x="344765" y="40549"/>
                      </a:lnTo>
                      <a:lnTo>
                        <a:pt x="349117" y="40011"/>
                      </a:lnTo>
                      <a:lnTo>
                        <a:pt x="350713" y="40701"/>
                      </a:lnTo>
                      <a:lnTo>
                        <a:pt x="351776" y="43952"/>
                      </a:lnTo>
                      <a:lnTo>
                        <a:pt x="351690" y="44415"/>
                      </a:lnTo>
                      <a:lnTo>
                        <a:pt x="351002" y="46486"/>
                      </a:lnTo>
                      <a:lnTo>
                        <a:pt x="350904" y="48499"/>
                      </a:lnTo>
                      <a:lnTo>
                        <a:pt x="352412" y="49919"/>
                      </a:lnTo>
                      <a:lnTo>
                        <a:pt x="353845" y="49780"/>
                      </a:lnTo>
                      <a:lnTo>
                        <a:pt x="355068" y="48390"/>
                      </a:lnTo>
                      <a:lnTo>
                        <a:pt x="355094" y="48366"/>
                      </a:lnTo>
                      <a:lnTo>
                        <a:pt x="358166" y="48932"/>
                      </a:lnTo>
                      <a:lnTo>
                        <a:pt x="360689" y="50217"/>
                      </a:lnTo>
                      <a:lnTo>
                        <a:pt x="362503" y="52674"/>
                      </a:lnTo>
                      <a:lnTo>
                        <a:pt x="365008" y="57005"/>
                      </a:lnTo>
                      <a:lnTo>
                        <a:pt x="367485" y="58855"/>
                      </a:lnTo>
                      <a:lnTo>
                        <a:pt x="370088" y="59113"/>
                      </a:lnTo>
                      <a:lnTo>
                        <a:pt x="376333" y="56134"/>
                      </a:lnTo>
                      <a:lnTo>
                        <a:pt x="386519" y="55059"/>
                      </a:lnTo>
                      <a:lnTo>
                        <a:pt x="406556" y="60358"/>
                      </a:lnTo>
                      <a:lnTo>
                        <a:pt x="408604" y="62512"/>
                      </a:lnTo>
                      <a:lnTo>
                        <a:pt x="410764" y="66172"/>
                      </a:lnTo>
                      <a:lnTo>
                        <a:pt x="415269" y="70589"/>
                      </a:lnTo>
                      <a:lnTo>
                        <a:pt x="427341" y="70712"/>
                      </a:lnTo>
                      <a:lnTo>
                        <a:pt x="434891" y="72310"/>
                      </a:lnTo>
                      <a:lnTo>
                        <a:pt x="436234" y="71467"/>
                      </a:lnTo>
                      <a:lnTo>
                        <a:pt x="438121" y="69801"/>
                      </a:lnTo>
                      <a:lnTo>
                        <a:pt x="439545" y="67369"/>
                      </a:lnTo>
                      <a:lnTo>
                        <a:pt x="442092" y="65206"/>
                      </a:lnTo>
                      <a:lnTo>
                        <a:pt x="455685" y="63673"/>
                      </a:lnTo>
                      <a:lnTo>
                        <a:pt x="459206" y="61969"/>
                      </a:lnTo>
                      <a:lnTo>
                        <a:pt x="461501" y="60042"/>
                      </a:lnTo>
                      <a:lnTo>
                        <a:pt x="462495" y="58362"/>
                      </a:lnTo>
                      <a:lnTo>
                        <a:pt x="462839" y="57457"/>
                      </a:lnTo>
                      <a:lnTo>
                        <a:pt x="462963" y="57028"/>
                      </a:lnTo>
                      <a:lnTo>
                        <a:pt x="462199" y="52837"/>
                      </a:lnTo>
                      <a:lnTo>
                        <a:pt x="462035" y="49992"/>
                      </a:lnTo>
                      <a:lnTo>
                        <a:pt x="463336" y="46696"/>
                      </a:lnTo>
                      <a:lnTo>
                        <a:pt x="465223" y="45201"/>
                      </a:lnTo>
                      <a:lnTo>
                        <a:pt x="470742" y="43747"/>
                      </a:lnTo>
                      <a:lnTo>
                        <a:pt x="476300" y="39889"/>
                      </a:lnTo>
                      <a:lnTo>
                        <a:pt x="485195" y="31802"/>
                      </a:lnTo>
                      <a:lnTo>
                        <a:pt x="487206" y="29569"/>
                      </a:lnTo>
                      <a:lnTo>
                        <a:pt x="489137" y="25576"/>
                      </a:lnTo>
                      <a:lnTo>
                        <a:pt x="491910" y="20604"/>
                      </a:lnTo>
                      <a:lnTo>
                        <a:pt x="493406" y="19338"/>
                      </a:lnTo>
                      <a:lnTo>
                        <a:pt x="495316" y="18298"/>
                      </a:lnTo>
                      <a:close/>
                      <a:moveTo>
                        <a:pt x="280594" y="0"/>
                      </a:moveTo>
                      <a:lnTo>
                        <a:pt x="284516" y="512"/>
                      </a:lnTo>
                      <a:lnTo>
                        <a:pt x="287030" y="2170"/>
                      </a:lnTo>
                      <a:lnTo>
                        <a:pt x="288505" y="4238"/>
                      </a:lnTo>
                      <a:lnTo>
                        <a:pt x="289460" y="4938"/>
                      </a:lnTo>
                      <a:lnTo>
                        <a:pt x="290308" y="4300"/>
                      </a:lnTo>
                      <a:lnTo>
                        <a:pt x="290673" y="3232"/>
                      </a:lnTo>
                      <a:lnTo>
                        <a:pt x="292240" y="2167"/>
                      </a:lnTo>
                      <a:lnTo>
                        <a:pt x="295094" y="1060"/>
                      </a:lnTo>
                      <a:lnTo>
                        <a:pt x="297256" y="1578"/>
                      </a:lnTo>
                      <a:lnTo>
                        <a:pt x="297023" y="4482"/>
                      </a:lnTo>
                      <a:lnTo>
                        <a:pt x="295038" y="7048"/>
                      </a:lnTo>
                      <a:lnTo>
                        <a:pt x="291928" y="9178"/>
                      </a:lnTo>
                      <a:lnTo>
                        <a:pt x="286287" y="13326"/>
                      </a:lnTo>
                      <a:lnTo>
                        <a:pt x="283115" y="14572"/>
                      </a:lnTo>
                      <a:lnTo>
                        <a:pt x="280726" y="16218"/>
                      </a:lnTo>
                      <a:lnTo>
                        <a:pt x="280606" y="17323"/>
                      </a:lnTo>
                      <a:lnTo>
                        <a:pt x="282732" y="17518"/>
                      </a:lnTo>
                      <a:lnTo>
                        <a:pt x="284446" y="19000"/>
                      </a:lnTo>
                      <a:lnTo>
                        <a:pt x="283857" y="21488"/>
                      </a:lnTo>
                      <a:lnTo>
                        <a:pt x="281584" y="23642"/>
                      </a:lnTo>
                      <a:lnTo>
                        <a:pt x="279218" y="25390"/>
                      </a:lnTo>
                      <a:lnTo>
                        <a:pt x="277363" y="26070"/>
                      </a:lnTo>
                      <a:lnTo>
                        <a:pt x="276694" y="24859"/>
                      </a:lnTo>
                      <a:lnTo>
                        <a:pt x="277137" y="22908"/>
                      </a:lnTo>
                      <a:lnTo>
                        <a:pt x="277214" y="20795"/>
                      </a:lnTo>
                      <a:lnTo>
                        <a:pt x="277226" y="19948"/>
                      </a:lnTo>
                      <a:lnTo>
                        <a:pt x="278222" y="18420"/>
                      </a:lnTo>
                      <a:lnTo>
                        <a:pt x="277068" y="18164"/>
                      </a:lnTo>
                      <a:lnTo>
                        <a:pt x="273500" y="20259"/>
                      </a:lnTo>
                      <a:lnTo>
                        <a:pt x="269762" y="23326"/>
                      </a:lnTo>
                      <a:lnTo>
                        <a:pt x="266133" y="24917"/>
                      </a:lnTo>
                      <a:lnTo>
                        <a:pt x="263033" y="24778"/>
                      </a:lnTo>
                      <a:lnTo>
                        <a:pt x="257692" y="19886"/>
                      </a:lnTo>
                      <a:lnTo>
                        <a:pt x="257896" y="18451"/>
                      </a:lnTo>
                      <a:lnTo>
                        <a:pt x="259079" y="17466"/>
                      </a:lnTo>
                      <a:lnTo>
                        <a:pt x="259367" y="16859"/>
                      </a:lnTo>
                      <a:lnTo>
                        <a:pt x="258975" y="16254"/>
                      </a:lnTo>
                      <a:lnTo>
                        <a:pt x="259863" y="12864"/>
                      </a:lnTo>
                      <a:lnTo>
                        <a:pt x="260519" y="9535"/>
                      </a:lnTo>
                      <a:lnTo>
                        <a:pt x="262171" y="7436"/>
                      </a:lnTo>
                      <a:lnTo>
                        <a:pt x="264332" y="6069"/>
                      </a:lnTo>
                      <a:lnTo>
                        <a:pt x="266187" y="3594"/>
                      </a:lnTo>
                      <a:lnTo>
                        <a:pt x="268506" y="1818"/>
                      </a:lnTo>
                      <a:close/>
                    </a:path>
                  </a:pathLst>
                </a:custGeom>
                <a:solidFill>
                  <a:srgbClr val="C7DFE3"/>
                </a:solidFill>
                <a:ln w="3175" cap="rnd">
                  <a:solidFill>
                    <a:srgbClr val="C7DFE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b-NO" sz="1600" dirty="0" err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pic>
            <p:nvPicPr>
              <p:cNvPr id="15" name="Picture 2" descr="Image result for agder energi nett logo">
                <a:extLst>
                  <a:ext uri="{FF2B5EF4-FFF2-40B4-BE49-F238E27FC236}">
                    <a16:creationId xmlns:a16="http://schemas.microsoft.com/office/drawing/2014/main" id="{E592CE3B-6186-479B-85B7-1AD2E9A179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7184" b="35442"/>
              <a:stretch/>
            </p:blipFill>
            <p:spPr bwMode="auto">
              <a:xfrm>
                <a:off x="2422326" y="4351822"/>
                <a:ext cx="1150097" cy="1889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6" descr="Image result for møre nett logo">
                <a:extLst>
                  <a:ext uri="{FF2B5EF4-FFF2-40B4-BE49-F238E27FC236}">
                    <a16:creationId xmlns:a16="http://schemas.microsoft.com/office/drawing/2014/main" id="{F42F037D-9446-48C1-9DC2-2A3CB255BD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45368" y="2495870"/>
                <a:ext cx="1060607" cy="2541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8" descr="Image result for troms kraft nett logo">
                <a:extLst>
                  <a:ext uri="{FF2B5EF4-FFF2-40B4-BE49-F238E27FC236}">
                    <a16:creationId xmlns:a16="http://schemas.microsoft.com/office/drawing/2014/main" id="{4FC69DDB-494C-4ACA-855A-2494C76C5B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78059" y="697167"/>
                <a:ext cx="1164186" cy="2852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10" descr="Image result for varanger kraft nett logo">
                <a:extLst>
                  <a:ext uri="{FF2B5EF4-FFF2-40B4-BE49-F238E27FC236}">
                    <a16:creationId xmlns:a16="http://schemas.microsoft.com/office/drawing/2014/main" id="{6B13D68A-FEB6-43E9-9E4F-F15CF323B8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88077" y="1149205"/>
                <a:ext cx="1085157" cy="1356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12" descr="Image result for helgeland kraft nett logo">
                <a:extLst>
                  <a:ext uri="{FF2B5EF4-FFF2-40B4-BE49-F238E27FC236}">
                    <a16:creationId xmlns:a16="http://schemas.microsoft.com/office/drawing/2014/main" id="{8DF76B42-7298-497D-BF20-C6ACB0F3575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07753" y="1666686"/>
                <a:ext cx="1063700" cy="2592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14" descr="Image result for lyse nett logo">
                <a:extLst>
                  <a:ext uri="{FF2B5EF4-FFF2-40B4-BE49-F238E27FC236}">
                    <a16:creationId xmlns:a16="http://schemas.microsoft.com/office/drawing/2014/main" id="{5B90A00D-01A0-46A1-BEDD-74ED85E0F6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8073" y="3750397"/>
                <a:ext cx="608509" cy="3998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244A567-48A2-4FFA-9C15-83F1416CCFAF}"/>
                  </a:ext>
                </a:extLst>
              </p:cNvPr>
              <p:cNvSpPr txBox="1"/>
              <p:nvPr/>
            </p:nvSpPr>
            <p:spPr>
              <a:xfrm>
                <a:off x="2532748" y="4487468"/>
                <a:ext cx="1039675" cy="3693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800" dirty="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109 meter nett per kunde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4AB8A50-BFDB-4A72-AC2C-1654DAB2A9BB}"/>
                  </a:ext>
                </a:extLst>
              </p:cNvPr>
              <p:cNvSpPr txBox="1"/>
              <p:nvPr/>
            </p:nvSpPr>
            <p:spPr>
              <a:xfrm>
                <a:off x="1196411" y="2701309"/>
                <a:ext cx="1093394" cy="3693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800" dirty="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111 meter nett per kunde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D4189B9-9B14-45CC-9E34-4479DF6D73C6}"/>
                  </a:ext>
                </a:extLst>
              </p:cNvPr>
              <p:cNvSpPr txBox="1"/>
              <p:nvPr/>
            </p:nvSpPr>
            <p:spPr>
              <a:xfrm>
                <a:off x="2573983" y="861839"/>
                <a:ext cx="1048733" cy="3693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800" dirty="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139 meter nett per kunde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3D9B949-0B47-432D-AA1F-96FEB44F4DCB}"/>
                  </a:ext>
                </a:extLst>
              </p:cNvPr>
              <p:cNvSpPr txBox="1"/>
              <p:nvPr/>
            </p:nvSpPr>
            <p:spPr>
              <a:xfrm>
                <a:off x="4839773" y="1277552"/>
                <a:ext cx="1085156" cy="3693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800" dirty="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201 meter nett per kunde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6D519C4-F4A4-4ACE-9B5D-926EB7385CB9}"/>
                  </a:ext>
                </a:extLst>
              </p:cNvPr>
              <p:cNvSpPr txBox="1"/>
              <p:nvPr/>
            </p:nvSpPr>
            <p:spPr>
              <a:xfrm>
                <a:off x="886534" y="4124561"/>
                <a:ext cx="93652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b-NO" sz="800" dirty="0">
                    <a:solidFill>
                      <a:schemeClr val="tx2">
                        <a:lumMod val="90000"/>
                        <a:lumOff val="10000"/>
                      </a:schemeClr>
                    </a:solidFill>
                  </a:rPr>
                  <a:t>97 meter nett per kunde</a:t>
                </a: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72C6721-E995-4B6E-8B27-1E8BACE4B349}"/>
                </a:ext>
              </a:extLst>
            </p:cNvPr>
            <p:cNvSpPr txBox="1"/>
            <p:nvPr/>
          </p:nvSpPr>
          <p:spPr>
            <a:xfrm>
              <a:off x="2016488" y="2312025"/>
              <a:ext cx="93652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80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176 meter nett per kunde</a:t>
              </a: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008F6C10-5F48-476F-A1AF-BB7212E8A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3607666" y="2912480"/>
              <a:ext cx="1345126" cy="1492537"/>
            </a:xfrm>
            <a:prstGeom prst="rect">
              <a:avLst/>
            </a:prstGeom>
          </p:spPr>
        </p:pic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A53E348-B1F6-464F-83C3-300E2B7B5510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328122" y="2330513"/>
            <a:ext cx="613534" cy="495032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43BFBA51-1CCB-4844-BB0B-D9C24C000F7C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876091" y="2305325"/>
            <a:ext cx="305621" cy="579896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676CD6C1-6330-4E57-8D78-BEE16E90FC15}"/>
              </a:ext>
            </a:extLst>
          </p:cNvPr>
          <p:cNvPicPr>
            <a:picLocks noChangeAspect="1"/>
          </p:cNvPicPr>
          <p:nvPr/>
        </p:nvPicPr>
        <p:blipFill rotWithShape="1">
          <a:blip r:embed="rId37"/>
          <a:srcRect t="3828" r="9678"/>
          <a:stretch/>
        </p:blipFill>
        <p:spPr>
          <a:xfrm>
            <a:off x="7964834" y="95242"/>
            <a:ext cx="1171215" cy="81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978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DB21282-BAAD-41EE-AAAA-9AF3A34A5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80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1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73FA557-2632-45A6-AB97-03FF28CD80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800F133-CF21-412D-9CAB-56C4AAF742F4}"/>
              </a:ext>
            </a:extLst>
          </p:cNvPr>
          <p:cNvSpPr/>
          <p:nvPr/>
        </p:nvSpPr>
        <p:spPr>
          <a:xfrm>
            <a:off x="4700762" y="1285834"/>
            <a:ext cx="3159993" cy="370109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209" dirty="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C88FDF2-5200-4B92-BAC3-A61B234A1FB1}"/>
              </a:ext>
            </a:extLst>
          </p:cNvPr>
          <p:cNvSpPr/>
          <p:nvPr/>
        </p:nvSpPr>
        <p:spPr>
          <a:xfrm>
            <a:off x="1391834" y="1285834"/>
            <a:ext cx="3168245" cy="370109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209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81BD431-CB52-4D99-B677-F321A3C3F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4062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6BA06D-219D-4DB1-961A-7AFCA7FAE0C4}" type="slidenum">
              <a:rPr lang="nb-NO" smtClean="0"/>
              <a:pPr/>
              <a:t>29</a:t>
            </a:fld>
            <a:endParaRPr lang="nb-NO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8568FF-1D1A-4980-9E3E-82C95CC96DD3}"/>
              </a:ext>
            </a:extLst>
          </p:cNvPr>
          <p:cNvSpPr/>
          <p:nvPr/>
        </p:nvSpPr>
        <p:spPr>
          <a:xfrm>
            <a:off x="1613920" y="2324043"/>
            <a:ext cx="326568" cy="25540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Nettselskapets kostnad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37EE301-929E-4DA1-8EA9-4EB1BF3926DB}"/>
              </a:ext>
            </a:extLst>
          </p:cNvPr>
          <p:cNvSpPr/>
          <p:nvPr/>
        </p:nvSpPr>
        <p:spPr>
          <a:xfrm>
            <a:off x="2050366" y="3898941"/>
            <a:ext cx="326568" cy="9791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40 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D9090F9-779B-444A-8033-C1EA9ABFFBB0}"/>
              </a:ext>
            </a:extLst>
          </p:cNvPr>
          <p:cNvSpPr/>
          <p:nvPr/>
        </p:nvSpPr>
        <p:spPr>
          <a:xfrm>
            <a:off x="2641390" y="2156676"/>
            <a:ext cx="326568" cy="174415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58">
                <a:solidFill>
                  <a:schemeClr val="bg1"/>
                </a:solidFill>
              </a:rPr>
              <a:t>  </a:t>
            </a:r>
            <a:endParaRPr lang="nb-NO" sz="1058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24B72E-0FA2-472E-98BE-280E13FE1692}"/>
              </a:ext>
            </a:extLst>
          </p:cNvPr>
          <p:cNvSpPr/>
          <p:nvPr/>
        </p:nvSpPr>
        <p:spPr>
          <a:xfrm>
            <a:off x="3416052" y="3898941"/>
            <a:ext cx="326568" cy="9791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40 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BE9151-CEB9-4D26-BC3A-F962CA1D9B35}"/>
              </a:ext>
            </a:extLst>
          </p:cNvPr>
          <p:cNvSpPr/>
          <p:nvPr/>
        </p:nvSpPr>
        <p:spPr>
          <a:xfrm>
            <a:off x="3418605" y="2154785"/>
            <a:ext cx="326568" cy="174415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00" b="1">
                <a:solidFill>
                  <a:schemeClr val="bg1"/>
                </a:solidFill>
              </a:rPr>
              <a:t>  &gt;60 </a:t>
            </a:r>
            <a:r>
              <a:rPr lang="nb-NO" sz="1000" b="1" dirty="0">
                <a:solidFill>
                  <a:schemeClr val="bg1"/>
                </a:solidFill>
              </a:rPr>
              <a:t>%</a:t>
            </a:r>
            <a:r>
              <a:rPr lang="nb-NO" sz="1000" dirty="0">
                <a:solidFill>
                  <a:schemeClr val="bg1"/>
                </a:solidFill>
              </a:rPr>
              <a:t> av kostnaden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F3DA26-EC54-40EB-8336-885BF4E5B94A}"/>
              </a:ext>
            </a:extLst>
          </p:cNvPr>
          <p:cNvSpPr/>
          <p:nvPr/>
        </p:nvSpPr>
        <p:spPr>
          <a:xfrm>
            <a:off x="4867087" y="2156681"/>
            <a:ext cx="326568" cy="272139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Nettselskaps kostnad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F259EF7-BAD3-4941-8083-A0155F4C7CC0}"/>
              </a:ext>
            </a:extLst>
          </p:cNvPr>
          <p:cNvSpPr/>
          <p:nvPr/>
        </p:nvSpPr>
        <p:spPr>
          <a:xfrm>
            <a:off x="5302511" y="3789519"/>
            <a:ext cx="326568" cy="108855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40 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D89E0F3-A17D-44E6-ADA0-BCFADF340E97}"/>
              </a:ext>
            </a:extLst>
          </p:cNvPr>
          <p:cNvSpPr/>
          <p:nvPr/>
        </p:nvSpPr>
        <p:spPr>
          <a:xfrm>
            <a:off x="6537117" y="3789519"/>
            <a:ext cx="326568" cy="108855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40 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112E37-014D-4CB7-8C71-19BF493950DF}"/>
              </a:ext>
            </a:extLst>
          </p:cNvPr>
          <p:cNvSpPr/>
          <p:nvPr/>
        </p:nvSpPr>
        <p:spPr>
          <a:xfrm>
            <a:off x="6538139" y="2374386"/>
            <a:ext cx="326568" cy="14078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000" b="1">
                <a:solidFill>
                  <a:schemeClr val="bg1"/>
                </a:solidFill>
              </a:rPr>
              <a:t>  &lt;60 </a:t>
            </a:r>
            <a:r>
              <a:rPr lang="nb-NO" sz="1000" b="1" dirty="0">
                <a:solidFill>
                  <a:schemeClr val="bg1"/>
                </a:solidFill>
              </a:rPr>
              <a:t>%</a:t>
            </a:r>
            <a:r>
              <a:rPr lang="nb-NO" sz="1000" dirty="0">
                <a:solidFill>
                  <a:schemeClr val="bg1"/>
                </a:solidFill>
              </a:rPr>
              <a:t> av kostnaden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E10829-B67A-4E05-97E7-F36DB6255134}"/>
              </a:ext>
            </a:extLst>
          </p:cNvPr>
          <p:cNvGrpSpPr/>
          <p:nvPr/>
        </p:nvGrpSpPr>
        <p:grpSpPr>
          <a:xfrm>
            <a:off x="5841148" y="2160392"/>
            <a:ext cx="329131" cy="1629127"/>
            <a:chOff x="9009745" y="2713829"/>
            <a:chExt cx="435440" cy="215533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69850DE-D0FB-4CA3-A5F4-9F8D4FC5EDEE}"/>
                </a:ext>
              </a:extLst>
            </p:cNvPr>
            <p:cNvSpPr/>
            <p:nvPr/>
          </p:nvSpPr>
          <p:spPr>
            <a:xfrm>
              <a:off x="9013137" y="2996950"/>
              <a:ext cx="432048" cy="187221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1058">
                  <a:solidFill>
                    <a:schemeClr val="bg1"/>
                  </a:solidFill>
                </a:rPr>
                <a:t>  </a:t>
              </a:r>
              <a:endParaRPr lang="nb-NO" sz="1058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77A19C3-6DA1-48AC-9729-96944D63FF83}"/>
                </a:ext>
              </a:extLst>
            </p:cNvPr>
            <p:cNvSpPr/>
            <p:nvPr/>
          </p:nvSpPr>
          <p:spPr>
            <a:xfrm>
              <a:off x="9009745" y="2713829"/>
              <a:ext cx="432048" cy="28311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vert270" wrap="square" lIns="69116" tIns="34558" rIns="69116" bIns="3455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209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CC2631B-769A-44FA-8376-18DCB7DF8F32}"/>
              </a:ext>
            </a:extLst>
          </p:cNvPr>
          <p:cNvCxnSpPr>
            <a:cxnSpLocks/>
          </p:cNvCxnSpPr>
          <p:nvPr/>
        </p:nvCxnSpPr>
        <p:spPr bwMode="auto">
          <a:xfrm>
            <a:off x="1971393" y="2307752"/>
            <a:ext cx="1422375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Right Brace 4">
            <a:extLst>
              <a:ext uri="{FF2B5EF4-FFF2-40B4-BE49-F238E27FC236}">
                <a16:creationId xmlns:a16="http://schemas.microsoft.com/office/drawing/2014/main" id="{8D7CAD8E-C0D5-4A33-9B6E-7A2A11E68725}"/>
              </a:ext>
            </a:extLst>
          </p:cNvPr>
          <p:cNvSpPr/>
          <p:nvPr/>
        </p:nvSpPr>
        <p:spPr bwMode="auto">
          <a:xfrm>
            <a:off x="3783089" y="2100318"/>
            <a:ext cx="87461" cy="191139"/>
          </a:xfrm>
          <a:prstGeom prst="rightBrac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 sz="1029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62B58E-0281-476A-8AD1-42E68C58420A}"/>
              </a:ext>
            </a:extLst>
          </p:cNvPr>
          <p:cNvSpPr txBox="1"/>
          <p:nvPr/>
        </p:nvSpPr>
        <p:spPr>
          <a:xfrm>
            <a:off x="3885067" y="1910518"/>
            <a:ext cx="793034" cy="2793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831" dirty="0"/>
              <a:t>Avkastning er </a:t>
            </a:r>
            <a:r>
              <a:rPr lang="nb-NO" sz="831" u="sng" dirty="0"/>
              <a:t>over</a:t>
            </a:r>
            <a:r>
              <a:rPr lang="nb-NO" sz="831" dirty="0"/>
              <a:t> NVE-renten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1D9C0FC-7372-4AB3-8C73-97809806FEA9}"/>
              </a:ext>
            </a:extLst>
          </p:cNvPr>
          <p:cNvCxnSpPr>
            <a:cxnSpLocks/>
          </p:cNvCxnSpPr>
          <p:nvPr/>
        </p:nvCxnSpPr>
        <p:spPr bwMode="auto">
          <a:xfrm>
            <a:off x="5229393" y="2156680"/>
            <a:ext cx="1721074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2" name="Right Brace 51">
            <a:extLst>
              <a:ext uri="{FF2B5EF4-FFF2-40B4-BE49-F238E27FC236}">
                <a16:creationId xmlns:a16="http://schemas.microsoft.com/office/drawing/2014/main" id="{97C3C320-E595-479E-8AE5-625280D4DA4C}"/>
              </a:ext>
            </a:extLst>
          </p:cNvPr>
          <p:cNvSpPr/>
          <p:nvPr/>
        </p:nvSpPr>
        <p:spPr bwMode="auto">
          <a:xfrm>
            <a:off x="6982846" y="2156676"/>
            <a:ext cx="107219" cy="217710"/>
          </a:xfrm>
          <a:prstGeom prst="rightBrac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 sz="1029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53AF2F1-9B4F-450A-8F4C-77A0B591050C}"/>
              </a:ext>
            </a:extLst>
          </p:cNvPr>
          <p:cNvSpPr txBox="1"/>
          <p:nvPr/>
        </p:nvSpPr>
        <p:spPr>
          <a:xfrm>
            <a:off x="7116073" y="2100319"/>
            <a:ext cx="744682" cy="2793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831" dirty="0"/>
              <a:t>Avkastning er </a:t>
            </a:r>
            <a:r>
              <a:rPr lang="nb-NO" sz="831" u="sng" dirty="0"/>
              <a:t>under</a:t>
            </a:r>
            <a:r>
              <a:rPr lang="nb-NO" sz="831" dirty="0"/>
              <a:t> NVE-rent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6E385E-60B6-411A-B619-BEB8C6120D62}"/>
              </a:ext>
            </a:extLst>
          </p:cNvPr>
          <p:cNvSpPr txBox="1"/>
          <p:nvPr/>
        </p:nvSpPr>
        <p:spPr>
          <a:xfrm>
            <a:off x="2402330" y="1491643"/>
            <a:ext cx="1352375" cy="2169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907" b="1" dirty="0"/>
              <a:t>Beregning av kostnadsnor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D160284-DB6B-4315-A8A0-27B1A0E166C6}"/>
              </a:ext>
            </a:extLst>
          </p:cNvPr>
          <p:cNvSpPr txBox="1"/>
          <p:nvPr/>
        </p:nvSpPr>
        <p:spPr>
          <a:xfrm>
            <a:off x="5629079" y="1475857"/>
            <a:ext cx="1122915" cy="2169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907" b="1" dirty="0"/>
              <a:t>Beregning av kostnadsnorm</a:t>
            </a: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A5A5DCFB-126F-4856-99F2-B107949E8EF7}"/>
              </a:ext>
            </a:extLst>
          </p:cNvPr>
          <p:cNvSpPr/>
          <p:nvPr/>
        </p:nvSpPr>
        <p:spPr>
          <a:xfrm>
            <a:off x="1540441" y="1712034"/>
            <a:ext cx="869824" cy="344447"/>
          </a:xfrm>
          <a:prstGeom prst="wedgeRectCallout">
            <a:avLst>
              <a:gd name="adj1" fmla="val -11812"/>
              <a:gd name="adj2" fmla="val 7205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7" dirty="0">
                <a:solidFill>
                  <a:schemeClr val="tx1"/>
                </a:solidFill>
              </a:rPr>
              <a:t>Kostnader med NVE-renten</a:t>
            </a:r>
          </a:p>
        </p:txBody>
      </p:sp>
      <p:sp>
        <p:nvSpPr>
          <p:cNvPr id="56" name="Speech Bubble: Rectangle 55">
            <a:extLst>
              <a:ext uri="{FF2B5EF4-FFF2-40B4-BE49-F238E27FC236}">
                <a16:creationId xmlns:a16="http://schemas.microsoft.com/office/drawing/2014/main" id="{0B96A233-9CC3-4799-98E7-4D9D2D1435AA}"/>
              </a:ext>
            </a:extLst>
          </p:cNvPr>
          <p:cNvSpPr/>
          <p:nvPr/>
        </p:nvSpPr>
        <p:spPr>
          <a:xfrm>
            <a:off x="4775070" y="1712034"/>
            <a:ext cx="869824" cy="344447"/>
          </a:xfrm>
          <a:prstGeom prst="wedgeRectCallout">
            <a:avLst>
              <a:gd name="adj1" fmla="val -11812"/>
              <a:gd name="adj2" fmla="val 7205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7" dirty="0">
                <a:solidFill>
                  <a:schemeClr val="tx1"/>
                </a:solidFill>
              </a:rPr>
              <a:t>Kostnader med NVE-rente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549BC18-084B-4F43-8C8C-815481BE02A6}"/>
              </a:ext>
            </a:extLst>
          </p:cNvPr>
          <p:cNvSpPr txBox="1"/>
          <p:nvPr/>
        </p:nvSpPr>
        <p:spPr>
          <a:xfrm>
            <a:off x="3291325" y="1488976"/>
            <a:ext cx="1099915" cy="2169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907" b="1" dirty="0"/>
              <a:t>Inntektsramm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B0393A6-08F7-4596-A05D-DEE6D04FB50B}"/>
              </a:ext>
            </a:extLst>
          </p:cNvPr>
          <p:cNvSpPr txBox="1"/>
          <p:nvPr/>
        </p:nvSpPr>
        <p:spPr>
          <a:xfrm>
            <a:off x="6562020" y="1495608"/>
            <a:ext cx="893547" cy="2169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907" b="1" dirty="0"/>
              <a:t>Inntektsramm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01C54A9-0362-4295-BAB2-62F25CDB3C92}"/>
              </a:ext>
            </a:extLst>
          </p:cNvPr>
          <p:cNvSpPr txBox="1"/>
          <p:nvPr/>
        </p:nvSpPr>
        <p:spPr>
          <a:xfrm>
            <a:off x="1614602" y="1485815"/>
            <a:ext cx="893547" cy="2169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907" b="1" dirty="0"/>
              <a:t>Kostnad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B66B607-22A1-408B-B4A3-DE79CEA00A8E}"/>
              </a:ext>
            </a:extLst>
          </p:cNvPr>
          <p:cNvSpPr txBox="1"/>
          <p:nvPr/>
        </p:nvSpPr>
        <p:spPr>
          <a:xfrm>
            <a:off x="4855737" y="1504352"/>
            <a:ext cx="893547" cy="2169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907" b="1" dirty="0"/>
              <a:t>Kostnad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CEBC0F-9859-459E-9162-E359B31DD9D8}"/>
              </a:ext>
            </a:extLst>
          </p:cNvPr>
          <p:cNvSpPr txBox="1"/>
          <p:nvPr/>
        </p:nvSpPr>
        <p:spPr>
          <a:xfrm>
            <a:off x="1802327" y="1220391"/>
            <a:ext cx="2491370" cy="150368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nb-NO" sz="1029" b="1"/>
              <a:t>Over gjennomsnitt effektiv selskap</a:t>
            </a:r>
            <a:endParaRPr lang="nb-NO" sz="1029" b="1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98EFF17-7EB1-4B78-8788-EF706C886961}"/>
              </a:ext>
            </a:extLst>
          </p:cNvPr>
          <p:cNvSpPr txBox="1"/>
          <p:nvPr/>
        </p:nvSpPr>
        <p:spPr>
          <a:xfrm>
            <a:off x="4885319" y="1176978"/>
            <a:ext cx="2999054" cy="21690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nb-NO" sz="1029" b="1" dirty="0"/>
              <a:t>Under gjennomsnitt effektivt selskap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52CE400-2DDC-4972-B61A-8BDDFE44A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1" y="393221"/>
            <a:ext cx="6735476" cy="738664"/>
          </a:xfrm>
        </p:spPr>
        <p:txBody>
          <a:bodyPr/>
          <a:lstStyle/>
          <a:p>
            <a:r>
              <a:rPr lang="nb-NO" sz="2400"/>
              <a:t>Effektiv nettdrift bidrar til lavere nettleie OG høyere avkastning til nettselskapet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A873CEC-DF93-4DCA-AF89-971DA6494777}"/>
              </a:ext>
            </a:extLst>
          </p:cNvPr>
          <p:cNvCxnSpPr/>
          <p:nvPr/>
        </p:nvCxnSpPr>
        <p:spPr>
          <a:xfrm>
            <a:off x="2322804" y="4412974"/>
            <a:ext cx="96852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ACAAC5B-2057-43DF-8426-30F5449693D0}"/>
              </a:ext>
            </a:extLst>
          </p:cNvPr>
          <p:cNvCxnSpPr>
            <a:cxnSpLocks/>
          </p:cNvCxnSpPr>
          <p:nvPr/>
        </p:nvCxnSpPr>
        <p:spPr>
          <a:xfrm>
            <a:off x="2988514" y="3062577"/>
            <a:ext cx="3669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5EA8E56-A0BB-42A0-BD4B-01124C6D6C16}"/>
              </a:ext>
            </a:extLst>
          </p:cNvPr>
          <p:cNvCxnSpPr/>
          <p:nvPr/>
        </p:nvCxnSpPr>
        <p:spPr>
          <a:xfrm>
            <a:off x="5650206" y="4438153"/>
            <a:ext cx="66151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20406D7-4B8C-4009-B6A4-AFF3066E3E8A}"/>
              </a:ext>
            </a:extLst>
          </p:cNvPr>
          <p:cNvCxnSpPr>
            <a:cxnSpLocks/>
          </p:cNvCxnSpPr>
          <p:nvPr/>
        </p:nvCxnSpPr>
        <p:spPr>
          <a:xfrm>
            <a:off x="6220569" y="3087756"/>
            <a:ext cx="25061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BA2E0BC1-3965-4126-A8F9-CABF49F98746}"/>
              </a:ext>
            </a:extLst>
          </p:cNvPr>
          <p:cNvSpPr/>
          <p:nvPr/>
        </p:nvSpPr>
        <p:spPr>
          <a:xfrm>
            <a:off x="149862" y="3579624"/>
            <a:ext cx="1153590" cy="1151739"/>
          </a:xfrm>
          <a:prstGeom prst="wedgeRectCallout">
            <a:avLst>
              <a:gd name="adj1" fmla="val 107449"/>
              <a:gd name="adj2" fmla="val 4529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>
                <a:solidFill>
                  <a:schemeClr val="tx1"/>
                </a:solidFill>
              </a:rPr>
              <a:t>Effektive nettselskap har lavere kostnader, og kostnaden til nettkundene blir lavere enn ellers</a:t>
            </a:r>
          </a:p>
        </p:txBody>
      </p:sp>
      <p:sp>
        <p:nvSpPr>
          <p:cNvPr id="64" name="Speech Bubble: Rectangle 63">
            <a:extLst>
              <a:ext uri="{FF2B5EF4-FFF2-40B4-BE49-F238E27FC236}">
                <a16:creationId xmlns:a16="http://schemas.microsoft.com/office/drawing/2014/main" id="{C080DB3D-3363-4C55-848B-2B9EECF3B36F}"/>
              </a:ext>
            </a:extLst>
          </p:cNvPr>
          <p:cNvSpPr/>
          <p:nvPr/>
        </p:nvSpPr>
        <p:spPr>
          <a:xfrm>
            <a:off x="158321" y="1584310"/>
            <a:ext cx="1153590" cy="1542890"/>
          </a:xfrm>
          <a:prstGeom prst="wedgeRectCallout">
            <a:avLst>
              <a:gd name="adj1" fmla="val 117788"/>
              <a:gd name="adj2" fmla="val -521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>
                <a:solidFill>
                  <a:schemeClr val="tx1"/>
                </a:solidFill>
              </a:rPr>
              <a:t>Effektive nettselskap belønnes av regulator slik at inntekten og avkastningen blir høyere enn for gjennomsnittlige nettselskap</a:t>
            </a:r>
          </a:p>
        </p:txBody>
      </p:sp>
      <p:sp>
        <p:nvSpPr>
          <p:cNvPr id="65" name="Speech Bubble: Rectangle 64">
            <a:extLst>
              <a:ext uri="{FF2B5EF4-FFF2-40B4-BE49-F238E27FC236}">
                <a16:creationId xmlns:a16="http://schemas.microsoft.com/office/drawing/2014/main" id="{BA3A68B3-3421-4D36-B893-05B79FA9429C}"/>
              </a:ext>
            </a:extLst>
          </p:cNvPr>
          <p:cNvSpPr/>
          <p:nvPr/>
        </p:nvSpPr>
        <p:spPr>
          <a:xfrm>
            <a:off x="7935063" y="3762071"/>
            <a:ext cx="1153590" cy="1151739"/>
          </a:xfrm>
          <a:prstGeom prst="wedgeRectCallout">
            <a:avLst>
              <a:gd name="adj1" fmla="val -118286"/>
              <a:gd name="adj2" fmla="val 1652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>
                <a:solidFill>
                  <a:schemeClr val="tx1"/>
                </a:solidFill>
              </a:rPr>
              <a:t>Høye kostnader gir en høy høyere direkte kostnader til nettkundene.</a:t>
            </a:r>
          </a:p>
        </p:txBody>
      </p:sp>
      <p:sp>
        <p:nvSpPr>
          <p:cNvPr id="66" name="Speech Bubble: Rectangle 65">
            <a:extLst>
              <a:ext uri="{FF2B5EF4-FFF2-40B4-BE49-F238E27FC236}">
                <a16:creationId xmlns:a16="http://schemas.microsoft.com/office/drawing/2014/main" id="{A487BD4C-CC37-42BF-AB3E-3936630DA3FB}"/>
              </a:ext>
            </a:extLst>
          </p:cNvPr>
          <p:cNvSpPr/>
          <p:nvPr/>
        </p:nvSpPr>
        <p:spPr>
          <a:xfrm>
            <a:off x="7943522" y="1766757"/>
            <a:ext cx="1153590" cy="1542890"/>
          </a:xfrm>
          <a:prstGeom prst="wedgeRectCallout">
            <a:avLst>
              <a:gd name="adj1" fmla="val -118286"/>
              <a:gd name="adj2" fmla="val 2528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>
                <a:solidFill>
                  <a:schemeClr val="tx1"/>
                </a:solidFill>
              </a:rPr>
              <a:t>Lite effektive selskap «straffes» av regulator og får lavere avkastning enn gjennomsnittet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9B6F7BFD-CF40-4E0F-9F13-7663A63A33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60755" y="157928"/>
            <a:ext cx="1210556" cy="82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7219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920C9EB-0A2F-40BC-9698-90B3316C10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149262"/>
              </p:ext>
            </p:extLst>
          </p:nvPr>
        </p:nvGraphicFramePr>
        <p:xfrm>
          <a:off x="1201" y="1746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920C9EB-0A2F-40BC-9698-90B3316C1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1" y="1746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10FE88F0-67A9-4028-AF74-5BB7004548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545"/>
            <a:ext cx="119993" cy="11999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 b="1" dirty="0">
              <a:solidFill>
                <a:schemeClr val="tx1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29EA1D86-EDFA-4F8B-B858-667FBB888470}"/>
              </a:ext>
            </a:extLst>
          </p:cNvPr>
          <p:cNvSpPr/>
          <p:nvPr/>
        </p:nvSpPr>
        <p:spPr>
          <a:xfrm>
            <a:off x="596454" y="3462810"/>
            <a:ext cx="8094706" cy="116628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8" dirty="0">
              <a:solidFill>
                <a:schemeClr val="bg1"/>
              </a:solidFill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F2C5F103-42E7-4B98-85F0-24DFEEC63E6A}"/>
              </a:ext>
            </a:extLst>
          </p:cNvPr>
          <p:cNvSpPr/>
          <p:nvPr/>
        </p:nvSpPr>
        <p:spPr>
          <a:xfrm>
            <a:off x="591881" y="776357"/>
            <a:ext cx="8094706" cy="11723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8" dirty="0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52C828C-0D35-4BAF-A72C-A044DF87CF46}"/>
              </a:ext>
            </a:extLst>
          </p:cNvPr>
          <p:cNvSpPr/>
          <p:nvPr/>
        </p:nvSpPr>
        <p:spPr>
          <a:xfrm>
            <a:off x="599584" y="2035150"/>
            <a:ext cx="8094706" cy="135818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8" dirty="0">
              <a:solidFill>
                <a:schemeClr val="bg1"/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17BA383-7D84-4B21-B8A5-F0F47D158ACF}"/>
              </a:ext>
            </a:extLst>
          </p:cNvPr>
          <p:cNvGrpSpPr/>
          <p:nvPr/>
        </p:nvGrpSpPr>
        <p:grpSpPr>
          <a:xfrm>
            <a:off x="3056821" y="2506063"/>
            <a:ext cx="334387" cy="299922"/>
            <a:chOff x="2645499" y="2554796"/>
            <a:chExt cx="1146245" cy="1221233"/>
          </a:xfrm>
        </p:grpSpPr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43DB147F-F18C-40A8-9DAE-0C2E1CE650B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45499" y="2554796"/>
              <a:ext cx="0" cy="1221233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99C6F345-F29C-472B-8867-CEB1528965C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645505" y="3094856"/>
              <a:ext cx="271759" cy="0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B8186345-6AF4-4827-A712-F58497C1216F}"/>
                </a:ext>
              </a:extLst>
            </p:cNvPr>
            <p:cNvSpPr/>
            <p:nvPr/>
          </p:nvSpPr>
          <p:spPr>
            <a:xfrm>
              <a:off x="2918123" y="2923976"/>
              <a:ext cx="360000" cy="360000"/>
            </a:xfrm>
            <a:prstGeom prst="ellips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B822647-AB01-4AE9-A4E2-F819FA566344}"/>
                </a:ext>
              </a:extLst>
            </p:cNvPr>
            <p:cNvSpPr/>
            <p:nvPr/>
          </p:nvSpPr>
          <p:spPr>
            <a:xfrm>
              <a:off x="3155932" y="2914856"/>
              <a:ext cx="360000" cy="360000"/>
            </a:xfrm>
            <a:prstGeom prst="ellips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8BCA7DA2-9A3D-455B-ABE1-4D49BFA0CC8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519115" y="3101917"/>
              <a:ext cx="266700" cy="0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3B7756F-13A6-4659-8C22-57AA46D4748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790803" y="2561857"/>
              <a:ext cx="941" cy="1190166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0668E7ED-71F8-4216-970F-2A51CC8C7EDD}"/>
              </a:ext>
            </a:extLst>
          </p:cNvPr>
          <p:cNvCxnSpPr>
            <a:cxnSpLocks/>
          </p:cNvCxnSpPr>
          <p:nvPr/>
        </p:nvCxnSpPr>
        <p:spPr bwMode="auto">
          <a:xfrm>
            <a:off x="1084003" y="2639804"/>
            <a:ext cx="1966019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E1EBC039-7585-46AE-BED4-314C9534EE2E}"/>
              </a:ext>
            </a:extLst>
          </p:cNvPr>
          <p:cNvCxnSpPr>
            <a:cxnSpLocks/>
          </p:cNvCxnSpPr>
          <p:nvPr/>
        </p:nvCxnSpPr>
        <p:spPr bwMode="auto">
          <a:xfrm flipV="1">
            <a:off x="3390697" y="2636179"/>
            <a:ext cx="1953347" cy="282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9F38A2E7-2337-4B85-8503-014D3971B3D2}"/>
              </a:ext>
            </a:extLst>
          </p:cNvPr>
          <p:cNvCxnSpPr>
            <a:cxnSpLocks/>
          </p:cNvCxnSpPr>
          <p:nvPr/>
        </p:nvCxnSpPr>
        <p:spPr bwMode="auto">
          <a:xfrm>
            <a:off x="5677630" y="2638696"/>
            <a:ext cx="2467904" cy="13197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8F6059FA-D4D6-4F06-BEE4-C625759D5CEA}"/>
              </a:ext>
            </a:extLst>
          </p:cNvPr>
          <p:cNvCxnSpPr>
            <a:cxnSpLocks/>
          </p:cNvCxnSpPr>
          <p:nvPr/>
        </p:nvCxnSpPr>
        <p:spPr bwMode="auto">
          <a:xfrm flipV="1">
            <a:off x="4784336" y="2689913"/>
            <a:ext cx="313181" cy="12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AE027834-C0D3-4179-9CBA-EA857C5B1A6F}"/>
              </a:ext>
            </a:extLst>
          </p:cNvPr>
          <p:cNvCxnSpPr>
            <a:cxnSpLocks/>
          </p:cNvCxnSpPr>
          <p:nvPr/>
        </p:nvCxnSpPr>
        <p:spPr bwMode="auto">
          <a:xfrm flipV="1">
            <a:off x="7541564" y="2695453"/>
            <a:ext cx="311981" cy="12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AF248DA0-8174-4FC2-AE79-32574A0220D0}"/>
              </a:ext>
            </a:extLst>
          </p:cNvPr>
          <p:cNvCxnSpPr>
            <a:cxnSpLocks/>
          </p:cNvCxnSpPr>
          <p:nvPr/>
        </p:nvCxnSpPr>
        <p:spPr bwMode="auto">
          <a:xfrm>
            <a:off x="1084003" y="1859756"/>
            <a:ext cx="4650" cy="774046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D0A8EBCB-F03D-491F-8F76-D972ED24F7F0}"/>
              </a:ext>
            </a:extLst>
          </p:cNvPr>
          <p:cNvSpPr txBox="1"/>
          <p:nvPr/>
        </p:nvSpPr>
        <p:spPr>
          <a:xfrm rot="16200000">
            <a:off x="97137" y="2606562"/>
            <a:ext cx="943444" cy="23192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907" b="1"/>
              <a:t>Strømnettet</a:t>
            </a:r>
            <a:endParaRPr lang="nb-NO" sz="907" b="1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0D9284F2-A17C-4A24-9F8F-1C0571FD4A66}"/>
              </a:ext>
            </a:extLst>
          </p:cNvPr>
          <p:cNvCxnSpPr>
            <a:cxnSpLocks/>
          </p:cNvCxnSpPr>
          <p:nvPr/>
        </p:nvCxnSpPr>
        <p:spPr bwMode="auto">
          <a:xfrm>
            <a:off x="2222648" y="1912651"/>
            <a:ext cx="0" cy="727153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0" name="Picture 89">
            <a:extLst>
              <a:ext uri="{FF2B5EF4-FFF2-40B4-BE49-F238E27FC236}">
                <a16:creationId xmlns:a16="http://schemas.microsoft.com/office/drawing/2014/main" id="{60F44EEA-5985-4466-A7A0-5E1894E3E33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3" t="15706" r="30001" b="14606"/>
          <a:stretch/>
        </p:blipFill>
        <p:spPr>
          <a:xfrm>
            <a:off x="1517255" y="2656024"/>
            <a:ext cx="233518" cy="408513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0A06B99E-5610-4AEF-A88C-2B2058E729E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3" t="15706" r="30001" b="14606"/>
          <a:stretch/>
        </p:blipFill>
        <p:spPr>
          <a:xfrm>
            <a:off x="3821511" y="2651893"/>
            <a:ext cx="233518" cy="408513"/>
          </a:xfrm>
          <a:prstGeom prst="rect">
            <a:avLst/>
          </a:prstGeom>
        </p:spPr>
      </p:pic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C5129841-E3AE-411A-9B1E-4D384E6F8349}"/>
              </a:ext>
            </a:extLst>
          </p:cNvPr>
          <p:cNvCxnSpPr>
            <a:cxnSpLocks/>
          </p:cNvCxnSpPr>
          <p:nvPr/>
        </p:nvCxnSpPr>
        <p:spPr bwMode="auto">
          <a:xfrm>
            <a:off x="4940927" y="1903224"/>
            <a:ext cx="0" cy="72715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266E5EB-B386-4387-9643-9A92648AFB80}"/>
              </a:ext>
            </a:extLst>
          </p:cNvPr>
          <p:cNvCxnSpPr>
            <a:cxnSpLocks/>
          </p:cNvCxnSpPr>
          <p:nvPr/>
        </p:nvCxnSpPr>
        <p:spPr bwMode="auto">
          <a:xfrm>
            <a:off x="8145534" y="2651893"/>
            <a:ext cx="0" cy="972906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7E635C62-5027-4300-8313-EBF388E3BBDC}"/>
              </a:ext>
            </a:extLst>
          </p:cNvPr>
          <p:cNvCxnSpPr>
            <a:cxnSpLocks/>
          </p:cNvCxnSpPr>
          <p:nvPr/>
        </p:nvCxnSpPr>
        <p:spPr bwMode="auto">
          <a:xfrm>
            <a:off x="6446178" y="2646238"/>
            <a:ext cx="0" cy="997053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1FB5E37-C2E1-4AC7-95BD-5F265D5DEE82}"/>
              </a:ext>
            </a:extLst>
          </p:cNvPr>
          <p:cNvCxnSpPr>
            <a:cxnSpLocks/>
          </p:cNvCxnSpPr>
          <p:nvPr/>
        </p:nvCxnSpPr>
        <p:spPr bwMode="auto">
          <a:xfrm>
            <a:off x="2593886" y="2640009"/>
            <a:ext cx="0" cy="997053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6EC2AF4-0A8C-42FF-B5DF-2C0B5856D343}"/>
              </a:ext>
            </a:extLst>
          </p:cNvPr>
          <p:cNvCxnSpPr>
            <a:cxnSpLocks/>
          </p:cNvCxnSpPr>
          <p:nvPr/>
        </p:nvCxnSpPr>
        <p:spPr bwMode="auto">
          <a:xfrm>
            <a:off x="4716575" y="2630377"/>
            <a:ext cx="0" cy="99705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39BEC42C-AE6B-417F-85F3-C1C849807472}"/>
              </a:ext>
            </a:extLst>
          </p:cNvPr>
          <p:cNvCxnSpPr>
            <a:cxnSpLocks/>
          </p:cNvCxnSpPr>
          <p:nvPr/>
        </p:nvCxnSpPr>
        <p:spPr bwMode="auto">
          <a:xfrm flipV="1">
            <a:off x="2032810" y="2696087"/>
            <a:ext cx="313181" cy="12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00" name="Picture 99">
            <a:extLst>
              <a:ext uri="{FF2B5EF4-FFF2-40B4-BE49-F238E27FC236}">
                <a16:creationId xmlns:a16="http://schemas.microsoft.com/office/drawing/2014/main" id="{6C01F7D7-8376-4D1C-ABDD-A79522CF80C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546" y="2523384"/>
            <a:ext cx="627696" cy="6276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9BA85F-2B73-44EC-98A7-AE8DD3456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579" y="61553"/>
            <a:ext cx="8375978" cy="369332"/>
          </a:xfrm>
        </p:spPr>
        <p:txBody>
          <a:bodyPr/>
          <a:lstStyle/>
          <a:p>
            <a:r>
              <a:rPr lang="nb-NO" sz="2400"/>
              <a:t>Strømnettet binder sammen produksjon og forbruk</a:t>
            </a:r>
            <a:endParaRPr lang="en-GB" sz="2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A10F38-7311-414B-B9E2-B092B15B0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7842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6BA06D-219D-4DB1-961A-7AFCA7FAE0C4}" type="slidenum">
              <a:rPr lang="nb-NO" smtClean="0"/>
              <a:pPr/>
              <a:t>3</a:t>
            </a:fld>
            <a:endParaRPr lang="nb-NO" dirty="0"/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750E8201-4F75-43AB-B51B-D9CD8CE4C8C9}"/>
              </a:ext>
            </a:extLst>
          </p:cNvPr>
          <p:cNvSpPr txBox="1"/>
          <p:nvPr/>
        </p:nvSpPr>
        <p:spPr>
          <a:xfrm rot="16200000">
            <a:off x="146044" y="1229899"/>
            <a:ext cx="847802" cy="23192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907" b="1" dirty="0"/>
              <a:t>Produksjon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762BC37D-0944-4013-9940-983D4750751E}"/>
              </a:ext>
            </a:extLst>
          </p:cNvPr>
          <p:cNvSpPr txBox="1"/>
          <p:nvPr/>
        </p:nvSpPr>
        <p:spPr>
          <a:xfrm rot="16200000">
            <a:off x="175562" y="3932739"/>
            <a:ext cx="847802" cy="23192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907" b="1" dirty="0"/>
              <a:t>Forbruk</a:t>
            </a:r>
          </a:p>
        </p:txBody>
      </p:sp>
      <p:pic>
        <p:nvPicPr>
          <p:cNvPr id="285" name="Picture 284">
            <a:extLst>
              <a:ext uri="{FF2B5EF4-FFF2-40B4-BE49-F238E27FC236}">
                <a16:creationId xmlns:a16="http://schemas.microsoft.com/office/drawing/2014/main" id="{659E6BCC-93D0-4D2D-9F8E-6B70A5531A8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560" y="945000"/>
            <a:ext cx="621327" cy="512878"/>
          </a:xfrm>
          <a:prstGeom prst="rect">
            <a:avLst/>
          </a:prstGeom>
        </p:spPr>
      </p:pic>
      <p:sp>
        <p:nvSpPr>
          <p:cNvPr id="286" name="TextBox 285">
            <a:extLst>
              <a:ext uri="{FF2B5EF4-FFF2-40B4-BE49-F238E27FC236}">
                <a16:creationId xmlns:a16="http://schemas.microsoft.com/office/drawing/2014/main" id="{F2D8DE18-68C3-44AC-A566-F079A9D68CFC}"/>
              </a:ext>
            </a:extLst>
          </p:cNvPr>
          <p:cNvSpPr txBox="1"/>
          <p:nvPr/>
        </p:nvSpPr>
        <p:spPr>
          <a:xfrm>
            <a:off x="644936" y="745052"/>
            <a:ext cx="856748" cy="1931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Vannkraft</a:t>
            </a:r>
            <a:endParaRPr lang="en-GB" sz="831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B26EE04-4405-411D-BF98-6177C5EEAEF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74779" y="3720496"/>
            <a:ext cx="604364" cy="57703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A3EC0F3-7E8E-4718-A657-CE3CBEE7FF2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1401" y="3581669"/>
            <a:ext cx="804323" cy="804323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84DE54A0-A722-4854-A47A-F8EC96EF81F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180" y="3728385"/>
            <a:ext cx="542588" cy="54258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FB867769-3B27-4916-A2B7-B21AD23632D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4941" y="3581669"/>
            <a:ext cx="855638" cy="85563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3F87739-B540-4E29-BD62-8FE354D0629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969" y="3590685"/>
            <a:ext cx="899583" cy="899583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BFC6A157-3C84-4AE5-AD64-9A83F02876F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4695" y="3885873"/>
            <a:ext cx="411654" cy="41165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39CAE483-67C8-4195-A4E8-49691623CD61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273" y="792710"/>
            <a:ext cx="826750" cy="826750"/>
          </a:xfrm>
          <a:prstGeom prst="rect">
            <a:avLst/>
          </a:prstGeom>
        </p:spPr>
      </p:pic>
      <p:sp>
        <p:nvSpPr>
          <p:cNvPr id="288" name="TextBox 287">
            <a:extLst>
              <a:ext uri="{FF2B5EF4-FFF2-40B4-BE49-F238E27FC236}">
                <a16:creationId xmlns:a16="http://schemas.microsoft.com/office/drawing/2014/main" id="{17060C9E-706E-40E9-91DC-5FE9ABBB86A3}"/>
              </a:ext>
            </a:extLst>
          </p:cNvPr>
          <p:cNvSpPr txBox="1"/>
          <p:nvPr/>
        </p:nvSpPr>
        <p:spPr>
          <a:xfrm>
            <a:off x="1720069" y="771101"/>
            <a:ext cx="856748" cy="1931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Vindkraft</a:t>
            </a:r>
            <a:endParaRPr lang="en-GB" sz="831" dirty="0"/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008BB3F1-C2F2-454B-9D26-F8E1832DBA7E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767" y="3728385"/>
            <a:ext cx="651243" cy="651243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D67A29E8-F237-4DB0-AB04-2A3A226D744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328" y="3607086"/>
            <a:ext cx="815703" cy="815703"/>
          </a:xfrm>
          <a:prstGeom prst="rect">
            <a:avLst/>
          </a:prstGeom>
        </p:spPr>
      </p:pic>
      <p:sp>
        <p:nvSpPr>
          <p:cNvPr id="290" name="TextBox 289">
            <a:extLst>
              <a:ext uri="{FF2B5EF4-FFF2-40B4-BE49-F238E27FC236}">
                <a16:creationId xmlns:a16="http://schemas.microsoft.com/office/drawing/2014/main" id="{5DDC5A11-DDB2-429A-A851-4FE53B097314}"/>
              </a:ext>
            </a:extLst>
          </p:cNvPr>
          <p:cNvSpPr txBox="1"/>
          <p:nvPr/>
        </p:nvSpPr>
        <p:spPr>
          <a:xfrm>
            <a:off x="7587725" y="4203098"/>
            <a:ext cx="833051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Bygninger</a:t>
            </a:r>
          </a:p>
          <a:p>
            <a:pPr algn="ctr"/>
            <a:r>
              <a:rPr lang="nb-NO" sz="831" dirty="0"/>
              <a:t>(Husholdninger)</a:t>
            </a:r>
            <a:endParaRPr lang="en-GB" sz="831" dirty="0"/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A6A9EE2F-4A25-4E01-93EA-DBFE49EBBD3C}"/>
              </a:ext>
            </a:extLst>
          </p:cNvPr>
          <p:cNvSpPr txBox="1"/>
          <p:nvPr/>
        </p:nvSpPr>
        <p:spPr>
          <a:xfrm>
            <a:off x="6312553" y="4285366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Transport</a:t>
            </a:r>
            <a:endParaRPr lang="en-GB" sz="831" dirty="0"/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5CBCD98F-05D2-4D79-A990-5FD64D6040C3}"/>
              </a:ext>
            </a:extLst>
          </p:cNvPr>
          <p:cNvSpPr txBox="1"/>
          <p:nvPr/>
        </p:nvSpPr>
        <p:spPr>
          <a:xfrm>
            <a:off x="4609300" y="4301593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Næring</a:t>
            </a:r>
            <a:endParaRPr lang="en-GB" sz="831" dirty="0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F704452F-51D8-4C83-9B33-5086CA05F049}"/>
              </a:ext>
            </a:extLst>
          </p:cNvPr>
          <p:cNvSpPr txBox="1"/>
          <p:nvPr/>
        </p:nvSpPr>
        <p:spPr>
          <a:xfrm>
            <a:off x="2378329" y="4346536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Industri</a:t>
            </a:r>
            <a:endParaRPr lang="en-GB" sz="831" dirty="0"/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0106628-3C4F-4DB1-8348-0A75B23156AE}"/>
              </a:ext>
            </a:extLst>
          </p:cNvPr>
          <p:cNvSpPr txBox="1"/>
          <p:nvPr/>
        </p:nvSpPr>
        <p:spPr>
          <a:xfrm>
            <a:off x="3263845" y="4285366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Datasenter</a:t>
            </a:r>
            <a:endParaRPr lang="en-GB" sz="831" dirty="0"/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938D2418-2F66-48D1-8DF6-F3BBCE65453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234" y="1294600"/>
            <a:ext cx="617081" cy="617081"/>
          </a:xfrm>
          <a:prstGeom prst="rect">
            <a:avLst/>
          </a:prstGeom>
        </p:spPr>
      </p:pic>
      <p:sp>
        <p:nvSpPr>
          <p:cNvPr id="297" name="TextBox 296">
            <a:extLst>
              <a:ext uri="{FF2B5EF4-FFF2-40B4-BE49-F238E27FC236}">
                <a16:creationId xmlns:a16="http://schemas.microsoft.com/office/drawing/2014/main" id="{9FA4E4FD-C1CD-4377-BA25-A4436546043C}"/>
              </a:ext>
            </a:extLst>
          </p:cNvPr>
          <p:cNvSpPr txBox="1"/>
          <p:nvPr/>
        </p:nvSpPr>
        <p:spPr>
          <a:xfrm>
            <a:off x="4488175" y="1131330"/>
            <a:ext cx="856748" cy="1931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Småkraft</a:t>
            </a:r>
            <a:endParaRPr lang="en-GB" sz="83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63E0B2-2A17-4E0A-99C2-89E29A0C042A}"/>
              </a:ext>
            </a:extLst>
          </p:cNvPr>
          <p:cNvGrpSpPr/>
          <p:nvPr/>
        </p:nvGrpSpPr>
        <p:grpSpPr>
          <a:xfrm>
            <a:off x="8051018" y="2654846"/>
            <a:ext cx="750737" cy="587477"/>
            <a:chOff x="10651475" y="3511634"/>
            <a:chExt cx="993223" cy="777230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FC4FEDE-25A4-4125-92F9-1354F5E77A6B}"/>
                </a:ext>
              </a:extLst>
            </p:cNvPr>
            <p:cNvSpPr txBox="1"/>
            <p:nvPr/>
          </p:nvSpPr>
          <p:spPr>
            <a:xfrm>
              <a:off x="10651475" y="3924683"/>
              <a:ext cx="993223" cy="36418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nb-NO" sz="831" dirty="0"/>
                <a:t>Smart strømmåler (AMS)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AC1256C0-2935-49E7-9C8B-97E070154F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0360"/>
            <a:stretch/>
          </p:blipFill>
          <p:spPr>
            <a:xfrm>
              <a:off x="10809011" y="3511634"/>
              <a:ext cx="692980" cy="482589"/>
            </a:xfrm>
            <a:prstGeom prst="rect">
              <a:avLst/>
            </a:prstGeom>
          </p:spPr>
        </p:pic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20274F47-8826-4143-92B5-4DD5B7F45315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7255" y="3603229"/>
            <a:ext cx="670401" cy="670401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90CAD0D8-FAF7-4ADC-B173-CB30057FADC9}"/>
              </a:ext>
            </a:extLst>
          </p:cNvPr>
          <p:cNvSpPr txBox="1"/>
          <p:nvPr/>
        </p:nvSpPr>
        <p:spPr>
          <a:xfrm>
            <a:off x="1445518" y="4170796"/>
            <a:ext cx="876228" cy="1968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Norsk sokkel</a:t>
            </a:r>
            <a:br>
              <a:rPr lang="nb-NO" sz="831" dirty="0"/>
            </a:br>
            <a:r>
              <a:rPr lang="nb-NO" sz="831" dirty="0"/>
              <a:t>(fra land)</a:t>
            </a:r>
            <a:endParaRPr lang="en-GB" sz="831" dirty="0"/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7D56660E-C248-41B7-860E-35C5BDA2DF25}"/>
              </a:ext>
            </a:extLst>
          </p:cNvPr>
          <p:cNvGrpSpPr/>
          <p:nvPr/>
        </p:nvGrpSpPr>
        <p:grpSpPr>
          <a:xfrm>
            <a:off x="5349010" y="2503666"/>
            <a:ext cx="334387" cy="299922"/>
            <a:chOff x="2645499" y="2554796"/>
            <a:chExt cx="1146245" cy="1221233"/>
          </a:xfrm>
        </p:grpSpPr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189F407-C793-4062-991D-91758A7E39E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45499" y="2554796"/>
              <a:ext cx="0" cy="1221233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62AD86A7-6881-4352-AFF3-F36801F8BC5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645505" y="3094856"/>
              <a:ext cx="271759" cy="0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E75C27A5-7D78-49BF-B0D1-99439C7E3574}"/>
                </a:ext>
              </a:extLst>
            </p:cNvPr>
            <p:cNvSpPr/>
            <p:nvPr/>
          </p:nvSpPr>
          <p:spPr>
            <a:xfrm>
              <a:off x="2918123" y="2923976"/>
              <a:ext cx="360000" cy="360000"/>
            </a:xfrm>
            <a:prstGeom prst="ellips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9476D174-594D-4629-ACFE-31A0FE4B7A1B}"/>
                </a:ext>
              </a:extLst>
            </p:cNvPr>
            <p:cNvSpPr/>
            <p:nvPr/>
          </p:nvSpPr>
          <p:spPr>
            <a:xfrm>
              <a:off x="3155932" y="2914856"/>
              <a:ext cx="360000" cy="360000"/>
            </a:xfrm>
            <a:prstGeom prst="ellips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2A133BCB-80FC-4343-A549-7CE3339C9C0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519115" y="3101917"/>
              <a:ext cx="266700" cy="0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932A6484-16BB-4093-883F-EF18DFC45B3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790803" y="2561857"/>
              <a:ext cx="941" cy="1190166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6B7ADE24-3868-434D-A458-DFF071B60E1C}"/>
              </a:ext>
            </a:extLst>
          </p:cNvPr>
          <p:cNvGrpSpPr/>
          <p:nvPr/>
        </p:nvGrpSpPr>
        <p:grpSpPr>
          <a:xfrm>
            <a:off x="6328808" y="2053014"/>
            <a:ext cx="3778710" cy="406265"/>
            <a:chOff x="789106" y="6192034"/>
            <a:chExt cx="4999223" cy="537488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20CA29C0-5127-4A19-A389-BF21E86B93F5}"/>
                </a:ext>
              </a:extLst>
            </p:cNvPr>
            <p:cNvGrpSpPr/>
            <p:nvPr/>
          </p:nvGrpSpPr>
          <p:grpSpPr>
            <a:xfrm>
              <a:off x="892534" y="6192034"/>
              <a:ext cx="4895795" cy="537488"/>
              <a:chOff x="892534" y="6192034"/>
              <a:chExt cx="4895795" cy="537488"/>
            </a:xfrm>
          </p:grpSpPr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09084A49-BC59-4D41-8819-9C7379EBCFF3}"/>
                  </a:ext>
                </a:extLst>
              </p:cNvPr>
              <p:cNvGrpSpPr/>
              <p:nvPr/>
            </p:nvGrpSpPr>
            <p:grpSpPr>
              <a:xfrm>
                <a:off x="892534" y="6309320"/>
                <a:ext cx="673100" cy="272225"/>
                <a:chOff x="892534" y="6309320"/>
                <a:chExt cx="673100" cy="272225"/>
              </a:xfrm>
            </p:grpSpPr>
            <p:cxnSp>
              <p:nvCxnSpPr>
                <p:cNvPr id="106" name="Straight Connector 105">
                  <a:extLst>
                    <a:ext uri="{FF2B5EF4-FFF2-40B4-BE49-F238E27FC236}">
                      <a16:creationId xmlns:a16="http://schemas.microsoft.com/office/drawing/2014/main" id="{F5E55C25-2CAA-46F3-8056-62C1E4CBE13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95603" y="6309320"/>
                  <a:ext cx="666961" cy="0"/>
                </a:xfrm>
                <a:prstGeom prst="line">
                  <a:avLst/>
                </a:prstGeom>
                <a:ln w="28575">
                  <a:headEnd type="none" w="med" len="med"/>
                  <a:tailEnd type="none" w="med" len="med"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F570CD17-0246-474F-9073-C0E4731225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92534" y="6453707"/>
                  <a:ext cx="673100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CD5E04ED-FC66-49B8-9B9D-6D90FF2C05F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892534" y="6581545"/>
                  <a:ext cx="673100" cy="0"/>
                </a:xfrm>
                <a:prstGeom prst="line">
                  <a:avLst/>
                </a:prstGeom>
                <a:ln w="12700">
                  <a:headEnd type="none" w="med" len="med"/>
                  <a:tailEnd type="none" w="med" len="med"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CBA51D51-2F3A-404C-B634-60B7CBDC0DB3}"/>
                  </a:ext>
                </a:extLst>
              </p:cNvPr>
              <p:cNvSpPr txBox="1"/>
              <p:nvPr/>
            </p:nvSpPr>
            <p:spPr>
              <a:xfrm>
                <a:off x="1508821" y="6192034"/>
                <a:ext cx="4279508" cy="5374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680" dirty="0"/>
                  <a:t>Transmisjonsnett (420-300 kV)</a:t>
                </a:r>
              </a:p>
              <a:p>
                <a:r>
                  <a:rPr lang="nb-NO" sz="680" dirty="0"/>
                  <a:t>Regionalt distribusjonsnett (132-66 kV)</a:t>
                </a:r>
              </a:p>
              <a:p>
                <a:r>
                  <a:rPr lang="nb-NO" sz="680" dirty="0"/>
                  <a:t>Lokalt distribusjonsnett (22-11 kV / 230-400 V)</a:t>
                </a:r>
              </a:p>
            </p:txBody>
          </p:sp>
        </p:grp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9A117D20-D2D0-4FA8-BCD8-0AFDE8DD0F93}"/>
                </a:ext>
              </a:extLst>
            </p:cNvPr>
            <p:cNvSpPr/>
            <p:nvPr/>
          </p:nvSpPr>
          <p:spPr>
            <a:xfrm>
              <a:off x="789106" y="6199306"/>
              <a:ext cx="3055992" cy="50783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7999" indent="-137999" algn="ctr">
                <a:buFont typeface="Wingdings" panose="05000000000000000000" pitchFamily="2" charset="2"/>
                <a:buChar char="§"/>
              </a:pPr>
              <a:endParaRPr lang="nb-NO" dirty="0" err="1"/>
            </a:p>
          </p:txBody>
        </p:sp>
      </p:grpSp>
      <p:sp>
        <p:nvSpPr>
          <p:cNvPr id="86" name="Oval 85">
            <a:extLst>
              <a:ext uri="{FF2B5EF4-FFF2-40B4-BE49-F238E27FC236}">
                <a16:creationId xmlns:a16="http://schemas.microsoft.com/office/drawing/2014/main" id="{2C3F319E-72BF-4720-9582-BFCDC9E217BE}"/>
              </a:ext>
            </a:extLst>
          </p:cNvPr>
          <p:cNvSpPr/>
          <p:nvPr/>
        </p:nvSpPr>
        <p:spPr>
          <a:xfrm>
            <a:off x="2342383" y="1647294"/>
            <a:ext cx="227762" cy="225523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7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142BD2-BBAD-462F-8D74-D3C9143E07C8}"/>
              </a:ext>
            </a:extLst>
          </p:cNvPr>
          <p:cNvSpPr/>
          <p:nvPr/>
        </p:nvSpPr>
        <p:spPr>
          <a:xfrm>
            <a:off x="6864826" y="902783"/>
            <a:ext cx="1773882" cy="90623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907" dirty="0">
                <a:solidFill>
                  <a:schemeClr val="tx1"/>
                </a:solidFill>
              </a:rPr>
              <a:t>Kraftsystemet er:</a:t>
            </a:r>
          </a:p>
          <a:p>
            <a:pPr marL="64800" indent="-64800">
              <a:buFont typeface="Arial" panose="020B0604020202020204" pitchFamily="34" charset="0"/>
              <a:buChar char="•"/>
            </a:pPr>
            <a:r>
              <a:rPr lang="nb-NO" sz="907" dirty="0">
                <a:solidFill>
                  <a:schemeClr val="tx1"/>
                </a:solidFill>
              </a:rPr>
              <a:t>Ledningsbundet</a:t>
            </a:r>
          </a:p>
          <a:p>
            <a:pPr marL="64800" indent="-64800">
              <a:buFont typeface="Arial" panose="020B0604020202020204" pitchFamily="34" charset="0"/>
              <a:buChar char="•"/>
            </a:pPr>
            <a:r>
              <a:rPr lang="nb-NO" sz="907" dirty="0">
                <a:solidFill>
                  <a:schemeClr val="tx1"/>
                </a:solidFill>
              </a:rPr>
              <a:t>Forbruk og produksjon skjer samtidig</a:t>
            </a:r>
          </a:p>
          <a:p>
            <a:pPr marL="64800" indent="-64800">
              <a:buFont typeface="Arial" panose="020B0604020202020204" pitchFamily="34" charset="0"/>
              <a:buChar char="•"/>
            </a:pPr>
            <a:r>
              <a:rPr lang="nb-NO" sz="907" dirty="0">
                <a:solidFill>
                  <a:schemeClr val="tx1"/>
                </a:solidFill>
              </a:rPr>
              <a:t>Strøm kan ikke lagres </a:t>
            </a:r>
            <a:br>
              <a:rPr lang="nb-NO" sz="907" dirty="0">
                <a:solidFill>
                  <a:schemeClr val="tx1"/>
                </a:solidFill>
              </a:rPr>
            </a:br>
            <a:r>
              <a:rPr lang="nb-NO" sz="907" dirty="0">
                <a:solidFill>
                  <a:schemeClr val="tx1"/>
                </a:solidFill>
              </a:rPr>
              <a:t>(utover våre vannmagasiner)</a:t>
            </a: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33032D4-9E00-4174-BC00-7337123323EC}"/>
              </a:ext>
            </a:extLst>
          </p:cNvPr>
          <p:cNvSpPr txBox="1">
            <a:spLocks/>
          </p:cNvSpPr>
          <p:nvPr/>
        </p:nvSpPr>
        <p:spPr>
          <a:xfrm>
            <a:off x="475896" y="5012160"/>
            <a:ext cx="8162811" cy="197551"/>
          </a:xfrm>
          <a:prstGeom prst="rect">
            <a:avLst/>
          </a:prstGeom>
        </p:spPr>
        <p:txBody>
          <a:bodyPr vert="horz" lIns="69116" tIns="34558" rIns="69116" bIns="34558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b-NO" sz="794" dirty="0"/>
              <a:t>Kilder</a:t>
            </a:r>
            <a:r>
              <a:rPr lang="nb-NO" sz="794"/>
              <a:t>: THEMA Consulting Group, SSB</a:t>
            </a:r>
            <a:r>
              <a:rPr lang="nb-NO" sz="794" dirty="0"/>
              <a:t>, nettoforbruk </a:t>
            </a:r>
            <a:r>
              <a:rPr lang="nb-NO" sz="794" dirty="0" err="1"/>
              <a:t>eksl</a:t>
            </a:r>
            <a:r>
              <a:rPr lang="nb-NO" sz="794" dirty="0"/>
              <a:t>. pumpekraftverk, tap og statisk differanse og diverse forsynings- og renovasjon, kraftproduksjon ikke medtatt varmekraft 3,5</a:t>
            </a:r>
          </a:p>
        </p:txBody>
      </p:sp>
    </p:spTree>
    <p:extLst>
      <p:ext uri="{BB962C8B-B14F-4D97-AF65-F5344CB8AC3E}">
        <p14:creationId xmlns:p14="http://schemas.microsoft.com/office/powerpoint/2010/main" val="27532548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44C882-A870-4192-8327-8E4A012E99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458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5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8B66CC-9AD5-452A-9E3C-4011D986396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1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73854" y="1176143"/>
            <a:ext cx="2998143" cy="3284501"/>
          </a:xfrm>
        </p:spPr>
        <p:txBody>
          <a:bodyPr anchor="ctr"/>
          <a:lstStyle/>
          <a:p>
            <a:r>
              <a:rPr lang="nb-NO" sz="1208" dirty="0"/>
              <a:t>Kostnadene til sentralnettet fordeles mellom alle nettkunder - uavhengig av hvor i Norge sentralnettet bygges</a:t>
            </a:r>
          </a:p>
          <a:p>
            <a:r>
              <a:rPr lang="nb-NO" sz="1208" dirty="0"/>
              <a:t>Mesteparten av kostnaden for sentral-</a:t>
            </a:r>
            <a:r>
              <a:rPr lang="nb-NO" sz="1208" dirty="0">
                <a:solidFill>
                  <a:srgbClr val="FF0000"/>
                </a:solidFill>
              </a:rPr>
              <a:t> </a:t>
            </a:r>
            <a:r>
              <a:rPr lang="nb-NO" sz="1208" dirty="0"/>
              <a:t>og regionalnett må betales av kunder i distribusjonsnettet</a:t>
            </a:r>
          </a:p>
          <a:p>
            <a:r>
              <a:rPr lang="nb-NO" sz="1208" dirty="0"/>
              <a:t>Noen nettinvesteringer finansieres direkte av de som utløser investeringen. De investeringene som ikke knyttes direkte opp til en bruker, deles på alle brukerne i nettet</a:t>
            </a:r>
            <a:r>
              <a:rPr lang="nb-NO" sz="1208"/>
              <a:t>. </a:t>
            </a:r>
            <a:endParaRPr lang="nb-NO" sz="1208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252787" y="905502"/>
            <a:ext cx="5661204" cy="209160"/>
          </a:xfrm>
        </p:spPr>
        <p:txBody>
          <a:bodyPr/>
          <a:lstStyle/>
          <a:p>
            <a:r>
              <a:rPr lang="nb-NO" sz="1359" b="1" cap="none" dirty="0"/>
              <a:t>Fordeling av kostnader og inntekter mellom nettnivåen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7961" y="151299"/>
            <a:ext cx="6739188" cy="745656"/>
          </a:xfrm>
        </p:spPr>
        <p:txBody>
          <a:bodyPr>
            <a:noAutofit/>
          </a:bodyPr>
          <a:lstStyle/>
          <a:p>
            <a:r>
              <a:rPr lang="nb-NO" sz="2100" dirty="0"/>
              <a:t>Kunder i lokalnett dekker også sin andel av kostnader i </a:t>
            </a:r>
            <a:r>
              <a:rPr lang="nb-NO" sz="2100"/>
              <a:t>overliggende nett</a:t>
            </a:r>
            <a:endParaRPr lang="nb-NO" sz="2100" dirty="0"/>
          </a:p>
        </p:txBody>
      </p:sp>
      <p:sp>
        <p:nvSpPr>
          <p:cNvPr id="44" name="AutoShape 2" descr="Bilderesultat for industry icon"/>
          <p:cNvSpPr>
            <a:spLocks noChangeAspect="1" noChangeArrowheads="1"/>
          </p:cNvSpPr>
          <p:nvPr/>
        </p:nvSpPr>
        <p:spPr bwMode="auto">
          <a:xfrm>
            <a:off x="117471" y="-101043"/>
            <a:ext cx="230146" cy="23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9044" tIns="34522" rIns="69044" bIns="34522" numCol="1" anchor="t" anchorCtr="0" compatLnSpc="1">
            <a:prstTxWarp prst="textNoShape">
              <a:avLst/>
            </a:prstTxWarp>
          </a:bodyPr>
          <a:lstStyle/>
          <a:p>
            <a:endParaRPr lang="nb-NO" sz="1359"/>
          </a:p>
        </p:txBody>
      </p:sp>
      <p:sp>
        <p:nvSpPr>
          <p:cNvPr id="12" name="Rectangle 11"/>
          <p:cNvSpPr/>
          <p:nvPr/>
        </p:nvSpPr>
        <p:spPr>
          <a:xfrm>
            <a:off x="175204" y="1176143"/>
            <a:ext cx="5796520" cy="330173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3" name="Rectangle 12"/>
          <p:cNvSpPr/>
          <p:nvPr/>
        </p:nvSpPr>
        <p:spPr>
          <a:xfrm>
            <a:off x="695386" y="1801322"/>
            <a:ext cx="4891017" cy="59808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4" name="Rectangle 13"/>
          <p:cNvSpPr/>
          <p:nvPr/>
        </p:nvSpPr>
        <p:spPr>
          <a:xfrm>
            <a:off x="856100" y="2749460"/>
            <a:ext cx="1468025" cy="43497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5" name="Rectangle 14"/>
          <p:cNvSpPr/>
          <p:nvPr/>
        </p:nvSpPr>
        <p:spPr>
          <a:xfrm>
            <a:off x="2405002" y="2757733"/>
            <a:ext cx="1468025" cy="43497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6" name="Rectangle 15"/>
          <p:cNvSpPr/>
          <p:nvPr/>
        </p:nvSpPr>
        <p:spPr>
          <a:xfrm>
            <a:off x="3952757" y="2757733"/>
            <a:ext cx="1468025" cy="43497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7" name="Rectangle 16"/>
          <p:cNvSpPr/>
          <p:nvPr/>
        </p:nvSpPr>
        <p:spPr>
          <a:xfrm>
            <a:off x="910472" y="3595575"/>
            <a:ext cx="650920" cy="38059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18" name="Rectangle 17"/>
          <p:cNvSpPr/>
          <p:nvPr/>
        </p:nvSpPr>
        <p:spPr>
          <a:xfrm>
            <a:off x="1618834" y="3595575"/>
            <a:ext cx="650920" cy="38059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3" name="Rectangle 22"/>
          <p:cNvSpPr/>
          <p:nvPr/>
        </p:nvSpPr>
        <p:spPr>
          <a:xfrm>
            <a:off x="2432868" y="3595575"/>
            <a:ext cx="650920" cy="38059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4" name="Rectangle 23"/>
          <p:cNvSpPr/>
          <p:nvPr/>
        </p:nvSpPr>
        <p:spPr>
          <a:xfrm>
            <a:off x="3141230" y="3595575"/>
            <a:ext cx="650920" cy="38059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5" name="Rectangle 24"/>
          <p:cNvSpPr/>
          <p:nvPr/>
        </p:nvSpPr>
        <p:spPr>
          <a:xfrm>
            <a:off x="4009636" y="3595575"/>
            <a:ext cx="650920" cy="38059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6" name="Rectangle 25"/>
          <p:cNvSpPr/>
          <p:nvPr/>
        </p:nvSpPr>
        <p:spPr>
          <a:xfrm>
            <a:off x="4717997" y="3595575"/>
            <a:ext cx="650920" cy="38059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7" name="Down Arrow 26"/>
          <p:cNvSpPr/>
          <p:nvPr/>
        </p:nvSpPr>
        <p:spPr>
          <a:xfrm>
            <a:off x="1460074" y="2453778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8" name="Down Arrow 27"/>
          <p:cNvSpPr/>
          <p:nvPr/>
        </p:nvSpPr>
        <p:spPr>
          <a:xfrm>
            <a:off x="3029418" y="2453778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29" name="Down Arrow 28"/>
          <p:cNvSpPr/>
          <p:nvPr/>
        </p:nvSpPr>
        <p:spPr>
          <a:xfrm>
            <a:off x="4606185" y="2453778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0" name="Down Arrow 29"/>
          <p:cNvSpPr/>
          <p:nvPr/>
        </p:nvSpPr>
        <p:spPr>
          <a:xfrm>
            <a:off x="1127958" y="3269347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1" name="Down Arrow 30"/>
          <p:cNvSpPr/>
          <p:nvPr/>
        </p:nvSpPr>
        <p:spPr>
          <a:xfrm>
            <a:off x="1833249" y="3269347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2" name="Down Arrow 31"/>
          <p:cNvSpPr/>
          <p:nvPr/>
        </p:nvSpPr>
        <p:spPr>
          <a:xfrm>
            <a:off x="2650354" y="3269347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3" name="Down Arrow 32"/>
          <p:cNvSpPr/>
          <p:nvPr/>
        </p:nvSpPr>
        <p:spPr>
          <a:xfrm>
            <a:off x="3355645" y="3269347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4" name="Down Arrow 33"/>
          <p:cNvSpPr/>
          <p:nvPr/>
        </p:nvSpPr>
        <p:spPr>
          <a:xfrm>
            <a:off x="4227121" y="3269347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35" name="Down Arrow 34"/>
          <p:cNvSpPr/>
          <p:nvPr/>
        </p:nvSpPr>
        <p:spPr>
          <a:xfrm>
            <a:off x="4932412" y="3269347"/>
            <a:ext cx="219020" cy="241311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37462" y="2457692"/>
            <a:ext cx="244584" cy="24458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8988" y="2470691"/>
            <a:ext cx="244584" cy="244584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52477" y="2453778"/>
            <a:ext cx="244584" cy="24458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58532" y="3266074"/>
            <a:ext cx="244584" cy="244584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2614" y="3259209"/>
            <a:ext cx="244584" cy="244584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5659" y="3266073"/>
            <a:ext cx="244584" cy="244584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2503982" y="1801322"/>
            <a:ext cx="1288168" cy="301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359" dirty="0"/>
              <a:t>Sentralnett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0109" y="2022382"/>
            <a:ext cx="487247" cy="343682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953040" y="2724016"/>
            <a:ext cx="1288168" cy="464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8" dirty="0"/>
              <a:t>Regionalt </a:t>
            </a:r>
            <a:r>
              <a:rPr lang="nb-NO" sz="1100" dirty="0"/>
              <a:t>distribusjonsnet</a:t>
            </a:r>
            <a:r>
              <a:rPr lang="nb-NO" sz="1208" dirty="0"/>
              <a:t>t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487239" y="2725633"/>
            <a:ext cx="1288168" cy="464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8" dirty="0"/>
              <a:t>Regionalt </a:t>
            </a:r>
            <a:r>
              <a:rPr lang="nb-NO" sz="1100" dirty="0"/>
              <a:t>distribusjonsnett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064006" y="2725633"/>
            <a:ext cx="1288168" cy="464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8" dirty="0"/>
              <a:t>Regionalt </a:t>
            </a:r>
            <a:r>
              <a:rPr lang="nb-NO" sz="1100" dirty="0"/>
              <a:t>distribusjonsnet</a:t>
            </a:r>
            <a:r>
              <a:rPr lang="nb-NO" sz="1208" dirty="0"/>
              <a:t>t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56101" y="3606426"/>
            <a:ext cx="738403" cy="231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6" dirty="0"/>
              <a:t>Lokalnett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562928" y="3595575"/>
            <a:ext cx="738403" cy="231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6" dirty="0"/>
              <a:t>Lokalnett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2401292" y="3595575"/>
            <a:ext cx="738403" cy="231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6" dirty="0"/>
              <a:t>Lokalnett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108118" y="3595575"/>
            <a:ext cx="738403" cy="231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6" dirty="0"/>
              <a:t>Lokalnett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955264" y="3595575"/>
            <a:ext cx="738403" cy="231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6" dirty="0"/>
              <a:t>Lokalnett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4684886" y="3599015"/>
            <a:ext cx="738403" cy="231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6" dirty="0"/>
              <a:t>Lokalnett</a:t>
            </a:r>
          </a:p>
        </p:txBody>
      </p:sp>
      <p:sp>
        <p:nvSpPr>
          <p:cNvPr id="69" name="Down Arrow 68"/>
          <p:cNvSpPr/>
          <p:nvPr/>
        </p:nvSpPr>
        <p:spPr>
          <a:xfrm>
            <a:off x="479289" y="1677038"/>
            <a:ext cx="73996" cy="1446261"/>
          </a:xfrm>
          <a:prstGeom prst="downArrow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70" name="Down Arrow 69"/>
          <p:cNvSpPr/>
          <p:nvPr/>
        </p:nvSpPr>
        <p:spPr>
          <a:xfrm>
            <a:off x="443149" y="3149285"/>
            <a:ext cx="141095" cy="949669"/>
          </a:xfrm>
          <a:prstGeom prst="downArrow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72" name="TextBox 71"/>
          <p:cNvSpPr txBox="1"/>
          <p:nvPr/>
        </p:nvSpPr>
        <p:spPr>
          <a:xfrm>
            <a:off x="222916" y="1455935"/>
            <a:ext cx="905041" cy="231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6" b="1" dirty="0"/>
              <a:t>Kostnader</a:t>
            </a:r>
          </a:p>
        </p:txBody>
      </p:sp>
      <p:sp>
        <p:nvSpPr>
          <p:cNvPr id="73" name="Down Arrow 72"/>
          <p:cNvSpPr/>
          <p:nvPr/>
        </p:nvSpPr>
        <p:spPr>
          <a:xfrm flipV="1">
            <a:off x="5658419" y="3210073"/>
            <a:ext cx="141095" cy="949669"/>
          </a:xfrm>
          <a:prstGeom prst="downArrow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74" name="Down Arrow 73"/>
          <p:cNvSpPr/>
          <p:nvPr/>
        </p:nvSpPr>
        <p:spPr>
          <a:xfrm flipV="1">
            <a:off x="5679795" y="1713668"/>
            <a:ext cx="73996" cy="1446261"/>
          </a:xfrm>
          <a:prstGeom prst="downArrow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sp>
        <p:nvSpPr>
          <p:cNvPr id="75" name="TextBox 74"/>
          <p:cNvSpPr txBox="1"/>
          <p:nvPr/>
        </p:nvSpPr>
        <p:spPr>
          <a:xfrm>
            <a:off x="4932412" y="1486066"/>
            <a:ext cx="998135" cy="231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7" b="1" dirty="0"/>
              <a:t>Inntektsstrøm</a:t>
            </a: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 rotWithShape="1">
          <a:blip r:embed="rId10"/>
          <a:srcRect t="17031"/>
          <a:stretch/>
        </p:blipFill>
        <p:spPr>
          <a:xfrm>
            <a:off x="1454184" y="1914057"/>
            <a:ext cx="467593" cy="387957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CAEEA488-C9AC-4B4C-961A-32187290177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4618" y="1887881"/>
            <a:ext cx="471146" cy="41733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711BFD0-7A37-485D-9FE2-5E8A0E3D03E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52124" y="3768119"/>
            <a:ext cx="163963" cy="17933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1ACE6F0E-CF2C-4302-82CA-BED64635375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66361" y="3780948"/>
            <a:ext cx="163963" cy="179334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DE858AE5-85FA-41A5-A0AD-18F6A7F190B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90047" y="3767459"/>
            <a:ext cx="163963" cy="179334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C3E5DFBC-010A-4E9B-A617-86C346A5C5C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78791" y="3776723"/>
            <a:ext cx="163963" cy="179334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4F85A482-A613-400E-9FB1-BE001C4F887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53114" y="3774980"/>
            <a:ext cx="163963" cy="179334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1F79F32E-8C21-4C3F-BEC6-6392C1C51CC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59940" y="3774320"/>
            <a:ext cx="163963" cy="1793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99ECCE4-E236-4B64-BC11-15B99A8376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19370" y="206277"/>
            <a:ext cx="1052627" cy="71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8244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948155"/>
              </p:ext>
            </p:extLst>
          </p:nvPr>
        </p:nvGraphicFramePr>
        <p:xfrm>
          <a:off x="1201" y="1746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2"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1" y="1746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3B05D7-A343-4418-9FFC-73F9D70B1F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866624">
            <a:off x="398556" y="1201932"/>
            <a:ext cx="1386531" cy="11689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628" y="179504"/>
            <a:ext cx="6888767" cy="738664"/>
          </a:xfrm>
        </p:spPr>
        <p:txBody>
          <a:bodyPr/>
          <a:lstStyle/>
          <a:p>
            <a:r>
              <a:rPr lang="nb-NO" sz="2400" dirty="0"/>
              <a:t>Kommunene fastsetter eiendomsskatt som legges på nettleien</a:t>
            </a:r>
            <a:endParaRPr lang="en-US" sz="2400" dirty="0"/>
          </a:p>
        </p:txBody>
      </p:sp>
      <p:sp>
        <p:nvSpPr>
          <p:cNvPr id="6" name="Rectangle 5"/>
          <p:cNvSpPr/>
          <p:nvPr/>
        </p:nvSpPr>
        <p:spPr>
          <a:xfrm>
            <a:off x="2015192" y="2332276"/>
            <a:ext cx="2320388" cy="9676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 dirty="0"/>
              <a:t>Nettanlegg blir for øyeblikket definert i kategorien for "verk og bruk" i fastsettelsen av eiendomsskatt.</a:t>
            </a:r>
          </a:p>
        </p:txBody>
      </p:sp>
      <p:sp>
        <p:nvSpPr>
          <p:cNvPr id="9" name="Rectangle 8"/>
          <p:cNvSpPr/>
          <p:nvPr/>
        </p:nvSpPr>
        <p:spPr>
          <a:xfrm>
            <a:off x="2015192" y="3354203"/>
            <a:ext cx="2320388" cy="97607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 dirty="0"/>
              <a:t>Det er kommunene som velger om de vil ha eiendomsskatt og hvor stor prosent den skal utgjør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59195" y="1298146"/>
            <a:ext cx="2571247" cy="3032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200" dirty="0"/>
              <a:t>I de tilfellene der nettet strekker seg over flere kommuner </a:t>
            </a:r>
            <a:r>
              <a:rPr lang="en-US" sz="1200" dirty="0" err="1"/>
              <a:t>kan</a:t>
            </a:r>
            <a:r>
              <a:rPr lang="en-US" sz="1200" dirty="0"/>
              <a:t> </a:t>
            </a:r>
            <a:r>
              <a:rPr lang="en-US" sz="1200" dirty="0" err="1"/>
              <a:t>eiendomsskatten</a:t>
            </a:r>
            <a:r>
              <a:rPr lang="en-US" sz="1200" dirty="0"/>
              <a:t> </a:t>
            </a:r>
            <a:r>
              <a:rPr lang="en-US" sz="1200" dirty="0" err="1"/>
              <a:t>variere</a:t>
            </a:r>
            <a:r>
              <a:rPr lang="en-US" sz="1200" dirty="0"/>
              <a:t> </a:t>
            </a:r>
            <a:r>
              <a:rPr lang="en-US" sz="1200" dirty="0" err="1"/>
              <a:t>kommunene</a:t>
            </a:r>
            <a:r>
              <a:rPr lang="en-US" sz="1200" dirty="0"/>
              <a:t> </a:t>
            </a:r>
            <a:r>
              <a:rPr lang="en-US" sz="1200" dirty="0" err="1"/>
              <a:t>imellom</a:t>
            </a:r>
            <a:r>
              <a:rPr lang="en-US" sz="1200" dirty="0"/>
              <a:t>, </a:t>
            </a:r>
            <a:r>
              <a:rPr lang="en-US" sz="1200" dirty="0" err="1"/>
              <a:t>mens</a:t>
            </a:r>
            <a:r>
              <a:rPr lang="en-US" sz="1200" dirty="0"/>
              <a:t> </a:t>
            </a:r>
            <a:r>
              <a:rPr lang="en-US" sz="1200" dirty="0" err="1"/>
              <a:t>nettleien</a:t>
            </a:r>
            <a:r>
              <a:rPr lang="en-US" sz="1200" dirty="0"/>
              <a:t> </a:t>
            </a:r>
            <a:r>
              <a:rPr lang="en-US" sz="1200" dirty="0" err="1"/>
              <a:t>er</a:t>
            </a:r>
            <a:r>
              <a:rPr lang="en-US" sz="1200" dirty="0"/>
              <a:t> fast for </a:t>
            </a:r>
            <a:r>
              <a:rPr lang="en-US" sz="1200" dirty="0" err="1"/>
              <a:t>alle</a:t>
            </a:r>
            <a:r>
              <a:rPr lang="en-US" sz="1200" dirty="0"/>
              <a:t> </a:t>
            </a:r>
            <a:r>
              <a:rPr lang="en-US" sz="1200" dirty="0" err="1"/>
              <a:t>kunder</a:t>
            </a:r>
            <a:r>
              <a:rPr lang="en-US" sz="1200" dirty="0"/>
              <a:t>. </a:t>
            </a:r>
          </a:p>
          <a:p>
            <a:endParaRPr lang="en-US" sz="1200" dirty="0"/>
          </a:p>
          <a:p>
            <a:r>
              <a:rPr lang="en-US" sz="1200" dirty="0" err="1"/>
              <a:t>Det</a:t>
            </a:r>
            <a:r>
              <a:rPr lang="en-US" sz="1200" dirty="0"/>
              <a:t> </a:t>
            </a:r>
            <a:r>
              <a:rPr lang="en-US" sz="1200" dirty="0" err="1"/>
              <a:t>kan</a:t>
            </a:r>
            <a:r>
              <a:rPr lang="en-US" sz="1200" dirty="0"/>
              <a:t> </a:t>
            </a:r>
            <a:r>
              <a:rPr lang="en-US" sz="1200" dirty="0" err="1"/>
              <a:t>føre</a:t>
            </a:r>
            <a:r>
              <a:rPr lang="en-US" sz="1200" dirty="0"/>
              <a:t> </a:t>
            </a:r>
            <a:r>
              <a:rPr lang="en-US" sz="1200" dirty="0" err="1"/>
              <a:t>til</a:t>
            </a:r>
            <a:r>
              <a:rPr lang="en-US" sz="1200" dirty="0"/>
              <a:t> at </a:t>
            </a:r>
            <a:r>
              <a:rPr lang="en-US" sz="1200" dirty="0" err="1"/>
              <a:t>noen</a:t>
            </a:r>
            <a:r>
              <a:rPr lang="en-US" sz="1200" dirty="0"/>
              <a:t> </a:t>
            </a:r>
            <a:r>
              <a:rPr lang="en-US" sz="1200" dirty="0" err="1"/>
              <a:t>kunder</a:t>
            </a:r>
            <a:r>
              <a:rPr lang="en-US" sz="1200" dirty="0"/>
              <a:t> </a:t>
            </a:r>
            <a:r>
              <a:rPr lang="en-US" sz="1200" dirty="0" err="1"/>
              <a:t>betaler</a:t>
            </a:r>
            <a:r>
              <a:rPr lang="en-US" sz="1200" dirty="0"/>
              <a:t> </a:t>
            </a:r>
            <a:r>
              <a:rPr lang="en-US" sz="1200" dirty="0" err="1"/>
              <a:t>skatt</a:t>
            </a:r>
            <a:r>
              <a:rPr lang="en-US" sz="1200" dirty="0"/>
              <a:t> </a:t>
            </a:r>
            <a:r>
              <a:rPr lang="en-US" sz="1200" dirty="0" err="1"/>
              <a:t>som</a:t>
            </a:r>
            <a:r>
              <a:rPr lang="en-US" sz="1200" dirty="0"/>
              <a:t> </a:t>
            </a:r>
            <a:r>
              <a:rPr lang="en-US" sz="1200" dirty="0" err="1"/>
              <a:t>ikke</a:t>
            </a:r>
            <a:r>
              <a:rPr lang="en-US" sz="1200" dirty="0"/>
              <a:t> </a:t>
            </a:r>
            <a:r>
              <a:rPr lang="en-US" sz="1200" dirty="0" err="1"/>
              <a:t>går</a:t>
            </a:r>
            <a:r>
              <a:rPr lang="en-US" sz="1200" dirty="0"/>
              <a:t> </a:t>
            </a:r>
            <a:r>
              <a:rPr lang="en-US" sz="1200" dirty="0" err="1"/>
              <a:t>til</a:t>
            </a:r>
            <a:r>
              <a:rPr lang="en-US" sz="1200" dirty="0"/>
              <a:t> </a:t>
            </a:r>
            <a:r>
              <a:rPr lang="en-US" sz="1200" dirty="0" err="1"/>
              <a:t>deres</a:t>
            </a:r>
            <a:r>
              <a:rPr lang="en-US" sz="1200" dirty="0"/>
              <a:t> </a:t>
            </a:r>
            <a:r>
              <a:rPr lang="en-US" sz="1200" dirty="0" err="1"/>
              <a:t>egen</a:t>
            </a:r>
            <a:r>
              <a:rPr lang="en-US" sz="1200" dirty="0"/>
              <a:t> </a:t>
            </a:r>
            <a:r>
              <a:rPr lang="en-US" sz="1200" dirty="0" err="1"/>
              <a:t>kommune</a:t>
            </a:r>
            <a:r>
              <a:rPr lang="en-US" sz="1200" dirty="0"/>
              <a:t>.</a:t>
            </a:r>
            <a:endParaRPr lang="nb-NO" sz="1200" dirty="0"/>
          </a:p>
        </p:txBody>
      </p:sp>
      <p:grpSp>
        <p:nvGrpSpPr>
          <p:cNvPr id="16" name="Group 15"/>
          <p:cNvGrpSpPr/>
          <p:nvPr/>
        </p:nvGrpSpPr>
        <p:grpSpPr>
          <a:xfrm>
            <a:off x="4498864" y="1939252"/>
            <a:ext cx="1529668" cy="1853515"/>
            <a:chOff x="3203848" y="1808360"/>
            <a:chExt cx="3033813" cy="3450165"/>
          </a:xfrm>
          <a:solidFill>
            <a:schemeClr val="bg1">
              <a:lumMod val="75000"/>
            </a:schemeClr>
          </a:solidFill>
        </p:grpSpPr>
        <p:sp>
          <p:nvSpPr>
            <p:cNvPr id="17" name="Freeform 58"/>
            <p:cNvSpPr>
              <a:spLocks/>
            </p:cNvSpPr>
            <p:nvPr/>
          </p:nvSpPr>
          <p:spPr bwMode="auto">
            <a:xfrm>
              <a:off x="4986706" y="2135446"/>
              <a:ext cx="43340" cy="43349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24"/>
                </a:cxn>
                <a:cxn ang="0">
                  <a:pos x="24" y="16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5" h="25">
                  <a:moveTo>
                    <a:pt x="0" y="16"/>
                  </a:moveTo>
                  <a:lnTo>
                    <a:pt x="0" y="24"/>
                  </a:lnTo>
                  <a:lnTo>
                    <a:pt x="24" y="16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18" name="Freeform 59"/>
            <p:cNvSpPr>
              <a:spLocks/>
            </p:cNvSpPr>
            <p:nvPr/>
          </p:nvSpPr>
          <p:spPr bwMode="auto">
            <a:xfrm>
              <a:off x="5028076" y="2107860"/>
              <a:ext cx="31520" cy="43349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24"/>
                </a:cxn>
                <a:cxn ang="0">
                  <a:pos x="16" y="8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24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24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19" name="Freeform 60"/>
            <p:cNvSpPr>
              <a:spLocks/>
            </p:cNvSpPr>
            <p:nvPr/>
          </p:nvSpPr>
          <p:spPr bwMode="auto">
            <a:xfrm>
              <a:off x="5173749" y="2107860"/>
              <a:ext cx="70920" cy="57142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24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0" y="24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8" y="8"/>
                </a:cxn>
              </a:cxnLst>
              <a:rect l="0" t="0" r="r" b="b"/>
              <a:pathLst>
                <a:path w="41" h="33">
                  <a:moveTo>
                    <a:pt x="8" y="8"/>
                  </a:moveTo>
                  <a:lnTo>
                    <a:pt x="24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0" y="24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0" name="Freeform 61"/>
            <p:cNvSpPr>
              <a:spLocks/>
            </p:cNvSpPr>
            <p:nvPr/>
          </p:nvSpPr>
          <p:spPr bwMode="auto">
            <a:xfrm>
              <a:off x="5140366" y="2107860"/>
              <a:ext cx="59100" cy="57142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32" y="24"/>
                </a:cxn>
                <a:cxn ang="0">
                  <a:pos x="32" y="0"/>
                </a:cxn>
                <a:cxn ang="0">
                  <a:pos x="24" y="0"/>
                </a:cxn>
                <a:cxn ang="0">
                  <a:pos x="0" y="24"/>
                </a:cxn>
              </a:cxnLst>
              <a:rect l="0" t="0" r="r" b="b"/>
              <a:pathLst>
                <a:path w="33" h="33">
                  <a:moveTo>
                    <a:pt x="0" y="24"/>
                  </a:moveTo>
                  <a:lnTo>
                    <a:pt x="16" y="32"/>
                  </a:lnTo>
                  <a:lnTo>
                    <a:pt x="16" y="24"/>
                  </a:lnTo>
                  <a:lnTo>
                    <a:pt x="24" y="24"/>
                  </a:lnTo>
                  <a:lnTo>
                    <a:pt x="24" y="32"/>
                  </a:lnTo>
                  <a:lnTo>
                    <a:pt x="32" y="24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1" name="Freeform 62"/>
            <p:cNvSpPr>
              <a:spLocks/>
            </p:cNvSpPr>
            <p:nvPr/>
          </p:nvSpPr>
          <p:spPr bwMode="auto">
            <a:xfrm>
              <a:off x="5028076" y="2149239"/>
              <a:ext cx="31520" cy="1576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8"/>
                </a:cxn>
                <a:cxn ang="0">
                  <a:pos x="16" y="0"/>
                </a:cxn>
                <a:cxn ang="0">
                  <a:pos x="0" y="8"/>
                </a:cxn>
              </a:cxnLst>
              <a:rect l="0" t="0" r="r" b="b"/>
              <a:pathLst>
                <a:path w="17" h="9">
                  <a:moveTo>
                    <a:pt x="0" y="8"/>
                  </a:moveTo>
                  <a:lnTo>
                    <a:pt x="16" y="8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2" name="Freeform 63"/>
            <p:cNvSpPr>
              <a:spLocks/>
            </p:cNvSpPr>
            <p:nvPr/>
          </p:nvSpPr>
          <p:spPr bwMode="auto">
            <a:xfrm>
              <a:off x="5000496" y="2163031"/>
              <a:ext cx="86680" cy="57142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24" y="32"/>
                </a:cxn>
                <a:cxn ang="0">
                  <a:pos x="40" y="32"/>
                </a:cxn>
                <a:cxn ang="0">
                  <a:pos x="40" y="24"/>
                </a:cxn>
                <a:cxn ang="0">
                  <a:pos x="40" y="16"/>
                </a:cxn>
                <a:cxn ang="0">
                  <a:pos x="48" y="8"/>
                </a:cxn>
                <a:cxn ang="0">
                  <a:pos x="48" y="0"/>
                </a:cxn>
                <a:cxn ang="0">
                  <a:pos x="40" y="0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24"/>
                </a:cxn>
              </a:cxnLst>
              <a:rect l="0" t="0" r="r" b="b"/>
              <a:pathLst>
                <a:path w="49" h="33">
                  <a:moveTo>
                    <a:pt x="0" y="24"/>
                  </a:moveTo>
                  <a:lnTo>
                    <a:pt x="24" y="32"/>
                  </a:lnTo>
                  <a:lnTo>
                    <a:pt x="40" y="32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8" y="8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3" name="Freeform 64"/>
            <p:cNvSpPr>
              <a:spLocks/>
            </p:cNvSpPr>
            <p:nvPr/>
          </p:nvSpPr>
          <p:spPr bwMode="auto">
            <a:xfrm>
              <a:off x="5085206" y="2163031"/>
              <a:ext cx="29550" cy="57142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32"/>
                </a:cxn>
              </a:cxnLst>
              <a:rect l="0" t="0" r="r" b="b"/>
              <a:pathLst>
                <a:path w="17" h="33">
                  <a:moveTo>
                    <a:pt x="0" y="32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4" name="Freeform 65"/>
            <p:cNvSpPr>
              <a:spLocks/>
            </p:cNvSpPr>
            <p:nvPr/>
          </p:nvSpPr>
          <p:spPr bwMode="auto">
            <a:xfrm>
              <a:off x="5197497" y="2149239"/>
              <a:ext cx="43340" cy="2955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16"/>
                </a:cxn>
                <a:cxn ang="0">
                  <a:pos x="24" y="8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8"/>
                </a:cxn>
              </a:cxnLst>
              <a:rect l="0" t="0" r="r" b="b"/>
              <a:pathLst>
                <a:path w="25" h="17">
                  <a:moveTo>
                    <a:pt x="0" y="8"/>
                  </a:moveTo>
                  <a:lnTo>
                    <a:pt x="16" y="16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5" name="Freeform 66"/>
            <p:cNvSpPr>
              <a:spLocks/>
            </p:cNvSpPr>
            <p:nvPr/>
          </p:nvSpPr>
          <p:spPr bwMode="auto">
            <a:xfrm>
              <a:off x="5238867" y="2163031"/>
              <a:ext cx="31520" cy="29556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6" y="8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8" y="16"/>
                </a:cxn>
              </a:cxnLst>
              <a:rect l="0" t="0" r="r" b="b"/>
              <a:pathLst>
                <a:path w="17" h="17">
                  <a:moveTo>
                    <a:pt x="8" y="16"/>
                  </a:moveTo>
                  <a:lnTo>
                    <a:pt x="16" y="8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6" name="Freeform 67"/>
            <p:cNvSpPr>
              <a:spLocks/>
            </p:cNvSpPr>
            <p:nvPr/>
          </p:nvSpPr>
          <p:spPr bwMode="auto">
            <a:xfrm>
              <a:off x="4915785" y="2218203"/>
              <a:ext cx="114260" cy="82757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24" y="48"/>
                </a:cxn>
                <a:cxn ang="0">
                  <a:pos x="40" y="48"/>
                </a:cxn>
                <a:cxn ang="0">
                  <a:pos x="64" y="32"/>
                </a:cxn>
                <a:cxn ang="0">
                  <a:pos x="64" y="16"/>
                </a:cxn>
                <a:cxn ang="0">
                  <a:pos x="64" y="0"/>
                </a:cxn>
                <a:cxn ang="0">
                  <a:pos x="56" y="0"/>
                </a:cxn>
                <a:cxn ang="0">
                  <a:pos x="48" y="0"/>
                </a:cxn>
                <a:cxn ang="0">
                  <a:pos x="56" y="16"/>
                </a:cxn>
                <a:cxn ang="0">
                  <a:pos x="48" y="24"/>
                </a:cxn>
                <a:cxn ang="0">
                  <a:pos x="24" y="16"/>
                </a:cxn>
                <a:cxn ang="0">
                  <a:pos x="24" y="32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0" y="48"/>
                </a:cxn>
              </a:cxnLst>
              <a:rect l="0" t="0" r="r" b="b"/>
              <a:pathLst>
                <a:path w="65" h="49">
                  <a:moveTo>
                    <a:pt x="0" y="48"/>
                  </a:moveTo>
                  <a:lnTo>
                    <a:pt x="24" y="48"/>
                  </a:lnTo>
                  <a:lnTo>
                    <a:pt x="40" y="48"/>
                  </a:lnTo>
                  <a:lnTo>
                    <a:pt x="64" y="32"/>
                  </a:lnTo>
                  <a:lnTo>
                    <a:pt x="64" y="16"/>
                  </a:lnTo>
                  <a:lnTo>
                    <a:pt x="64" y="0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56" y="16"/>
                  </a:lnTo>
                  <a:lnTo>
                    <a:pt x="48" y="24"/>
                  </a:lnTo>
                  <a:lnTo>
                    <a:pt x="24" y="16"/>
                  </a:lnTo>
                  <a:lnTo>
                    <a:pt x="24" y="32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7" name="Freeform 68"/>
            <p:cNvSpPr>
              <a:spLocks/>
            </p:cNvSpPr>
            <p:nvPr/>
          </p:nvSpPr>
          <p:spPr bwMode="auto">
            <a:xfrm>
              <a:off x="4972916" y="2218203"/>
              <a:ext cx="29550" cy="2758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8" name="Freeform 69"/>
            <p:cNvSpPr>
              <a:spLocks/>
            </p:cNvSpPr>
            <p:nvPr/>
          </p:nvSpPr>
          <p:spPr bwMode="auto">
            <a:xfrm>
              <a:off x="5183707" y="2176824"/>
              <a:ext cx="15760" cy="43349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8" y="24"/>
                </a:cxn>
                <a:cxn ang="0">
                  <a:pos x="8" y="8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0" y="24"/>
                </a:cxn>
              </a:cxnLst>
              <a:rect l="0" t="0" r="r" b="b"/>
              <a:pathLst>
                <a:path w="9" h="25">
                  <a:moveTo>
                    <a:pt x="0" y="24"/>
                  </a:moveTo>
                  <a:lnTo>
                    <a:pt x="8" y="24"/>
                  </a:lnTo>
                  <a:lnTo>
                    <a:pt x="8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29" name="Freeform 70"/>
            <p:cNvSpPr>
              <a:spLocks/>
            </p:cNvSpPr>
            <p:nvPr/>
          </p:nvSpPr>
          <p:spPr bwMode="auto">
            <a:xfrm>
              <a:off x="5351157" y="2054660"/>
              <a:ext cx="72890" cy="4137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32" y="8"/>
                </a:cxn>
                <a:cxn ang="0">
                  <a:pos x="24" y="8"/>
                </a:cxn>
                <a:cxn ang="0">
                  <a:pos x="24" y="0"/>
                </a:cxn>
                <a:cxn ang="0">
                  <a:pos x="0" y="8"/>
                </a:cxn>
              </a:cxnLst>
              <a:rect l="0" t="0" r="r" b="b"/>
              <a:pathLst>
                <a:path w="41" h="25">
                  <a:moveTo>
                    <a:pt x="0" y="8"/>
                  </a:moveTo>
                  <a:lnTo>
                    <a:pt x="24" y="24"/>
                  </a:lnTo>
                  <a:lnTo>
                    <a:pt x="32" y="24"/>
                  </a:lnTo>
                  <a:lnTo>
                    <a:pt x="40" y="16"/>
                  </a:lnTo>
                  <a:lnTo>
                    <a:pt x="32" y="8"/>
                  </a:lnTo>
                  <a:lnTo>
                    <a:pt x="24" y="8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0" name="Freeform 71"/>
            <p:cNvSpPr>
              <a:spLocks/>
            </p:cNvSpPr>
            <p:nvPr/>
          </p:nvSpPr>
          <p:spPr bwMode="auto">
            <a:xfrm>
              <a:off x="5492998" y="1863531"/>
              <a:ext cx="15760" cy="41378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24"/>
                </a:cxn>
                <a:cxn ang="0">
                  <a:pos x="8" y="16"/>
                </a:cxn>
                <a:cxn ang="0">
                  <a:pos x="8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9" h="25">
                  <a:moveTo>
                    <a:pt x="0" y="16"/>
                  </a:moveTo>
                  <a:lnTo>
                    <a:pt x="0" y="24"/>
                  </a:lnTo>
                  <a:lnTo>
                    <a:pt x="8" y="16"/>
                  </a:lnTo>
                  <a:lnTo>
                    <a:pt x="8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1" name="Freeform 72"/>
            <p:cNvSpPr>
              <a:spLocks/>
            </p:cNvSpPr>
            <p:nvPr/>
          </p:nvSpPr>
          <p:spPr bwMode="auto">
            <a:xfrm>
              <a:off x="5619078" y="1822153"/>
              <a:ext cx="100470" cy="70934"/>
            </a:xfrm>
            <a:custGeom>
              <a:avLst/>
              <a:gdLst/>
              <a:ahLst/>
              <a:cxnLst>
                <a:cxn ang="0">
                  <a:pos x="8" y="32"/>
                </a:cxn>
                <a:cxn ang="0">
                  <a:pos x="16" y="32"/>
                </a:cxn>
                <a:cxn ang="0">
                  <a:pos x="24" y="40"/>
                </a:cxn>
                <a:cxn ang="0">
                  <a:pos x="32" y="32"/>
                </a:cxn>
                <a:cxn ang="0">
                  <a:pos x="48" y="32"/>
                </a:cxn>
                <a:cxn ang="0">
                  <a:pos x="56" y="24"/>
                </a:cxn>
                <a:cxn ang="0">
                  <a:pos x="48" y="16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48" y="8"/>
                </a:cxn>
                <a:cxn ang="0">
                  <a:pos x="40" y="8"/>
                </a:cxn>
                <a:cxn ang="0">
                  <a:pos x="32" y="0"/>
                </a:cxn>
                <a:cxn ang="0">
                  <a:pos x="16" y="0"/>
                </a:cxn>
                <a:cxn ang="0">
                  <a:pos x="8" y="8"/>
                </a:cxn>
                <a:cxn ang="0">
                  <a:pos x="24" y="8"/>
                </a:cxn>
                <a:cxn ang="0">
                  <a:pos x="24" y="16"/>
                </a:cxn>
                <a:cxn ang="0">
                  <a:pos x="0" y="16"/>
                </a:cxn>
                <a:cxn ang="0">
                  <a:pos x="8" y="32"/>
                </a:cxn>
              </a:cxnLst>
              <a:rect l="0" t="0" r="r" b="b"/>
              <a:pathLst>
                <a:path w="57" h="41">
                  <a:moveTo>
                    <a:pt x="8" y="32"/>
                  </a:moveTo>
                  <a:lnTo>
                    <a:pt x="16" y="32"/>
                  </a:lnTo>
                  <a:lnTo>
                    <a:pt x="24" y="40"/>
                  </a:lnTo>
                  <a:lnTo>
                    <a:pt x="32" y="32"/>
                  </a:lnTo>
                  <a:lnTo>
                    <a:pt x="48" y="32"/>
                  </a:lnTo>
                  <a:lnTo>
                    <a:pt x="56" y="24"/>
                  </a:lnTo>
                  <a:lnTo>
                    <a:pt x="48" y="16"/>
                  </a:lnTo>
                  <a:lnTo>
                    <a:pt x="48" y="24"/>
                  </a:lnTo>
                  <a:lnTo>
                    <a:pt x="40" y="16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4" y="8"/>
                  </a:lnTo>
                  <a:lnTo>
                    <a:pt x="24" y="16"/>
                  </a:lnTo>
                  <a:lnTo>
                    <a:pt x="0" y="16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2" name="Freeform 73"/>
            <p:cNvSpPr>
              <a:spLocks/>
            </p:cNvSpPr>
            <p:nvPr/>
          </p:nvSpPr>
          <p:spPr bwMode="auto">
            <a:xfrm>
              <a:off x="5408287" y="1930525"/>
              <a:ext cx="43340" cy="29556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24" y="16"/>
                </a:cxn>
                <a:cxn ang="0">
                  <a:pos x="24" y="8"/>
                </a:cxn>
                <a:cxn ang="0">
                  <a:pos x="24" y="0"/>
                </a:cxn>
                <a:cxn ang="0">
                  <a:pos x="16" y="8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8" y="16"/>
                </a:cxn>
              </a:cxnLst>
              <a:rect l="0" t="0" r="r" b="b"/>
              <a:pathLst>
                <a:path w="25" h="17">
                  <a:moveTo>
                    <a:pt x="8" y="16"/>
                  </a:moveTo>
                  <a:lnTo>
                    <a:pt x="24" y="16"/>
                  </a:lnTo>
                  <a:lnTo>
                    <a:pt x="24" y="8"/>
                  </a:lnTo>
                  <a:lnTo>
                    <a:pt x="24" y="0"/>
                  </a:lnTo>
                  <a:lnTo>
                    <a:pt x="16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3" name="Freeform 74"/>
            <p:cNvSpPr>
              <a:spLocks/>
            </p:cNvSpPr>
            <p:nvPr/>
          </p:nvSpPr>
          <p:spPr bwMode="auto">
            <a:xfrm>
              <a:off x="5463448" y="1944317"/>
              <a:ext cx="59100" cy="57142"/>
            </a:xfrm>
            <a:custGeom>
              <a:avLst/>
              <a:gdLst/>
              <a:ahLst/>
              <a:cxnLst>
                <a:cxn ang="0">
                  <a:pos x="16" y="32"/>
                </a:cxn>
                <a:cxn ang="0">
                  <a:pos x="24" y="24"/>
                </a:cxn>
                <a:cxn ang="0">
                  <a:pos x="32" y="24"/>
                </a:cxn>
                <a:cxn ang="0">
                  <a:pos x="32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32"/>
                </a:cxn>
              </a:cxnLst>
              <a:rect l="0" t="0" r="r" b="b"/>
              <a:pathLst>
                <a:path w="33" h="33">
                  <a:moveTo>
                    <a:pt x="16" y="32"/>
                  </a:moveTo>
                  <a:lnTo>
                    <a:pt x="24" y="24"/>
                  </a:lnTo>
                  <a:lnTo>
                    <a:pt x="32" y="24"/>
                  </a:lnTo>
                  <a:lnTo>
                    <a:pt x="32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16" y="32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4" name="Freeform 75"/>
            <p:cNvSpPr>
              <a:spLocks/>
            </p:cNvSpPr>
            <p:nvPr/>
          </p:nvSpPr>
          <p:spPr bwMode="auto">
            <a:xfrm>
              <a:off x="5408287" y="1985696"/>
              <a:ext cx="86680" cy="82757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40"/>
                </a:cxn>
                <a:cxn ang="0">
                  <a:pos x="24" y="48"/>
                </a:cxn>
                <a:cxn ang="0">
                  <a:pos x="24" y="40"/>
                </a:cxn>
                <a:cxn ang="0">
                  <a:pos x="24" y="32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40" y="8"/>
                </a:cxn>
                <a:cxn ang="0">
                  <a:pos x="32" y="0"/>
                </a:cxn>
                <a:cxn ang="0">
                  <a:pos x="24" y="0"/>
                </a:cxn>
                <a:cxn ang="0">
                  <a:pos x="24" y="8"/>
                </a:cxn>
                <a:cxn ang="0">
                  <a:pos x="8" y="24"/>
                </a:cxn>
                <a:cxn ang="0">
                  <a:pos x="0" y="32"/>
                </a:cxn>
              </a:cxnLst>
              <a:rect l="0" t="0" r="r" b="b"/>
              <a:pathLst>
                <a:path w="49" h="49">
                  <a:moveTo>
                    <a:pt x="0" y="32"/>
                  </a:moveTo>
                  <a:lnTo>
                    <a:pt x="0" y="40"/>
                  </a:lnTo>
                  <a:lnTo>
                    <a:pt x="24" y="48"/>
                  </a:lnTo>
                  <a:lnTo>
                    <a:pt x="24" y="40"/>
                  </a:lnTo>
                  <a:lnTo>
                    <a:pt x="24" y="32"/>
                  </a:lnTo>
                  <a:lnTo>
                    <a:pt x="40" y="32"/>
                  </a:lnTo>
                  <a:lnTo>
                    <a:pt x="48" y="24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24" y="8"/>
                  </a:lnTo>
                  <a:lnTo>
                    <a:pt x="8" y="24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5" name="Freeform 76"/>
            <p:cNvSpPr>
              <a:spLocks/>
            </p:cNvSpPr>
            <p:nvPr/>
          </p:nvSpPr>
          <p:spPr bwMode="auto">
            <a:xfrm>
              <a:off x="5309787" y="1944317"/>
              <a:ext cx="114260" cy="98520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6"/>
                </a:cxn>
                <a:cxn ang="0">
                  <a:pos x="24" y="40"/>
                </a:cxn>
                <a:cxn ang="0">
                  <a:pos x="40" y="56"/>
                </a:cxn>
                <a:cxn ang="0">
                  <a:pos x="48" y="48"/>
                </a:cxn>
                <a:cxn ang="0">
                  <a:pos x="56" y="48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16"/>
                </a:cxn>
                <a:cxn ang="0">
                  <a:pos x="56" y="16"/>
                </a:cxn>
                <a:cxn ang="0">
                  <a:pos x="48" y="0"/>
                </a:cxn>
                <a:cxn ang="0">
                  <a:pos x="48" y="24"/>
                </a:cxn>
                <a:cxn ang="0">
                  <a:pos x="32" y="16"/>
                </a:cxn>
                <a:cxn ang="0">
                  <a:pos x="24" y="32"/>
                </a:cxn>
                <a:cxn ang="0">
                  <a:pos x="16" y="24"/>
                </a:cxn>
                <a:cxn ang="0">
                  <a:pos x="0" y="32"/>
                </a:cxn>
                <a:cxn ang="0">
                  <a:pos x="16" y="40"/>
                </a:cxn>
                <a:cxn ang="0">
                  <a:pos x="16" y="48"/>
                </a:cxn>
              </a:cxnLst>
              <a:rect l="0" t="0" r="r" b="b"/>
              <a:pathLst>
                <a:path w="65" h="57">
                  <a:moveTo>
                    <a:pt x="16" y="48"/>
                  </a:moveTo>
                  <a:lnTo>
                    <a:pt x="16" y="56"/>
                  </a:lnTo>
                  <a:lnTo>
                    <a:pt x="24" y="40"/>
                  </a:lnTo>
                  <a:lnTo>
                    <a:pt x="40" y="56"/>
                  </a:lnTo>
                  <a:lnTo>
                    <a:pt x="48" y="48"/>
                  </a:lnTo>
                  <a:lnTo>
                    <a:pt x="56" y="48"/>
                  </a:lnTo>
                  <a:lnTo>
                    <a:pt x="56" y="32"/>
                  </a:lnTo>
                  <a:lnTo>
                    <a:pt x="64" y="32"/>
                  </a:lnTo>
                  <a:lnTo>
                    <a:pt x="64" y="16"/>
                  </a:lnTo>
                  <a:lnTo>
                    <a:pt x="56" y="16"/>
                  </a:lnTo>
                  <a:lnTo>
                    <a:pt x="48" y="0"/>
                  </a:lnTo>
                  <a:lnTo>
                    <a:pt x="48" y="24"/>
                  </a:lnTo>
                  <a:lnTo>
                    <a:pt x="32" y="16"/>
                  </a:lnTo>
                  <a:lnTo>
                    <a:pt x="24" y="32"/>
                  </a:lnTo>
                  <a:lnTo>
                    <a:pt x="16" y="24"/>
                  </a:lnTo>
                  <a:lnTo>
                    <a:pt x="0" y="32"/>
                  </a:lnTo>
                  <a:lnTo>
                    <a:pt x="16" y="40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6" name="Freeform 77"/>
            <p:cNvSpPr>
              <a:spLocks/>
            </p:cNvSpPr>
            <p:nvPr/>
          </p:nvSpPr>
          <p:spPr bwMode="auto">
            <a:xfrm>
              <a:off x="4789705" y="2285196"/>
              <a:ext cx="128051" cy="165513"/>
            </a:xfrm>
            <a:custGeom>
              <a:avLst/>
              <a:gdLst/>
              <a:ahLst/>
              <a:cxnLst>
                <a:cxn ang="0">
                  <a:pos x="72" y="64"/>
                </a:cxn>
                <a:cxn ang="0">
                  <a:pos x="64" y="48"/>
                </a:cxn>
                <a:cxn ang="0">
                  <a:pos x="72" y="24"/>
                </a:cxn>
                <a:cxn ang="0">
                  <a:pos x="64" y="16"/>
                </a:cxn>
                <a:cxn ang="0">
                  <a:pos x="72" y="8"/>
                </a:cxn>
                <a:cxn ang="0">
                  <a:pos x="56" y="0"/>
                </a:cxn>
                <a:cxn ang="0">
                  <a:pos x="48" y="24"/>
                </a:cxn>
                <a:cxn ang="0">
                  <a:pos x="40" y="8"/>
                </a:cxn>
                <a:cxn ang="0">
                  <a:pos x="32" y="24"/>
                </a:cxn>
                <a:cxn ang="0">
                  <a:pos x="40" y="32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24" y="40"/>
                </a:cxn>
                <a:cxn ang="0">
                  <a:pos x="24" y="48"/>
                </a:cxn>
                <a:cxn ang="0">
                  <a:pos x="8" y="48"/>
                </a:cxn>
                <a:cxn ang="0">
                  <a:pos x="24" y="56"/>
                </a:cxn>
                <a:cxn ang="0">
                  <a:pos x="8" y="64"/>
                </a:cxn>
                <a:cxn ang="0">
                  <a:pos x="24" y="64"/>
                </a:cxn>
                <a:cxn ang="0">
                  <a:pos x="0" y="80"/>
                </a:cxn>
                <a:cxn ang="0">
                  <a:pos x="8" y="88"/>
                </a:cxn>
                <a:cxn ang="0">
                  <a:pos x="16" y="88"/>
                </a:cxn>
                <a:cxn ang="0">
                  <a:pos x="16" y="96"/>
                </a:cxn>
                <a:cxn ang="0">
                  <a:pos x="32" y="88"/>
                </a:cxn>
                <a:cxn ang="0">
                  <a:pos x="32" y="72"/>
                </a:cxn>
                <a:cxn ang="0">
                  <a:pos x="72" y="64"/>
                </a:cxn>
              </a:cxnLst>
              <a:rect l="0" t="0" r="r" b="b"/>
              <a:pathLst>
                <a:path w="73" h="97">
                  <a:moveTo>
                    <a:pt x="72" y="64"/>
                  </a:moveTo>
                  <a:lnTo>
                    <a:pt x="64" y="48"/>
                  </a:lnTo>
                  <a:lnTo>
                    <a:pt x="72" y="24"/>
                  </a:lnTo>
                  <a:lnTo>
                    <a:pt x="64" y="16"/>
                  </a:lnTo>
                  <a:lnTo>
                    <a:pt x="72" y="8"/>
                  </a:lnTo>
                  <a:lnTo>
                    <a:pt x="56" y="0"/>
                  </a:lnTo>
                  <a:lnTo>
                    <a:pt x="48" y="24"/>
                  </a:lnTo>
                  <a:lnTo>
                    <a:pt x="40" y="8"/>
                  </a:lnTo>
                  <a:lnTo>
                    <a:pt x="32" y="24"/>
                  </a:lnTo>
                  <a:lnTo>
                    <a:pt x="40" y="32"/>
                  </a:lnTo>
                  <a:lnTo>
                    <a:pt x="8" y="24"/>
                  </a:lnTo>
                  <a:lnTo>
                    <a:pt x="8" y="32"/>
                  </a:lnTo>
                  <a:lnTo>
                    <a:pt x="24" y="40"/>
                  </a:lnTo>
                  <a:lnTo>
                    <a:pt x="24" y="48"/>
                  </a:lnTo>
                  <a:lnTo>
                    <a:pt x="8" y="48"/>
                  </a:lnTo>
                  <a:lnTo>
                    <a:pt x="24" y="56"/>
                  </a:lnTo>
                  <a:lnTo>
                    <a:pt x="8" y="64"/>
                  </a:lnTo>
                  <a:lnTo>
                    <a:pt x="24" y="64"/>
                  </a:lnTo>
                  <a:lnTo>
                    <a:pt x="0" y="80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16" y="96"/>
                  </a:lnTo>
                  <a:lnTo>
                    <a:pt x="32" y="88"/>
                  </a:lnTo>
                  <a:lnTo>
                    <a:pt x="32" y="72"/>
                  </a:lnTo>
                  <a:lnTo>
                    <a:pt x="72" y="6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7" name="Freeform 78"/>
            <p:cNvSpPr>
              <a:spLocks/>
            </p:cNvSpPr>
            <p:nvPr/>
          </p:nvSpPr>
          <p:spPr bwMode="auto">
            <a:xfrm>
              <a:off x="4803495" y="2490117"/>
              <a:ext cx="31520" cy="2955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8" y="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8" y="16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8" name="Freeform 79"/>
            <p:cNvSpPr>
              <a:spLocks/>
            </p:cNvSpPr>
            <p:nvPr/>
          </p:nvSpPr>
          <p:spPr bwMode="auto">
            <a:xfrm>
              <a:off x="4833045" y="2462532"/>
              <a:ext cx="29550" cy="2955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16" y="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8" y="16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39" name="Freeform 80"/>
            <p:cNvSpPr>
              <a:spLocks/>
            </p:cNvSpPr>
            <p:nvPr/>
          </p:nvSpPr>
          <p:spPr bwMode="auto">
            <a:xfrm>
              <a:off x="4663624" y="2354160"/>
              <a:ext cx="59100" cy="68964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24" y="32"/>
                </a:cxn>
                <a:cxn ang="0">
                  <a:pos x="32" y="24"/>
                </a:cxn>
                <a:cxn ang="0">
                  <a:pos x="32" y="0"/>
                </a:cxn>
                <a:cxn ang="0">
                  <a:pos x="8" y="24"/>
                </a:cxn>
                <a:cxn ang="0">
                  <a:pos x="0" y="40"/>
                </a:cxn>
              </a:cxnLst>
              <a:rect l="0" t="0" r="r" b="b"/>
              <a:pathLst>
                <a:path w="33" h="41">
                  <a:moveTo>
                    <a:pt x="0" y="40"/>
                  </a:moveTo>
                  <a:lnTo>
                    <a:pt x="24" y="32"/>
                  </a:lnTo>
                  <a:lnTo>
                    <a:pt x="32" y="24"/>
                  </a:lnTo>
                  <a:lnTo>
                    <a:pt x="32" y="0"/>
                  </a:lnTo>
                  <a:lnTo>
                    <a:pt x="8" y="24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0" name="Freeform 81"/>
            <p:cNvSpPr>
              <a:spLocks/>
            </p:cNvSpPr>
            <p:nvPr/>
          </p:nvSpPr>
          <p:spPr bwMode="auto">
            <a:xfrm>
              <a:off x="4649834" y="2434946"/>
              <a:ext cx="43340" cy="2955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" y="8"/>
                </a:cxn>
                <a:cxn ang="0">
                  <a:pos x="24" y="8"/>
                </a:cxn>
                <a:cxn ang="0">
                  <a:pos x="24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8" y="8"/>
                  </a:lnTo>
                  <a:lnTo>
                    <a:pt x="24" y="8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1" name="Freeform 82"/>
            <p:cNvSpPr>
              <a:spLocks/>
            </p:cNvSpPr>
            <p:nvPr/>
          </p:nvSpPr>
          <p:spPr bwMode="auto">
            <a:xfrm>
              <a:off x="4594674" y="2448739"/>
              <a:ext cx="57130" cy="98520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6" y="56"/>
                </a:cxn>
                <a:cxn ang="0">
                  <a:pos x="32" y="40"/>
                </a:cxn>
                <a:cxn ang="0">
                  <a:pos x="16" y="32"/>
                </a:cxn>
                <a:cxn ang="0">
                  <a:pos x="32" y="24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8" y="16"/>
                </a:cxn>
                <a:cxn ang="0">
                  <a:pos x="0" y="24"/>
                </a:cxn>
                <a:cxn ang="0">
                  <a:pos x="8" y="32"/>
                </a:cxn>
                <a:cxn ang="0">
                  <a:pos x="8" y="40"/>
                </a:cxn>
                <a:cxn ang="0">
                  <a:pos x="0" y="56"/>
                </a:cxn>
              </a:cxnLst>
              <a:rect l="0" t="0" r="r" b="b"/>
              <a:pathLst>
                <a:path w="33" h="57">
                  <a:moveTo>
                    <a:pt x="0" y="56"/>
                  </a:moveTo>
                  <a:lnTo>
                    <a:pt x="16" y="56"/>
                  </a:lnTo>
                  <a:lnTo>
                    <a:pt x="32" y="40"/>
                  </a:lnTo>
                  <a:lnTo>
                    <a:pt x="16" y="32"/>
                  </a:lnTo>
                  <a:lnTo>
                    <a:pt x="32" y="24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6"/>
                  </a:lnTo>
                  <a:lnTo>
                    <a:pt x="0" y="24"/>
                  </a:lnTo>
                  <a:lnTo>
                    <a:pt x="8" y="32"/>
                  </a:lnTo>
                  <a:lnTo>
                    <a:pt x="8" y="40"/>
                  </a:lnTo>
                  <a:lnTo>
                    <a:pt x="0" y="5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2" name="Freeform 83"/>
            <p:cNvSpPr>
              <a:spLocks/>
            </p:cNvSpPr>
            <p:nvPr/>
          </p:nvSpPr>
          <p:spPr bwMode="auto">
            <a:xfrm>
              <a:off x="4551334" y="2490117"/>
              <a:ext cx="59100" cy="57142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32"/>
                </a:cxn>
                <a:cxn ang="0">
                  <a:pos x="16" y="16"/>
                </a:cxn>
                <a:cxn ang="0">
                  <a:pos x="32" y="16"/>
                </a:cxn>
                <a:cxn ang="0">
                  <a:pos x="24" y="8"/>
                </a:cxn>
                <a:cxn ang="0">
                  <a:pos x="24" y="0"/>
                </a:cxn>
                <a:cxn ang="0">
                  <a:pos x="0" y="8"/>
                </a:cxn>
                <a:cxn ang="0">
                  <a:pos x="0" y="16"/>
                </a:cxn>
                <a:cxn ang="0">
                  <a:pos x="0" y="32"/>
                </a:cxn>
              </a:cxnLst>
              <a:rect l="0" t="0" r="r" b="b"/>
              <a:pathLst>
                <a:path w="33" h="33">
                  <a:moveTo>
                    <a:pt x="0" y="32"/>
                  </a:moveTo>
                  <a:lnTo>
                    <a:pt x="16" y="32"/>
                  </a:lnTo>
                  <a:lnTo>
                    <a:pt x="16" y="16"/>
                  </a:lnTo>
                  <a:lnTo>
                    <a:pt x="32" y="16"/>
                  </a:lnTo>
                  <a:lnTo>
                    <a:pt x="24" y="8"/>
                  </a:lnTo>
                  <a:lnTo>
                    <a:pt x="24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3" name="Freeform 84"/>
            <p:cNvSpPr>
              <a:spLocks/>
            </p:cNvSpPr>
            <p:nvPr/>
          </p:nvSpPr>
          <p:spPr bwMode="auto">
            <a:xfrm>
              <a:off x="4565124" y="2559081"/>
              <a:ext cx="45310" cy="13793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16" y="8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8" y="8"/>
                </a:cxn>
              </a:cxnLst>
              <a:rect l="0" t="0" r="r" b="b"/>
              <a:pathLst>
                <a:path w="25" h="9">
                  <a:moveTo>
                    <a:pt x="8" y="8"/>
                  </a:moveTo>
                  <a:lnTo>
                    <a:pt x="16" y="8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0" y="0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4" name="Freeform 85"/>
            <p:cNvSpPr>
              <a:spLocks/>
            </p:cNvSpPr>
            <p:nvPr/>
          </p:nvSpPr>
          <p:spPr bwMode="auto">
            <a:xfrm>
              <a:off x="4608464" y="2462532"/>
              <a:ext cx="169421" cy="179306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0" y="104"/>
                </a:cxn>
                <a:cxn ang="0">
                  <a:pos x="24" y="64"/>
                </a:cxn>
                <a:cxn ang="0">
                  <a:pos x="32" y="64"/>
                </a:cxn>
                <a:cxn ang="0">
                  <a:pos x="24" y="88"/>
                </a:cxn>
                <a:cxn ang="0">
                  <a:pos x="48" y="88"/>
                </a:cxn>
                <a:cxn ang="0">
                  <a:pos x="48" y="72"/>
                </a:cxn>
                <a:cxn ang="0">
                  <a:pos x="56" y="64"/>
                </a:cxn>
                <a:cxn ang="0">
                  <a:pos x="56" y="80"/>
                </a:cxn>
                <a:cxn ang="0">
                  <a:pos x="64" y="72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80" y="56"/>
                </a:cxn>
                <a:cxn ang="0">
                  <a:pos x="96" y="40"/>
                </a:cxn>
                <a:cxn ang="0">
                  <a:pos x="96" y="24"/>
                </a:cxn>
                <a:cxn ang="0">
                  <a:pos x="80" y="8"/>
                </a:cxn>
                <a:cxn ang="0">
                  <a:pos x="80" y="16"/>
                </a:cxn>
                <a:cxn ang="0">
                  <a:pos x="64" y="16"/>
                </a:cxn>
                <a:cxn ang="0">
                  <a:pos x="72" y="32"/>
                </a:cxn>
                <a:cxn ang="0">
                  <a:pos x="64" y="32"/>
                </a:cxn>
                <a:cxn ang="0">
                  <a:pos x="48" y="24"/>
                </a:cxn>
                <a:cxn ang="0">
                  <a:pos x="56" y="8"/>
                </a:cxn>
                <a:cxn ang="0">
                  <a:pos x="48" y="0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32" y="32"/>
                </a:cxn>
                <a:cxn ang="0">
                  <a:pos x="32" y="48"/>
                </a:cxn>
                <a:cxn ang="0">
                  <a:pos x="24" y="48"/>
                </a:cxn>
                <a:cxn ang="0">
                  <a:pos x="0" y="96"/>
                </a:cxn>
                <a:cxn ang="0">
                  <a:pos x="0" y="104"/>
                </a:cxn>
              </a:cxnLst>
              <a:rect l="0" t="0" r="r" b="b"/>
              <a:pathLst>
                <a:path w="97" h="105">
                  <a:moveTo>
                    <a:pt x="0" y="96"/>
                  </a:moveTo>
                  <a:lnTo>
                    <a:pt x="0" y="104"/>
                  </a:lnTo>
                  <a:lnTo>
                    <a:pt x="24" y="64"/>
                  </a:lnTo>
                  <a:lnTo>
                    <a:pt x="32" y="64"/>
                  </a:lnTo>
                  <a:lnTo>
                    <a:pt x="24" y="88"/>
                  </a:lnTo>
                  <a:lnTo>
                    <a:pt x="48" y="88"/>
                  </a:lnTo>
                  <a:lnTo>
                    <a:pt x="48" y="72"/>
                  </a:lnTo>
                  <a:lnTo>
                    <a:pt x="56" y="64"/>
                  </a:lnTo>
                  <a:lnTo>
                    <a:pt x="56" y="80"/>
                  </a:lnTo>
                  <a:lnTo>
                    <a:pt x="64" y="72"/>
                  </a:lnTo>
                  <a:lnTo>
                    <a:pt x="64" y="64"/>
                  </a:lnTo>
                  <a:lnTo>
                    <a:pt x="72" y="56"/>
                  </a:lnTo>
                  <a:lnTo>
                    <a:pt x="80" y="56"/>
                  </a:lnTo>
                  <a:lnTo>
                    <a:pt x="96" y="40"/>
                  </a:lnTo>
                  <a:lnTo>
                    <a:pt x="96" y="24"/>
                  </a:lnTo>
                  <a:lnTo>
                    <a:pt x="80" y="8"/>
                  </a:lnTo>
                  <a:lnTo>
                    <a:pt x="80" y="16"/>
                  </a:lnTo>
                  <a:lnTo>
                    <a:pt x="64" y="16"/>
                  </a:lnTo>
                  <a:lnTo>
                    <a:pt x="72" y="32"/>
                  </a:lnTo>
                  <a:lnTo>
                    <a:pt x="64" y="32"/>
                  </a:lnTo>
                  <a:lnTo>
                    <a:pt x="48" y="24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2" y="16"/>
                  </a:lnTo>
                  <a:lnTo>
                    <a:pt x="32" y="24"/>
                  </a:lnTo>
                  <a:lnTo>
                    <a:pt x="32" y="32"/>
                  </a:lnTo>
                  <a:lnTo>
                    <a:pt x="32" y="48"/>
                  </a:lnTo>
                  <a:lnTo>
                    <a:pt x="24" y="48"/>
                  </a:lnTo>
                  <a:lnTo>
                    <a:pt x="0" y="96"/>
                  </a:lnTo>
                  <a:lnTo>
                    <a:pt x="0" y="104"/>
                  </a:lnTo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5" name="Freeform 86"/>
            <p:cNvSpPr>
              <a:spLocks/>
            </p:cNvSpPr>
            <p:nvPr/>
          </p:nvSpPr>
          <p:spPr bwMode="auto">
            <a:xfrm>
              <a:off x="4509964" y="2586667"/>
              <a:ext cx="100470" cy="82757"/>
            </a:xfrm>
            <a:custGeom>
              <a:avLst/>
              <a:gdLst/>
              <a:ahLst/>
              <a:cxnLst>
                <a:cxn ang="0">
                  <a:pos x="24" y="16"/>
                </a:cxn>
                <a:cxn ang="0">
                  <a:pos x="0" y="48"/>
                </a:cxn>
                <a:cxn ang="0">
                  <a:pos x="16" y="48"/>
                </a:cxn>
                <a:cxn ang="0">
                  <a:pos x="40" y="24"/>
                </a:cxn>
                <a:cxn ang="0">
                  <a:pos x="48" y="24"/>
                </a:cxn>
                <a:cxn ang="0">
                  <a:pos x="56" y="0"/>
                </a:cxn>
                <a:cxn ang="0">
                  <a:pos x="24" y="16"/>
                </a:cxn>
              </a:cxnLst>
              <a:rect l="0" t="0" r="r" b="b"/>
              <a:pathLst>
                <a:path w="57" h="49">
                  <a:moveTo>
                    <a:pt x="24" y="16"/>
                  </a:moveTo>
                  <a:lnTo>
                    <a:pt x="0" y="48"/>
                  </a:lnTo>
                  <a:lnTo>
                    <a:pt x="16" y="48"/>
                  </a:lnTo>
                  <a:lnTo>
                    <a:pt x="40" y="24"/>
                  </a:lnTo>
                  <a:lnTo>
                    <a:pt x="48" y="24"/>
                  </a:lnTo>
                  <a:lnTo>
                    <a:pt x="56" y="0"/>
                  </a:lnTo>
                  <a:lnTo>
                    <a:pt x="24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6" name="Freeform 87"/>
            <p:cNvSpPr>
              <a:spLocks/>
            </p:cNvSpPr>
            <p:nvPr/>
          </p:nvSpPr>
          <p:spPr bwMode="auto">
            <a:xfrm>
              <a:off x="4439043" y="2612282"/>
              <a:ext cx="57130" cy="70934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40"/>
                </a:cxn>
                <a:cxn ang="0">
                  <a:pos x="32" y="16"/>
                </a:cxn>
                <a:cxn ang="0">
                  <a:pos x="32" y="0"/>
                </a:cxn>
                <a:cxn ang="0">
                  <a:pos x="0" y="24"/>
                </a:cxn>
              </a:cxnLst>
              <a:rect l="0" t="0" r="r" b="b"/>
              <a:pathLst>
                <a:path w="33" h="41">
                  <a:moveTo>
                    <a:pt x="0" y="24"/>
                  </a:moveTo>
                  <a:lnTo>
                    <a:pt x="16" y="40"/>
                  </a:lnTo>
                  <a:lnTo>
                    <a:pt x="32" y="16"/>
                  </a:lnTo>
                  <a:lnTo>
                    <a:pt x="32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7" name="Freeform 88"/>
            <p:cNvSpPr>
              <a:spLocks/>
            </p:cNvSpPr>
            <p:nvPr/>
          </p:nvSpPr>
          <p:spPr bwMode="auto">
            <a:xfrm>
              <a:off x="4397673" y="2653660"/>
              <a:ext cx="43340" cy="70934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8" y="40"/>
                </a:cxn>
                <a:cxn ang="0">
                  <a:pos x="24" y="16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16" y="8"/>
                </a:cxn>
                <a:cxn ang="0">
                  <a:pos x="8" y="16"/>
                </a:cxn>
                <a:cxn ang="0">
                  <a:pos x="0" y="8"/>
                </a:cxn>
                <a:cxn ang="0">
                  <a:pos x="0" y="40"/>
                </a:cxn>
              </a:cxnLst>
              <a:rect l="0" t="0" r="r" b="b"/>
              <a:pathLst>
                <a:path w="25" h="41">
                  <a:moveTo>
                    <a:pt x="0" y="40"/>
                  </a:moveTo>
                  <a:lnTo>
                    <a:pt x="8" y="40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8" y="16"/>
                  </a:lnTo>
                  <a:lnTo>
                    <a:pt x="0" y="8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8" name="Freeform 89"/>
            <p:cNvSpPr>
              <a:spLocks/>
            </p:cNvSpPr>
            <p:nvPr/>
          </p:nvSpPr>
          <p:spPr bwMode="auto">
            <a:xfrm>
              <a:off x="4368123" y="2722624"/>
              <a:ext cx="31520" cy="2758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16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49" name="Freeform 90"/>
            <p:cNvSpPr>
              <a:spLocks/>
            </p:cNvSpPr>
            <p:nvPr/>
          </p:nvSpPr>
          <p:spPr bwMode="auto">
            <a:xfrm>
              <a:off x="4354333" y="2762032"/>
              <a:ext cx="29550" cy="2955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8" y="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8" y="16"/>
                  </a:lnTo>
                  <a:lnTo>
                    <a:pt x="16" y="8"/>
                  </a:lnTo>
                  <a:lnTo>
                    <a:pt x="8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0" name="Freeform 91"/>
            <p:cNvSpPr>
              <a:spLocks/>
            </p:cNvSpPr>
            <p:nvPr/>
          </p:nvSpPr>
          <p:spPr bwMode="auto">
            <a:xfrm>
              <a:off x="4622254" y="2653660"/>
              <a:ext cx="57130" cy="70934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40"/>
                </a:cxn>
                <a:cxn ang="0">
                  <a:pos x="32" y="8"/>
                </a:cxn>
                <a:cxn ang="0">
                  <a:pos x="24" y="0"/>
                </a:cxn>
                <a:cxn ang="0">
                  <a:pos x="0" y="24"/>
                </a:cxn>
              </a:cxnLst>
              <a:rect l="0" t="0" r="r" b="b"/>
              <a:pathLst>
                <a:path w="33" h="41">
                  <a:moveTo>
                    <a:pt x="0" y="24"/>
                  </a:moveTo>
                  <a:lnTo>
                    <a:pt x="16" y="40"/>
                  </a:lnTo>
                  <a:lnTo>
                    <a:pt x="32" y="8"/>
                  </a:lnTo>
                  <a:lnTo>
                    <a:pt x="24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1" name="Freeform 92"/>
            <p:cNvSpPr>
              <a:spLocks/>
            </p:cNvSpPr>
            <p:nvPr/>
          </p:nvSpPr>
          <p:spPr bwMode="auto">
            <a:xfrm>
              <a:off x="5238867" y="1808360"/>
              <a:ext cx="998794" cy="711313"/>
            </a:xfrm>
            <a:custGeom>
              <a:avLst/>
              <a:gdLst/>
              <a:ahLst/>
              <a:cxnLst>
                <a:cxn ang="0">
                  <a:pos x="32" y="184"/>
                </a:cxn>
                <a:cxn ang="0">
                  <a:pos x="80" y="200"/>
                </a:cxn>
                <a:cxn ang="0">
                  <a:pos x="88" y="224"/>
                </a:cxn>
                <a:cxn ang="0">
                  <a:pos x="128" y="240"/>
                </a:cxn>
                <a:cxn ang="0">
                  <a:pos x="128" y="304"/>
                </a:cxn>
                <a:cxn ang="0">
                  <a:pos x="112" y="344"/>
                </a:cxn>
                <a:cxn ang="0">
                  <a:pos x="88" y="376"/>
                </a:cxn>
                <a:cxn ang="0">
                  <a:pos x="104" y="400"/>
                </a:cxn>
                <a:cxn ang="0">
                  <a:pos x="176" y="392"/>
                </a:cxn>
                <a:cxn ang="0">
                  <a:pos x="216" y="392"/>
                </a:cxn>
                <a:cxn ang="0">
                  <a:pos x="264" y="408"/>
                </a:cxn>
                <a:cxn ang="0">
                  <a:pos x="272" y="352"/>
                </a:cxn>
                <a:cxn ang="0">
                  <a:pos x="288" y="304"/>
                </a:cxn>
                <a:cxn ang="0">
                  <a:pos x="296" y="232"/>
                </a:cxn>
                <a:cxn ang="0">
                  <a:pos x="336" y="176"/>
                </a:cxn>
                <a:cxn ang="0">
                  <a:pos x="384" y="152"/>
                </a:cxn>
                <a:cxn ang="0">
                  <a:pos x="416" y="176"/>
                </a:cxn>
                <a:cxn ang="0">
                  <a:pos x="464" y="200"/>
                </a:cxn>
                <a:cxn ang="0">
                  <a:pos x="488" y="232"/>
                </a:cxn>
                <a:cxn ang="0">
                  <a:pos x="456" y="288"/>
                </a:cxn>
                <a:cxn ang="0">
                  <a:pos x="488" y="288"/>
                </a:cxn>
                <a:cxn ang="0">
                  <a:pos x="496" y="256"/>
                </a:cxn>
                <a:cxn ang="0">
                  <a:pos x="536" y="216"/>
                </a:cxn>
                <a:cxn ang="0">
                  <a:pos x="568" y="208"/>
                </a:cxn>
                <a:cxn ang="0">
                  <a:pos x="544" y="176"/>
                </a:cxn>
                <a:cxn ang="0">
                  <a:pos x="528" y="168"/>
                </a:cxn>
                <a:cxn ang="0">
                  <a:pos x="488" y="200"/>
                </a:cxn>
                <a:cxn ang="0">
                  <a:pos x="480" y="184"/>
                </a:cxn>
                <a:cxn ang="0">
                  <a:pos x="480" y="152"/>
                </a:cxn>
                <a:cxn ang="0">
                  <a:pos x="432" y="128"/>
                </a:cxn>
                <a:cxn ang="0">
                  <a:pos x="536" y="96"/>
                </a:cxn>
                <a:cxn ang="0">
                  <a:pos x="552" y="72"/>
                </a:cxn>
                <a:cxn ang="0">
                  <a:pos x="496" y="64"/>
                </a:cxn>
                <a:cxn ang="0">
                  <a:pos x="488" y="40"/>
                </a:cxn>
                <a:cxn ang="0">
                  <a:pos x="448" y="24"/>
                </a:cxn>
                <a:cxn ang="0">
                  <a:pos x="408" y="72"/>
                </a:cxn>
                <a:cxn ang="0">
                  <a:pos x="368" y="104"/>
                </a:cxn>
                <a:cxn ang="0">
                  <a:pos x="360" y="48"/>
                </a:cxn>
                <a:cxn ang="0">
                  <a:pos x="376" y="0"/>
                </a:cxn>
                <a:cxn ang="0">
                  <a:pos x="320" y="24"/>
                </a:cxn>
                <a:cxn ang="0">
                  <a:pos x="328" y="96"/>
                </a:cxn>
                <a:cxn ang="0">
                  <a:pos x="296" y="24"/>
                </a:cxn>
                <a:cxn ang="0">
                  <a:pos x="240" y="120"/>
                </a:cxn>
                <a:cxn ang="0">
                  <a:pos x="208" y="184"/>
                </a:cxn>
                <a:cxn ang="0">
                  <a:pos x="224" y="96"/>
                </a:cxn>
                <a:cxn ang="0">
                  <a:pos x="256" y="56"/>
                </a:cxn>
                <a:cxn ang="0">
                  <a:pos x="224" y="72"/>
                </a:cxn>
                <a:cxn ang="0">
                  <a:pos x="184" y="72"/>
                </a:cxn>
                <a:cxn ang="0">
                  <a:pos x="200" y="88"/>
                </a:cxn>
                <a:cxn ang="0">
                  <a:pos x="168" y="96"/>
                </a:cxn>
                <a:cxn ang="0">
                  <a:pos x="128" y="152"/>
                </a:cxn>
                <a:cxn ang="0">
                  <a:pos x="136" y="192"/>
                </a:cxn>
                <a:cxn ang="0">
                  <a:pos x="96" y="200"/>
                </a:cxn>
                <a:cxn ang="0">
                  <a:pos x="72" y="176"/>
                </a:cxn>
                <a:cxn ang="0">
                  <a:pos x="8" y="168"/>
                </a:cxn>
              </a:cxnLst>
              <a:rect l="0" t="0" r="r" b="b"/>
              <a:pathLst>
                <a:path w="569" h="417">
                  <a:moveTo>
                    <a:pt x="0" y="184"/>
                  </a:moveTo>
                  <a:lnTo>
                    <a:pt x="32" y="184"/>
                  </a:lnTo>
                  <a:lnTo>
                    <a:pt x="56" y="184"/>
                  </a:lnTo>
                  <a:lnTo>
                    <a:pt x="80" y="200"/>
                  </a:lnTo>
                  <a:lnTo>
                    <a:pt x="88" y="208"/>
                  </a:lnTo>
                  <a:lnTo>
                    <a:pt x="88" y="224"/>
                  </a:lnTo>
                  <a:lnTo>
                    <a:pt x="88" y="240"/>
                  </a:lnTo>
                  <a:lnTo>
                    <a:pt x="128" y="240"/>
                  </a:lnTo>
                  <a:lnTo>
                    <a:pt x="120" y="272"/>
                  </a:lnTo>
                  <a:lnTo>
                    <a:pt x="128" y="304"/>
                  </a:lnTo>
                  <a:lnTo>
                    <a:pt x="112" y="320"/>
                  </a:lnTo>
                  <a:lnTo>
                    <a:pt x="112" y="344"/>
                  </a:lnTo>
                  <a:lnTo>
                    <a:pt x="104" y="368"/>
                  </a:lnTo>
                  <a:lnTo>
                    <a:pt x="88" y="376"/>
                  </a:lnTo>
                  <a:lnTo>
                    <a:pt x="88" y="392"/>
                  </a:lnTo>
                  <a:lnTo>
                    <a:pt x="104" y="400"/>
                  </a:lnTo>
                  <a:lnTo>
                    <a:pt x="136" y="408"/>
                  </a:lnTo>
                  <a:lnTo>
                    <a:pt x="176" y="392"/>
                  </a:lnTo>
                  <a:lnTo>
                    <a:pt x="184" y="376"/>
                  </a:lnTo>
                  <a:lnTo>
                    <a:pt x="216" y="392"/>
                  </a:lnTo>
                  <a:lnTo>
                    <a:pt x="248" y="416"/>
                  </a:lnTo>
                  <a:lnTo>
                    <a:pt x="264" y="408"/>
                  </a:lnTo>
                  <a:lnTo>
                    <a:pt x="264" y="376"/>
                  </a:lnTo>
                  <a:lnTo>
                    <a:pt x="272" y="352"/>
                  </a:lnTo>
                  <a:lnTo>
                    <a:pt x="288" y="344"/>
                  </a:lnTo>
                  <a:lnTo>
                    <a:pt x="288" y="304"/>
                  </a:lnTo>
                  <a:lnTo>
                    <a:pt x="288" y="248"/>
                  </a:lnTo>
                  <a:lnTo>
                    <a:pt x="296" y="232"/>
                  </a:lnTo>
                  <a:lnTo>
                    <a:pt x="304" y="200"/>
                  </a:lnTo>
                  <a:lnTo>
                    <a:pt x="336" y="176"/>
                  </a:lnTo>
                  <a:lnTo>
                    <a:pt x="352" y="176"/>
                  </a:lnTo>
                  <a:lnTo>
                    <a:pt x="384" y="152"/>
                  </a:lnTo>
                  <a:lnTo>
                    <a:pt x="400" y="176"/>
                  </a:lnTo>
                  <a:lnTo>
                    <a:pt x="416" y="176"/>
                  </a:lnTo>
                  <a:lnTo>
                    <a:pt x="440" y="200"/>
                  </a:lnTo>
                  <a:lnTo>
                    <a:pt x="464" y="200"/>
                  </a:lnTo>
                  <a:lnTo>
                    <a:pt x="480" y="208"/>
                  </a:lnTo>
                  <a:lnTo>
                    <a:pt x="488" y="232"/>
                  </a:lnTo>
                  <a:lnTo>
                    <a:pt x="472" y="264"/>
                  </a:lnTo>
                  <a:lnTo>
                    <a:pt x="456" y="288"/>
                  </a:lnTo>
                  <a:lnTo>
                    <a:pt x="480" y="304"/>
                  </a:lnTo>
                  <a:lnTo>
                    <a:pt x="488" y="288"/>
                  </a:lnTo>
                  <a:lnTo>
                    <a:pt x="480" y="272"/>
                  </a:lnTo>
                  <a:lnTo>
                    <a:pt x="496" y="256"/>
                  </a:lnTo>
                  <a:lnTo>
                    <a:pt x="520" y="240"/>
                  </a:lnTo>
                  <a:lnTo>
                    <a:pt x="536" y="216"/>
                  </a:lnTo>
                  <a:lnTo>
                    <a:pt x="536" y="208"/>
                  </a:lnTo>
                  <a:lnTo>
                    <a:pt x="568" y="208"/>
                  </a:lnTo>
                  <a:lnTo>
                    <a:pt x="560" y="176"/>
                  </a:lnTo>
                  <a:lnTo>
                    <a:pt x="544" y="176"/>
                  </a:lnTo>
                  <a:lnTo>
                    <a:pt x="544" y="192"/>
                  </a:lnTo>
                  <a:lnTo>
                    <a:pt x="528" y="168"/>
                  </a:lnTo>
                  <a:lnTo>
                    <a:pt x="504" y="200"/>
                  </a:lnTo>
                  <a:lnTo>
                    <a:pt x="488" y="200"/>
                  </a:lnTo>
                  <a:lnTo>
                    <a:pt x="504" y="168"/>
                  </a:lnTo>
                  <a:lnTo>
                    <a:pt x="480" y="184"/>
                  </a:lnTo>
                  <a:lnTo>
                    <a:pt x="472" y="176"/>
                  </a:lnTo>
                  <a:lnTo>
                    <a:pt x="480" y="152"/>
                  </a:lnTo>
                  <a:lnTo>
                    <a:pt x="424" y="144"/>
                  </a:lnTo>
                  <a:lnTo>
                    <a:pt x="432" y="128"/>
                  </a:lnTo>
                  <a:lnTo>
                    <a:pt x="504" y="136"/>
                  </a:lnTo>
                  <a:lnTo>
                    <a:pt x="536" y="96"/>
                  </a:lnTo>
                  <a:lnTo>
                    <a:pt x="560" y="88"/>
                  </a:lnTo>
                  <a:lnTo>
                    <a:pt x="552" y="72"/>
                  </a:lnTo>
                  <a:lnTo>
                    <a:pt x="504" y="72"/>
                  </a:lnTo>
                  <a:lnTo>
                    <a:pt x="496" y="64"/>
                  </a:lnTo>
                  <a:lnTo>
                    <a:pt x="512" y="48"/>
                  </a:lnTo>
                  <a:lnTo>
                    <a:pt x="488" y="40"/>
                  </a:lnTo>
                  <a:lnTo>
                    <a:pt x="456" y="48"/>
                  </a:lnTo>
                  <a:lnTo>
                    <a:pt x="448" y="24"/>
                  </a:lnTo>
                  <a:lnTo>
                    <a:pt x="416" y="24"/>
                  </a:lnTo>
                  <a:lnTo>
                    <a:pt x="408" y="72"/>
                  </a:lnTo>
                  <a:lnTo>
                    <a:pt x="392" y="96"/>
                  </a:lnTo>
                  <a:lnTo>
                    <a:pt x="368" y="104"/>
                  </a:lnTo>
                  <a:lnTo>
                    <a:pt x="392" y="56"/>
                  </a:lnTo>
                  <a:lnTo>
                    <a:pt x="360" y="48"/>
                  </a:lnTo>
                  <a:lnTo>
                    <a:pt x="392" y="16"/>
                  </a:lnTo>
                  <a:lnTo>
                    <a:pt x="376" y="0"/>
                  </a:lnTo>
                  <a:lnTo>
                    <a:pt x="328" y="8"/>
                  </a:lnTo>
                  <a:lnTo>
                    <a:pt x="320" y="24"/>
                  </a:lnTo>
                  <a:lnTo>
                    <a:pt x="328" y="48"/>
                  </a:lnTo>
                  <a:lnTo>
                    <a:pt x="328" y="96"/>
                  </a:lnTo>
                  <a:lnTo>
                    <a:pt x="312" y="104"/>
                  </a:lnTo>
                  <a:lnTo>
                    <a:pt x="296" y="24"/>
                  </a:lnTo>
                  <a:lnTo>
                    <a:pt x="280" y="48"/>
                  </a:lnTo>
                  <a:lnTo>
                    <a:pt x="240" y="120"/>
                  </a:lnTo>
                  <a:lnTo>
                    <a:pt x="240" y="176"/>
                  </a:lnTo>
                  <a:lnTo>
                    <a:pt x="208" y="184"/>
                  </a:lnTo>
                  <a:lnTo>
                    <a:pt x="208" y="152"/>
                  </a:lnTo>
                  <a:lnTo>
                    <a:pt x="224" y="96"/>
                  </a:lnTo>
                  <a:lnTo>
                    <a:pt x="248" y="72"/>
                  </a:lnTo>
                  <a:lnTo>
                    <a:pt x="256" y="56"/>
                  </a:lnTo>
                  <a:lnTo>
                    <a:pt x="232" y="48"/>
                  </a:lnTo>
                  <a:lnTo>
                    <a:pt x="224" y="72"/>
                  </a:lnTo>
                  <a:lnTo>
                    <a:pt x="176" y="24"/>
                  </a:lnTo>
                  <a:lnTo>
                    <a:pt x="184" y="72"/>
                  </a:lnTo>
                  <a:lnTo>
                    <a:pt x="160" y="64"/>
                  </a:lnTo>
                  <a:lnTo>
                    <a:pt x="200" y="88"/>
                  </a:lnTo>
                  <a:lnTo>
                    <a:pt x="184" y="112"/>
                  </a:lnTo>
                  <a:lnTo>
                    <a:pt x="168" y="96"/>
                  </a:lnTo>
                  <a:lnTo>
                    <a:pt x="144" y="144"/>
                  </a:lnTo>
                  <a:lnTo>
                    <a:pt x="128" y="152"/>
                  </a:lnTo>
                  <a:lnTo>
                    <a:pt x="120" y="168"/>
                  </a:lnTo>
                  <a:lnTo>
                    <a:pt x="136" y="192"/>
                  </a:lnTo>
                  <a:lnTo>
                    <a:pt x="120" y="216"/>
                  </a:lnTo>
                  <a:lnTo>
                    <a:pt x="96" y="200"/>
                  </a:lnTo>
                  <a:lnTo>
                    <a:pt x="96" y="176"/>
                  </a:lnTo>
                  <a:lnTo>
                    <a:pt x="72" y="176"/>
                  </a:lnTo>
                  <a:lnTo>
                    <a:pt x="40" y="152"/>
                  </a:lnTo>
                  <a:lnTo>
                    <a:pt x="8" y="168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2" name="Freeform 93"/>
            <p:cNvSpPr>
              <a:spLocks/>
            </p:cNvSpPr>
            <p:nvPr/>
          </p:nvSpPr>
          <p:spPr bwMode="auto">
            <a:xfrm>
              <a:off x="4789705" y="2121653"/>
              <a:ext cx="675713" cy="478806"/>
            </a:xfrm>
            <a:custGeom>
              <a:avLst/>
              <a:gdLst/>
              <a:ahLst/>
              <a:cxnLst>
                <a:cxn ang="0">
                  <a:pos x="24" y="256"/>
                </a:cxn>
                <a:cxn ang="0">
                  <a:pos x="64" y="256"/>
                </a:cxn>
                <a:cxn ang="0">
                  <a:pos x="96" y="256"/>
                </a:cxn>
                <a:cxn ang="0">
                  <a:pos x="120" y="264"/>
                </a:cxn>
                <a:cxn ang="0">
                  <a:pos x="176" y="272"/>
                </a:cxn>
                <a:cxn ang="0">
                  <a:pos x="216" y="256"/>
                </a:cxn>
                <a:cxn ang="0">
                  <a:pos x="216" y="224"/>
                </a:cxn>
                <a:cxn ang="0">
                  <a:pos x="208" y="192"/>
                </a:cxn>
                <a:cxn ang="0">
                  <a:pos x="232" y="160"/>
                </a:cxn>
                <a:cxn ang="0">
                  <a:pos x="280" y="192"/>
                </a:cxn>
                <a:cxn ang="0">
                  <a:pos x="256" y="136"/>
                </a:cxn>
                <a:cxn ang="0">
                  <a:pos x="296" y="136"/>
                </a:cxn>
                <a:cxn ang="0">
                  <a:pos x="320" y="144"/>
                </a:cxn>
                <a:cxn ang="0">
                  <a:pos x="328" y="168"/>
                </a:cxn>
                <a:cxn ang="0">
                  <a:pos x="360" y="184"/>
                </a:cxn>
                <a:cxn ang="0">
                  <a:pos x="360" y="136"/>
                </a:cxn>
                <a:cxn ang="0">
                  <a:pos x="384" y="104"/>
                </a:cxn>
                <a:cxn ang="0">
                  <a:pos x="384" y="56"/>
                </a:cxn>
                <a:cxn ang="0">
                  <a:pos x="344" y="24"/>
                </a:cxn>
                <a:cxn ang="0">
                  <a:pos x="312" y="0"/>
                </a:cxn>
                <a:cxn ang="0">
                  <a:pos x="256" y="8"/>
                </a:cxn>
                <a:cxn ang="0">
                  <a:pos x="304" y="8"/>
                </a:cxn>
                <a:cxn ang="0">
                  <a:pos x="312" y="64"/>
                </a:cxn>
                <a:cxn ang="0">
                  <a:pos x="288" y="48"/>
                </a:cxn>
                <a:cxn ang="0">
                  <a:pos x="256" y="64"/>
                </a:cxn>
                <a:cxn ang="0">
                  <a:pos x="224" y="64"/>
                </a:cxn>
                <a:cxn ang="0">
                  <a:pos x="248" y="88"/>
                </a:cxn>
                <a:cxn ang="0">
                  <a:pos x="224" y="96"/>
                </a:cxn>
                <a:cxn ang="0">
                  <a:pos x="208" y="128"/>
                </a:cxn>
                <a:cxn ang="0">
                  <a:pos x="192" y="120"/>
                </a:cxn>
                <a:cxn ang="0">
                  <a:pos x="216" y="88"/>
                </a:cxn>
                <a:cxn ang="0">
                  <a:pos x="216" y="56"/>
                </a:cxn>
                <a:cxn ang="0">
                  <a:pos x="192" y="56"/>
                </a:cxn>
                <a:cxn ang="0">
                  <a:pos x="176" y="104"/>
                </a:cxn>
                <a:cxn ang="0">
                  <a:pos x="176" y="64"/>
                </a:cxn>
                <a:cxn ang="0">
                  <a:pos x="144" y="88"/>
                </a:cxn>
                <a:cxn ang="0">
                  <a:pos x="152" y="112"/>
                </a:cxn>
                <a:cxn ang="0">
                  <a:pos x="128" y="104"/>
                </a:cxn>
                <a:cxn ang="0">
                  <a:pos x="128" y="128"/>
                </a:cxn>
                <a:cxn ang="0">
                  <a:pos x="104" y="136"/>
                </a:cxn>
                <a:cxn ang="0">
                  <a:pos x="80" y="144"/>
                </a:cxn>
                <a:cxn ang="0">
                  <a:pos x="56" y="176"/>
                </a:cxn>
                <a:cxn ang="0">
                  <a:pos x="56" y="208"/>
                </a:cxn>
                <a:cxn ang="0">
                  <a:pos x="64" y="232"/>
                </a:cxn>
                <a:cxn ang="0">
                  <a:pos x="40" y="232"/>
                </a:cxn>
                <a:cxn ang="0">
                  <a:pos x="0" y="240"/>
                </a:cxn>
              </a:cxnLst>
              <a:rect l="0" t="0" r="r" b="b"/>
              <a:pathLst>
                <a:path w="385" h="281">
                  <a:moveTo>
                    <a:pt x="0" y="256"/>
                  </a:moveTo>
                  <a:lnTo>
                    <a:pt x="24" y="256"/>
                  </a:lnTo>
                  <a:lnTo>
                    <a:pt x="40" y="248"/>
                  </a:lnTo>
                  <a:lnTo>
                    <a:pt x="64" y="256"/>
                  </a:lnTo>
                  <a:lnTo>
                    <a:pt x="72" y="256"/>
                  </a:lnTo>
                  <a:lnTo>
                    <a:pt x="96" y="256"/>
                  </a:lnTo>
                  <a:lnTo>
                    <a:pt x="104" y="256"/>
                  </a:lnTo>
                  <a:lnTo>
                    <a:pt x="120" y="264"/>
                  </a:lnTo>
                  <a:lnTo>
                    <a:pt x="152" y="256"/>
                  </a:lnTo>
                  <a:lnTo>
                    <a:pt x="176" y="272"/>
                  </a:lnTo>
                  <a:lnTo>
                    <a:pt x="200" y="280"/>
                  </a:lnTo>
                  <a:lnTo>
                    <a:pt x="216" y="256"/>
                  </a:lnTo>
                  <a:lnTo>
                    <a:pt x="208" y="248"/>
                  </a:lnTo>
                  <a:lnTo>
                    <a:pt x="216" y="224"/>
                  </a:lnTo>
                  <a:lnTo>
                    <a:pt x="216" y="200"/>
                  </a:lnTo>
                  <a:lnTo>
                    <a:pt x="208" y="192"/>
                  </a:lnTo>
                  <a:lnTo>
                    <a:pt x="216" y="176"/>
                  </a:lnTo>
                  <a:lnTo>
                    <a:pt x="232" y="160"/>
                  </a:lnTo>
                  <a:lnTo>
                    <a:pt x="256" y="192"/>
                  </a:lnTo>
                  <a:lnTo>
                    <a:pt x="280" y="192"/>
                  </a:lnTo>
                  <a:lnTo>
                    <a:pt x="256" y="160"/>
                  </a:lnTo>
                  <a:lnTo>
                    <a:pt x="256" y="136"/>
                  </a:lnTo>
                  <a:lnTo>
                    <a:pt x="280" y="120"/>
                  </a:lnTo>
                  <a:lnTo>
                    <a:pt x="296" y="136"/>
                  </a:lnTo>
                  <a:lnTo>
                    <a:pt x="304" y="160"/>
                  </a:lnTo>
                  <a:lnTo>
                    <a:pt x="320" y="144"/>
                  </a:lnTo>
                  <a:lnTo>
                    <a:pt x="336" y="160"/>
                  </a:lnTo>
                  <a:lnTo>
                    <a:pt x="328" y="168"/>
                  </a:lnTo>
                  <a:lnTo>
                    <a:pt x="344" y="192"/>
                  </a:lnTo>
                  <a:lnTo>
                    <a:pt x="360" y="184"/>
                  </a:lnTo>
                  <a:lnTo>
                    <a:pt x="368" y="160"/>
                  </a:lnTo>
                  <a:lnTo>
                    <a:pt x="360" y="136"/>
                  </a:lnTo>
                  <a:lnTo>
                    <a:pt x="384" y="128"/>
                  </a:lnTo>
                  <a:lnTo>
                    <a:pt x="384" y="104"/>
                  </a:lnTo>
                  <a:lnTo>
                    <a:pt x="376" y="88"/>
                  </a:lnTo>
                  <a:lnTo>
                    <a:pt x="384" y="56"/>
                  </a:lnTo>
                  <a:lnTo>
                    <a:pt x="336" y="48"/>
                  </a:lnTo>
                  <a:lnTo>
                    <a:pt x="344" y="24"/>
                  </a:lnTo>
                  <a:lnTo>
                    <a:pt x="328" y="8"/>
                  </a:lnTo>
                  <a:lnTo>
                    <a:pt x="312" y="0"/>
                  </a:lnTo>
                  <a:lnTo>
                    <a:pt x="256" y="0"/>
                  </a:lnTo>
                  <a:lnTo>
                    <a:pt x="256" y="8"/>
                  </a:lnTo>
                  <a:lnTo>
                    <a:pt x="288" y="16"/>
                  </a:lnTo>
                  <a:lnTo>
                    <a:pt x="304" y="8"/>
                  </a:lnTo>
                  <a:lnTo>
                    <a:pt x="304" y="40"/>
                  </a:lnTo>
                  <a:lnTo>
                    <a:pt x="312" y="64"/>
                  </a:lnTo>
                  <a:lnTo>
                    <a:pt x="312" y="80"/>
                  </a:lnTo>
                  <a:lnTo>
                    <a:pt x="288" y="48"/>
                  </a:lnTo>
                  <a:lnTo>
                    <a:pt x="272" y="48"/>
                  </a:lnTo>
                  <a:lnTo>
                    <a:pt x="256" y="64"/>
                  </a:lnTo>
                  <a:lnTo>
                    <a:pt x="240" y="56"/>
                  </a:lnTo>
                  <a:lnTo>
                    <a:pt x="224" y="64"/>
                  </a:lnTo>
                  <a:lnTo>
                    <a:pt x="232" y="88"/>
                  </a:lnTo>
                  <a:lnTo>
                    <a:pt x="248" y="88"/>
                  </a:lnTo>
                  <a:lnTo>
                    <a:pt x="240" y="96"/>
                  </a:lnTo>
                  <a:lnTo>
                    <a:pt x="224" y="96"/>
                  </a:lnTo>
                  <a:lnTo>
                    <a:pt x="216" y="120"/>
                  </a:lnTo>
                  <a:lnTo>
                    <a:pt x="208" y="128"/>
                  </a:lnTo>
                  <a:lnTo>
                    <a:pt x="192" y="144"/>
                  </a:lnTo>
                  <a:lnTo>
                    <a:pt x="192" y="120"/>
                  </a:lnTo>
                  <a:lnTo>
                    <a:pt x="208" y="104"/>
                  </a:lnTo>
                  <a:lnTo>
                    <a:pt x="216" y="88"/>
                  </a:lnTo>
                  <a:lnTo>
                    <a:pt x="200" y="72"/>
                  </a:lnTo>
                  <a:lnTo>
                    <a:pt x="216" y="56"/>
                  </a:lnTo>
                  <a:lnTo>
                    <a:pt x="208" y="40"/>
                  </a:lnTo>
                  <a:lnTo>
                    <a:pt x="192" y="56"/>
                  </a:lnTo>
                  <a:lnTo>
                    <a:pt x="192" y="88"/>
                  </a:lnTo>
                  <a:lnTo>
                    <a:pt x="176" y="104"/>
                  </a:lnTo>
                  <a:lnTo>
                    <a:pt x="176" y="80"/>
                  </a:lnTo>
                  <a:lnTo>
                    <a:pt x="176" y="64"/>
                  </a:lnTo>
                  <a:lnTo>
                    <a:pt x="152" y="72"/>
                  </a:lnTo>
                  <a:lnTo>
                    <a:pt x="144" y="88"/>
                  </a:lnTo>
                  <a:lnTo>
                    <a:pt x="136" y="88"/>
                  </a:lnTo>
                  <a:lnTo>
                    <a:pt x="152" y="112"/>
                  </a:lnTo>
                  <a:lnTo>
                    <a:pt x="136" y="120"/>
                  </a:lnTo>
                  <a:lnTo>
                    <a:pt x="128" y="104"/>
                  </a:lnTo>
                  <a:lnTo>
                    <a:pt x="112" y="120"/>
                  </a:lnTo>
                  <a:lnTo>
                    <a:pt x="128" y="128"/>
                  </a:lnTo>
                  <a:lnTo>
                    <a:pt x="112" y="144"/>
                  </a:lnTo>
                  <a:lnTo>
                    <a:pt x="104" y="136"/>
                  </a:lnTo>
                  <a:lnTo>
                    <a:pt x="96" y="120"/>
                  </a:lnTo>
                  <a:lnTo>
                    <a:pt x="80" y="144"/>
                  </a:lnTo>
                  <a:lnTo>
                    <a:pt x="80" y="168"/>
                  </a:lnTo>
                  <a:lnTo>
                    <a:pt x="56" y="176"/>
                  </a:lnTo>
                  <a:lnTo>
                    <a:pt x="40" y="192"/>
                  </a:lnTo>
                  <a:lnTo>
                    <a:pt x="56" y="208"/>
                  </a:lnTo>
                  <a:lnTo>
                    <a:pt x="72" y="224"/>
                  </a:lnTo>
                  <a:lnTo>
                    <a:pt x="64" y="232"/>
                  </a:lnTo>
                  <a:lnTo>
                    <a:pt x="40" y="224"/>
                  </a:lnTo>
                  <a:lnTo>
                    <a:pt x="40" y="232"/>
                  </a:lnTo>
                  <a:lnTo>
                    <a:pt x="16" y="240"/>
                  </a:lnTo>
                  <a:lnTo>
                    <a:pt x="0" y="240"/>
                  </a:lnTo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accent2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3" name="Freeform 94"/>
            <p:cNvSpPr>
              <a:spLocks/>
            </p:cNvSpPr>
            <p:nvPr/>
          </p:nvSpPr>
          <p:spPr bwMode="auto">
            <a:xfrm>
              <a:off x="4102172" y="2545288"/>
              <a:ext cx="872714" cy="969435"/>
            </a:xfrm>
            <a:custGeom>
              <a:avLst/>
              <a:gdLst/>
              <a:ahLst/>
              <a:cxnLst>
                <a:cxn ang="0">
                  <a:pos x="48" y="568"/>
                </a:cxn>
                <a:cxn ang="0">
                  <a:pos x="136" y="560"/>
                </a:cxn>
                <a:cxn ang="0">
                  <a:pos x="184" y="560"/>
                </a:cxn>
                <a:cxn ang="0">
                  <a:pos x="216" y="528"/>
                </a:cxn>
                <a:cxn ang="0">
                  <a:pos x="256" y="488"/>
                </a:cxn>
                <a:cxn ang="0">
                  <a:pos x="264" y="432"/>
                </a:cxn>
                <a:cxn ang="0">
                  <a:pos x="248" y="384"/>
                </a:cxn>
                <a:cxn ang="0">
                  <a:pos x="312" y="376"/>
                </a:cxn>
                <a:cxn ang="0">
                  <a:pos x="312" y="336"/>
                </a:cxn>
                <a:cxn ang="0">
                  <a:pos x="336" y="296"/>
                </a:cxn>
                <a:cxn ang="0">
                  <a:pos x="352" y="264"/>
                </a:cxn>
                <a:cxn ang="0">
                  <a:pos x="376" y="216"/>
                </a:cxn>
                <a:cxn ang="0">
                  <a:pos x="368" y="168"/>
                </a:cxn>
                <a:cxn ang="0">
                  <a:pos x="384" y="136"/>
                </a:cxn>
                <a:cxn ang="0">
                  <a:pos x="432" y="88"/>
                </a:cxn>
                <a:cxn ang="0">
                  <a:pos x="488" y="80"/>
                </a:cxn>
                <a:cxn ang="0">
                  <a:pos x="472" y="8"/>
                </a:cxn>
                <a:cxn ang="0">
                  <a:pos x="448" y="0"/>
                </a:cxn>
                <a:cxn ang="0">
                  <a:pos x="392" y="8"/>
                </a:cxn>
                <a:cxn ang="0">
                  <a:pos x="408" y="8"/>
                </a:cxn>
                <a:cxn ang="0">
                  <a:pos x="440" y="16"/>
                </a:cxn>
                <a:cxn ang="0">
                  <a:pos x="432" y="40"/>
                </a:cxn>
                <a:cxn ang="0">
                  <a:pos x="384" y="32"/>
                </a:cxn>
                <a:cxn ang="0">
                  <a:pos x="368" y="56"/>
                </a:cxn>
                <a:cxn ang="0">
                  <a:pos x="368" y="112"/>
                </a:cxn>
                <a:cxn ang="0">
                  <a:pos x="344" y="64"/>
                </a:cxn>
                <a:cxn ang="0">
                  <a:pos x="336" y="80"/>
                </a:cxn>
                <a:cxn ang="0">
                  <a:pos x="312" y="112"/>
                </a:cxn>
                <a:cxn ang="0">
                  <a:pos x="264" y="128"/>
                </a:cxn>
                <a:cxn ang="0">
                  <a:pos x="304" y="136"/>
                </a:cxn>
                <a:cxn ang="0">
                  <a:pos x="344" y="136"/>
                </a:cxn>
                <a:cxn ang="0">
                  <a:pos x="312" y="160"/>
                </a:cxn>
                <a:cxn ang="0">
                  <a:pos x="312" y="184"/>
                </a:cxn>
                <a:cxn ang="0">
                  <a:pos x="280" y="168"/>
                </a:cxn>
                <a:cxn ang="0">
                  <a:pos x="296" y="200"/>
                </a:cxn>
                <a:cxn ang="0">
                  <a:pos x="256" y="216"/>
                </a:cxn>
                <a:cxn ang="0">
                  <a:pos x="232" y="248"/>
                </a:cxn>
                <a:cxn ang="0">
                  <a:pos x="208" y="232"/>
                </a:cxn>
                <a:cxn ang="0">
                  <a:pos x="192" y="256"/>
                </a:cxn>
                <a:cxn ang="0">
                  <a:pos x="208" y="272"/>
                </a:cxn>
                <a:cxn ang="0">
                  <a:pos x="184" y="264"/>
                </a:cxn>
                <a:cxn ang="0">
                  <a:pos x="168" y="312"/>
                </a:cxn>
                <a:cxn ang="0">
                  <a:pos x="184" y="328"/>
                </a:cxn>
                <a:cxn ang="0">
                  <a:pos x="160" y="344"/>
                </a:cxn>
                <a:cxn ang="0">
                  <a:pos x="224" y="352"/>
                </a:cxn>
                <a:cxn ang="0">
                  <a:pos x="168" y="360"/>
                </a:cxn>
                <a:cxn ang="0">
                  <a:pos x="160" y="392"/>
                </a:cxn>
                <a:cxn ang="0">
                  <a:pos x="136" y="408"/>
                </a:cxn>
                <a:cxn ang="0">
                  <a:pos x="136" y="448"/>
                </a:cxn>
                <a:cxn ang="0">
                  <a:pos x="120" y="464"/>
                </a:cxn>
                <a:cxn ang="0">
                  <a:pos x="104" y="472"/>
                </a:cxn>
                <a:cxn ang="0">
                  <a:pos x="104" y="496"/>
                </a:cxn>
                <a:cxn ang="0">
                  <a:pos x="136" y="496"/>
                </a:cxn>
                <a:cxn ang="0">
                  <a:pos x="120" y="528"/>
                </a:cxn>
                <a:cxn ang="0">
                  <a:pos x="88" y="544"/>
                </a:cxn>
                <a:cxn ang="0">
                  <a:pos x="64" y="520"/>
                </a:cxn>
                <a:cxn ang="0">
                  <a:pos x="16" y="536"/>
                </a:cxn>
              </a:cxnLst>
              <a:rect l="0" t="0" r="r" b="b"/>
              <a:pathLst>
                <a:path w="497" h="569">
                  <a:moveTo>
                    <a:pt x="0" y="560"/>
                  </a:moveTo>
                  <a:lnTo>
                    <a:pt x="48" y="568"/>
                  </a:lnTo>
                  <a:lnTo>
                    <a:pt x="80" y="560"/>
                  </a:lnTo>
                  <a:lnTo>
                    <a:pt x="136" y="560"/>
                  </a:lnTo>
                  <a:lnTo>
                    <a:pt x="160" y="528"/>
                  </a:lnTo>
                  <a:lnTo>
                    <a:pt x="184" y="560"/>
                  </a:lnTo>
                  <a:lnTo>
                    <a:pt x="192" y="552"/>
                  </a:lnTo>
                  <a:lnTo>
                    <a:pt x="216" y="528"/>
                  </a:lnTo>
                  <a:lnTo>
                    <a:pt x="240" y="528"/>
                  </a:lnTo>
                  <a:lnTo>
                    <a:pt x="256" y="488"/>
                  </a:lnTo>
                  <a:lnTo>
                    <a:pt x="256" y="464"/>
                  </a:lnTo>
                  <a:lnTo>
                    <a:pt x="264" y="432"/>
                  </a:lnTo>
                  <a:lnTo>
                    <a:pt x="256" y="408"/>
                  </a:lnTo>
                  <a:lnTo>
                    <a:pt x="248" y="384"/>
                  </a:lnTo>
                  <a:lnTo>
                    <a:pt x="280" y="392"/>
                  </a:lnTo>
                  <a:lnTo>
                    <a:pt x="312" y="376"/>
                  </a:lnTo>
                  <a:lnTo>
                    <a:pt x="328" y="360"/>
                  </a:lnTo>
                  <a:lnTo>
                    <a:pt x="312" y="336"/>
                  </a:lnTo>
                  <a:lnTo>
                    <a:pt x="312" y="312"/>
                  </a:lnTo>
                  <a:lnTo>
                    <a:pt x="336" y="296"/>
                  </a:lnTo>
                  <a:lnTo>
                    <a:pt x="344" y="280"/>
                  </a:lnTo>
                  <a:lnTo>
                    <a:pt x="352" y="264"/>
                  </a:lnTo>
                  <a:lnTo>
                    <a:pt x="384" y="240"/>
                  </a:lnTo>
                  <a:lnTo>
                    <a:pt x="376" y="216"/>
                  </a:lnTo>
                  <a:lnTo>
                    <a:pt x="360" y="192"/>
                  </a:lnTo>
                  <a:lnTo>
                    <a:pt x="368" y="168"/>
                  </a:lnTo>
                  <a:lnTo>
                    <a:pt x="384" y="168"/>
                  </a:lnTo>
                  <a:lnTo>
                    <a:pt x="384" y="136"/>
                  </a:lnTo>
                  <a:lnTo>
                    <a:pt x="400" y="112"/>
                  </a:lnTo>
                  <a:lnTo>
                    <a:pt x="432" y="88"/>
                  </a:lnTo>
                  <a:lnTo>
                    <a:pt x="464" y="104"/>
                  </a:lnTo>
                  <a:lnTo>
                    <a:pt x="488" y="80"/>
                  </a:lnTo>
                  <a:lnTo>
                    <a:pt x="496" y="40"/>
                  </a:lnTo>
                  <a:lnTo>
                    <a:pt x="472" y="8"/>
                  </a:lnTo>
                  <a:lnTo>
                    <a:pt x="464" y="8"/>
                  </a:lnTo>
                  <a:lnTo>
                    <a:pt x="448" y="0"/>
                  </a:lnTo>
                  <a:lnTo>
                    <a:pt x="432" y="0"/>
                  </a:lnTo>
                  <a:lnTo>
                    <a:pt x="392" y="8"/>
                  </a:lnTo>
                  <a:lnTo>
                    <a:pt x="376" y="24"/>
                  </a:lnTo>
                  <a:lnTo>
                    <a:pt x="408" y="8"/>
                  </a:lnTo>
                  <a:lnTo>
                    <a:pt x="416" y="24"/>
                  </a:lnTo>
                  <a:lnTo>
                    <a:pt x="440" y="16"/>
                  </a:lnTo>
                  <a:lnTo>
                    <a:pt x="456" y="24"/>
                  </a:lnTo>
                  <a:lnTo>
                    <a:pt x="432" y="40"/>
                  </a:lnTo>
                  <a:lnTo>
                    <a:pt x="408" y="40"/>
                  </a:lnTo>
                  <a:lnTo>
                    <a:pt x="384" y="32"/>
                  </a:lnTo>
                  <a:lnTo>
                    <a:pt x="376" y="40"/>
                  </a:lnTo>
                  <a:lnTo>
                    <a:pt x="368" y="56"/>
                  </a:lnTo>
                  <a:lnTo>
                    <a:pt x="376" y="104"/>
                  </a:lnTo>
                  <a:lnTo>
                    <a:pt x="368" y="112"/>
                  </a:lnTo>
                  <a:lnTo>
                    <a:pt x="352" y="96"/>
                  </a:lnTo>
                  <a:lnTo>
                    <a:pt x="344" y="64"/>
                  </a:lnTo>
                  <a:lnTo>
                    <a:pt x="344" y="56"/>
                  </a:lnTo>
                  <a:lnTo>
                    <a:pt x="336" y="80"/>
                  </a:lnTo>
                  <a:lnTo>
                    <a:pt x="336" y="104"/>
                  </a:lnTo>
                  <a:lnTo>
                    <a:pt x="312" y="112"/>
                  </a:lnTo>
                  <a:lnTo>
                    <a:pt x="288" y="112"/>
                  </a:lnTo>
                  <a:lnTo>
                    <a:pt x="264" y="128"/>
                  </a:lnTo>
                  <a:lnTo>
                    <a:pt x="288" y="144"/>
                  </a:lnTo>
                  <a:lnTo>
                    <a:pt x="304" y="136"/>
                  </a:lnTo>
                  <a:lnTo>
                    <a:pt x="320" y="128"/>
                  </a:lnTo>
                  <a:lnTo>
                    <a:pt x="344" y="136"/>
                  </a:lnTo>
                  <a:lnTo>
                    <a:pt x="312" y="144"/>
                  </a:lnTo>
                  <a:lnTo>
                    <a:pt x="312" y="160"/>
                  </a:lnTo>
                  <a:lnTo>
                    <a:pt x="328" y="168"/>
                  </a:lnTo>
                  <a:lnTo>
                    <a:pt x="312" y="184"/>
                  </a:lnTo>
                  <a:lnTo>
                    <a:pt x="288" y="160"/>
                  </a:lnTo>
                  <a:lnTo>
                    <a:pt x="280" y="168"/>
                  </a:lnTo>
                  <a:lnTo>
                    <a:pt x="256" y="200"/>
                  </a:lnTo>
                  <a:lnTo>
                    <a:pt x="296" y="200"/>
                  </a:lnTo>
                  <a:lnTo>
                    <a:pt x="296" y="224"/>
                  </a:lnTo>
                  <a:lnTo>
                    <a:pt x="256" y="216"/>
                  </a:lnTo>
                  <a:lnTo>
                    <a:pt x="256" y="232"/>
                  </a:lnTo>
                  <a:lnTo>
                    <a:pt x="232" y="248"/>
                  </a:lnTo>
                  <a:lnTo>
                    <a:pt x="224" y="232"/>
                  </a:lnTo>
                  <a:lnTo>
                    <a:pt x="208" y="232"/>
                  </a:lnTo>
                  <a:lnTo>
                    <a:pt x="216" y="256"/>
                  </a:lnTo>
                  <a:lnTo>
                    <a:pt x="192" y="256"/>
                  </a:lnTo>
                  <a:lnTo>
                    <a:pt x="192" y="264"/>
                  </a:lnTo>
                  <a:lnTo>
                    <a:pt x="208" y="272"/>
                  </a:lnTo>
                  <a:lnTo>
                    <a:pt x="200" y="280"/>
                  </a:lnTo>
                  <a:lnTo>
                    <a:pt x="184" y="264"/>
                  </a:lnTo>
                  <a:lnTo>
                    <a:pt x="168" y="296"/>
                  </a:lnTo>
                  <a:lnTo>
                    <a:pt x="168" y="312"/>
                  </a:lnTo>
                  <a:lnTo>
                    <a:pt x="192" y="312"/>
                  </a:lnTo>
                  <a:lnTo>
                    <a:pt x="184" y="328"/>
                  </a:lnTo>
                  <a:lnTo>
                    <a:pt x="160" y="328"/>
                  </a:lnTo>
                  <a:lnTo>
                    <a:pt x="160" y="344"/>
                  </a:lnTo>
                  <a:lnTo>
                    <a:pt x="176" y="352"/>
                  </a:lnTo>
                  <a:lnTo>
                    <a:pt x="224" y="352"/>
                  </a:lnTo>
                  <a:lnTo>
                    <a:pt x="200" y="376"/>
                  </a:lnTo>
                  <a:lnTo>
                    <a:pt x="168" y="360"/>
                  </a:lnTo>
                  <a:lnTo>
                    <a:pt x="144" y="376"/>
                  </a:lnTo>
                  <a:lnTo>
                    <a:pt x="160" y="392"/>
                  </a:lnTo>
                  <a:lnTo>
                    <a:pt x="168" y="424"/>
                  </a:lnTo>
                  <a:lnTo>
                    <a:pt x="136" y="408"/>
                  </a:lnTo>
                  <a:lnTo>
                    <a:pt x="128" y="432"/>
                  </a:lnTo>
                  <a:lnTo>
                    <a:pt x="136" y="448"/>
                  </a:lnTo>
                  <a:lnTo>
                    <a:pt x="112" y="456"/>
                  </a:lnTo>
                  <a:lnTo>
                    <a:pt x="120" y="464"/>
                  </a:lnTo>
                  <a:lnTo>
                    <a:pt x="120" y="488"/>
                  </a:lnTo>
                  <a:lnTo>
                    <a:pt x="104" y="472"/>
                  </a:lnTo>
                  <a:lnTo>
                    <a:pt x="88" y="504"/>
                  </a:lnTo>
                  <a:lnTo>
                    <a:pt x="104" y="496"/>
                  </a:lnTo>
                  <a:lnTo>
                    <a:pt x="104" y="520"/>
                  </a:lnTo>
                  <a:lnTo>
                    <a:pt x="136" y="496"/>
                  </a:lnTo>
                  <a:lnTo>
                    <a:pt x="152" y="504"/>
                  </a:lnTo>
                  <a:lnTo>
                    <a:pt x="120" y="528"/>
                  </a:lnTo>
                  <a:lnTo>
                    <a:pt x="104" y="528"/>
                  </a:lnTo>
                  <a:lnTo>
                    <a:pt x="88" y="544"/>
                  </a:lnTo>
                  <a:lnTo>
                    <a:pt x="72" y="520"/>
                  </a:lnTo>
                  <a:lnTo>
                    <a:pt x="64" y="520"/>
                  </a:lnTo>
                  <a:lnTo>
                    <a:pt x="48" y="560"/>
                  </a:lnTo>
                  <a:lnTo>
                    <a:pt x="16" y="536"/>
                  </a:lnTo>
                  <a:lnTo>
                    <a:pt x="0" y="560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4" name="Freeform 95"/>
            <p:cNvSpPr>
              <a:spLocks/>
            </p:cNvSpPr>
            <p:nvPr/>
          </p:nvSpPr>
          <p:spPr bwMode="auto">
            <a:xfrm>
              <a:off x="3918961" y="3443789"/>
              <a:ext cx="620553" cy="506392"/>
            </a:xfrm>
            <a:custGeom>
              <a:avLst/>
              <a:gdLst/>
              <a:ahLst/>
              <a:cxnLst>
                <a:cxn ang="0">
                  <a:pos x="80" y="256"/>
                </a:cxn>
                <a:cxn ang="0">
                  <a:pos x="96" y="272"/>
                </a:cxn>
                <a:cxn ang="0">
                  <a:pos x="120" y="264"/>
                </a:cxn>
                <a:cxn ang="0">
                  <a:pos x="136" y="296"/>
                </a:cxn>
                <a:cxn ang="0">
                  <a:pos x="160" y="272"/>
                </a:cxn>
                <a:cxn ang="0">
                  <a:pos x="176" y="280"/>
                </a:cxn>
                <a:cxn ang="0">
                  <a:pos x="176" y="256"/>
                </a:cxn>
                <a:cxn ang="0">
                  <a:pos x="176" y="232"/>
                </a:cxn>
                <a:cxn ang="0">
                  <a:pos x="232" y="168"/>
                </a:cxn>
                <a:cxn ang="0">
                  <a:pos x="288" y="168"/>
                </a:cxn>
                <a:cxn ang="0">
                  <a:pos x="304" y="184"/>
                </a:cxn>
                <a:cxn ang="0">
                  <a:pos x="328" y="128"/>
                </a:cxn>
                <a:cxn ang="0">
                  <a:pos x="296" y="96"/>
                </a:cxn>
                <a:cxn ang="0">
                  <a:pos x="304" y="64"/>
                </a:cxn>
                <a:cxn ang="0">
                  <a:pos x="344" y="24"/>
                </a:cxn>
                <a:cxn ang="0">
                  <a:pos x="352" y="8"/>
                </a:cxn>
                <a:cxn ang="0">
                  <a:pos x="344" y="0"/>
                </a:cxn>
                <a:cxn ang="0">
                  <a:pos x="320" y="0"/>
                </a:cxn>
                <a:cxn ang="0">
                  <a:pos x="296" y="24"/>
                </a:cxn>
                <a:cxn ang="0">
                  <a:pos x="288" y="24"/>
                </a:cxn>
                <a:cxn ang="0">
                  <a:pos x="256" y="0"/>
                </a:cxn>
                <a:cxn ang="0">
                  <a:pos x="240" y="32"/>
                </a:cxn>
                <a:cxn ang="0">
                  <a:pos x="200" y="32"/>
                </a:cxn>
                <a:cxn ang="0">
                  <a:pos x="176" y="40"/>
                </a:cxn>
                <a:cxn ang="0">
                  <a:pos x="136" y="64"/>
                </a:cxn>
                <a:cxn ang="0">
                  <a:pos x="144" y="88"/>
                </a:cxn>
                <a:cxn ang="0">
                  <a:pos x="152" y="88"/>
                </a:cxn>
                <a:cxn ang="0">
                  <a:pos x="144" y="104"/>
                </a:cxn>
                <a:cxn ang="0">
                  <a:pos x="120" y="96"/>
                </a:cxn>
                <a:cxn ang="0">
                  <a:pos x="120" y="88"/>
                </a:cxn>
                <a:cxn ang="0">
                  <a:pos x="72" y="96"/>
                </a:cxn>
                <a:cxn ang="0">
                  <a:pos x="72" y="104"/>
                </a:cxn>
                <a:cxn ang="0">
                  <a:pos x="80" y="112"/>
                </a:cxn>
                <a:cxn ang="0">
                  <a:pos x="64" y="136"/>
                </a:cxn>
                <a:cxn ang="0">
                  <a:pos x="56" y="136"/>
                </a:cxn>
                <a:cxn ang="0">
                  <a:pos x="56" y="128"/>
                </a:cxn>
                <a:cxn ang="0">
                  <a:pos x="40" y="144"/>
                </a:cxn>
                <a:cxn ang="0">
                  <a:pos x="24" y="160"/>
                </a:cxn>
                <a:cxn ang="0">
                  <a:pos x="56" y="168"/>
                </a:cxn>
                <a:cxn ang="0">
                  <a:pos x="32" y="176"/>
                </a:cxn>
                <a:cxn ang="0">
                  <a:pos x="8" y="184"/>
                </a:cxn>
                <a:cxn ang="0">
                  <a:pos x="16" y="192"/>
                </a:cxn>
                <a:cxn ang="0">
                  <a:pos x="0" y="200"/>
                </a:cxn>
                <a:cxn ang="0">
                  <a:pos x="32" y="192"/>
                </a:cxn>
                <a:cxn ang="0">
                  <a:pos x="24" y="216"/>
                </a:cxn>
                <a:cxn ang="0">
                  <a:pos x="48" y="240"/>
                </a:cxn>
                <a:cxn ang="0">
                  <a:pos x="88" y="208"/>
                </a:cxn>
                <a:cxn ang="0">
                  <a:pos x="88" y="192"/>
                </a:cxn>
                <a:cxn ang="0">
                  <a:pos x="112" y="160"/>
                </a:cxn>
                <a:cxn ang="0">
                  <a:pos x="136" y="160"/>
                </a:cxn>
                <a:cxn ang="0">
                  <a:pos x="184" y="128"/>
                </a:cxn>
                <a:cxn ang="0">
                  <a:pos x="192" y="144"/>
                </a:cxn>
                <a:cxn ang="0">
                  <a:pos x="152" y="160"/>
                </a:cxn>
                <a:cxn ang="0">
                  <a:pos x="136" y="176"/>
                </a:cxn>
                <a:cxn ang="0">
                  <a:pos x="120" y="184"/>
                </a:cxn>
                <a:cxn ang="0">
                  <a:pos x="96" y="208"/>
                </a:cxn>
                <a:cxn ang="0">
                  <a:pos x="112" y="208"/>
                </a:cxn>
                <a:cxn ang="0">
                  <a:pos x="128" y="200"/>
                </a:cxn>
                <a:cxn ang="0">
                  <a:pos x="120" y="216"/>
                </a:cxn>
                <a:cxn ang="0">
                  <a:pos x="80" y="224"/>
                </a:cxn>
                <a:cxn ang="0">
                  <a:pos x="88" y="240"/>
                </a:cxn>
                <a:cxn ang="0">
                  <a:pos x="80" y="256"/>
                </a:cxn>
              </a:cxnLst>
              <a:rect l="0" t="0" r="r" b="b"/>
              <a:pathLst>
                <a:path w="353" h="297">
                  <a:moveTo>
                    <a:pt x="80" y="256"/>
                  </a:moveTo>
                  <a:lnTo>
                    <a:pt x="96" y="272"/>
                  </a:lnTo>
                  <a:lnTo>
                    <a:pt x="120" y="264"/>
                  </a:lnTo>
                  <a:lnTo>
                    <a:pt x="136" y="296"/>
                  </a:lnTo>
                  <a:lnTo>
                    <a:pt x="160" y="272"/>
                  </a:lnTo>
                  <a:lnTo>
                    <a:pt x="176" y="280"/>
                  </a:lnTo>
                  <a:lnTo>
                    <a:pt x="176" y="256"/>
                  </a:lnTo>
                  <a:lnTo>
                    <a:pt x="176" y="232"/>
                  </a:lnTo>
                  <a:lnTo>
                    <a:pt x="232" y="168"/>
                  </a:lnTo>
                  <a:lnTo>
                    <a:pt x="288" y="168"/>
                  </a:lnTo>
                  <a:lnTo>
                    <a:pt x="304" y="184"/>
                  </a:lnTo>
                  <a:lnTo>
                    <a:pt x="328" y="128"/>
                  </a:lnTo>
                  <a:lnTo>
                    <a:pt x="296" y="96"/>
                  </a:lnTo>
                  <a:lnTo>
                    <a:pt x="304" y="64"/>
                  </a:lnTo>
                  <a:lnTo>
                    <a:pt x="344" y="24"/>
                  </a:lnTo>
                  <a:lnTo>
                    <a:pt x="352" y="8"/>
                  </a:lnTo>
                  <a:lnTo>
                    <a:pt x="344" y="0"/>
                  </a:lnTo>
                  <a:lnTo>
                    <a:pt x="320" y="0"/>
                  </a:lnTo>
                  <a:lnTo>
                    <a:pt x="296" y="24"/>
                  </a:lnTo>
                  <a:lnTo>
                    <a:pt x="288" y="24"/>
                  </a:lnTo>
                  <a:lnTo>
                    <a:pt x="256" y="0"/>
                  </a:lnTo>
                  <a:lnTo>
                    <a:pt x="240" y="32"/>
                  </a:lnTo>
                  <a:lnTo>
                    <a:pt x="200" y="32"/>
                  </a:lnTo>
                  <a:lnTo>
                    <a:pt x="176" y="40"/>
                  </a:lnTo>
                  <a:lnTo>
                    <a:pt x="136" y="64"/>
                  </a:lnTo>
                  <a:lnTo>
                    <a:pt x="144" y="88"/>
                  </a:lnTo>
                  <a:lnTo>
                    <a:pt x="152" y="88"/>
                  </a:lnTo>
                  <a:lnTo>
                    <a:pt x="144" y="104"/>
                  </a:lnTo>
                  <a:lnTo>
                    <a:pt x="120" y="96"/>
                  </a:lnTo>
                  <a:lnTo>
                    <a:pt x="120" y="88"/>
                  </a:lnTo>
                  <a:lnTo>
                    <a:pt x="72" y="96"/>
                  </a:lnTo>
                  <a:lnTo>
                    <a:pt x="72" y="104"/>
                  </a:lnTo>
                  <a:lnTo>
                    <a:pt x="80" y="112"/>
                  </a:lnTo>
                  <a:lnTo>
                    <a:pt x="64" y="136"/>
                  </a:lnTo>
                  <a:lnTo>
                    <a:pt x="56" y="136"/>
                  </a:lnTo>
                  <a:lnTo>
                    <a:pt x="56" y="128"/>
                  </a:lnTo>
                  <a:lnTo>
                    <a:pt x="40" y="144"/>
                  </a:lnTo>
                  <a:lnTo>
                    <a:pt x="24" y="160"/>
                  </a:lnTo>
                  <a:lnTo>
                    <a:pt x="56" y="168"/>
                  </a:lnTo>
                  <a:lnTo>
                    <a:pt x="32" y="176"/>
                  </a:lnTo>
                  <a:lnTo>
                    <a:pt x="8" y="184"/>
                  </a:lnTo>
                  <a:lnTo>
                    <a:pt x="16" y="192"/>
                  </a:lnTo>
                  <a:lnTo>
                    <a:pt x="0" y="200"/>
                  </a:lnTo>
                  <a:lnTo>
                    <a:pt x="32" y="192"/>
                  </a:lnTo>
                  <a:lnTo>
                    <a:pt x="24" y="216"/>
                  </a:lnTo>
                  <a:lnTo>
                    <a:pt x="48" y="240"/>
                  </a:lnTo>
                  <a:lnTo>
                    <a:pt x="88" y="208"/>
                  </a:lnTo>
                  <a:lnTo>
                    <a:pt x="88" y="192"/>
                  </a:lnTo>
                  <a:lnTo>
                    <a:pt x="112" y="160"/>
                  </a:lnTo>
                  <a:lnTo>
                    <a:pt x="136" y="160"/>
                  </a:lnTo>
                  <a:lnTo>
                    <a:pt x="184" y="128"/>
                  </a:lnTo>
                  <a:lnTo>
                    <a:pt x="192" y="144"/>
                  </a:lnTo>
                  <a:lnTo>
                    <a:pt x="152" y="160"/>
                  </a:lnTo>
                  <a:lnTo>
                    <a:pt x="136" y="176"/>
                  </a:lnTo>
                  <a:lnTo>
                    <a:pt x="120" y="184"/>
                  </a:lnTo>
                  <a:lnTo>
                    <a:pt x="96" y="208"/>
                  </a:lnTo>
                  <a:lnTo>
                    <a:pt x="112" y="208"/>
                  </a:lnTo>
                  <a:lnTo>
                    <a:pt x="128" y="200"/>
                  </a:lnTo>
                  <a:lnTo>
                    <a:pt x="120" y="216"/>
                  </a:lnTo>
                  <a:lnTo>
                    <a:pt x="80" y="224"/>
                  </a:lnTo>
                  <a:lnTo>
                    <a:pt x="88" y="240"/>
                  </a:lnTo>
                  <a:lnTo>
                    <a:pt x="80" y="256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5" name="Freeform 96"/>
            <p:cNvSpPr>
              <a:spLocks/>
            </p:cNvSpPr>
            <p:nvPr/>
          </p:nvSpPr>
          <p:spPr bwMode="auto">
            <a:xfrm>
              <a:off x="3765300" y="3812254"/>
              <a:ext cx="464922" cy="370435"/>
            </a:xfrm>
            <a:custGeom>
              <a:avLst/>
              <a:gdLst/>
              <a:ahLst/>
              <a:cxnLst>
                <a:cxn ang="0">
                  <a:pos x="32" y="200"/>
                </a:cxn>
                <a:cxn ang="0">
                  <a:pos x="40" y="200"/>
                </a:cxn>
                <a:cxn ang="0">
                  <a:pos x="80" y="216"/>
                </a:cxn>
                <a:cxn ang="0">
                  <a:pos x="96" y="216"/>
                </a:cxn>
                <a:cxn ang="0">
                  <a:pos x="112" y="200"/>
                </a:cxn>
                <a:cxn ang="0">
                  <a:pos x="96" y="168"/>
                </a:cxn>
                <a:cxn ang="0">
                  <a:pos x="112" y="144"/>
                </a:cxn>
                <a:cxn ang="0">
                  <a:pos x="144" y="160"/>
                </a:cxn>
                <a:cxn ang="0">
                  <a:pos x="176" y="160"/>
                </a:cxn>
                <a:cxn ang="0">
                  <a:pos x="208" y="184"/>
                </a:cxn>
                <a:cxn ang="0">
                  <a:pos x="216" y="184"/>
                </a:cxn>
                <a:cxn ang="0">
                  <a:pos x="224" y="208"/>
                </a:cxn>
                <a:cxn ang="0">
                  <a:pos x="264" y="216"/>
                </a:cxn>
                <a:cxn ang="0">
                  <a:pos x="264" y="200"/>
                </a:cxn>
                <a:cxn ang="0">
                  <a:pos x="256" y="136"/>
                </a:cxn>
                <a:cxn ang="0">
                  <a:pos x="264" y="104"/>
                </a:cxn>
                <a:cxn ang="0">
                  <a:pos x="256" y="80"/>
                </a:cxn>
                <a:cxn ang="0">
                  <a:pos x="264" y="48"/>
                </a:cxn>
                <a:cxn ang="0">
                  <a:pos x="240" y="48"/>
                </a:cxn>
                <a:cxn ang="0">
                  <a:pos x="224" y="80"/>
                </a:cxn>
                <a:cxn ang="0">
                  <a:pos x="208" y="40"/>
                </a:cxn>
                <a:cxn ang="0">
                  <a:pos x="184" y="48"/>
                </a:cxn>
                <a:cxn ang="0">
                  <a:pos x="144" y="32"/>
                </a:cxn>
                <a:cxn ang="0">
                  <a:pos x="120" y="32"/>
                </a:cxn>
                <a:cxn ang="0">
                  <a:pos x="112" y="32"/>
                </a:cxn>
                <a:cxn ang="0">
                  <a:pos x="104" y="8"/>
                </a:cxn>
                <a:cxn ang="0">
                  <a:pos x="88" y="0"/>
                </a:cxn>
                <a:cxn ang="0">
                  <a:pos x="80" y="8"/>
                </a:cxn>
                <a:cxn ang="0">
                  <a:pos x="56" y="8"/>
                </a:cxn>
                <a:cxn ang="0">
                  <a:pos x="56" y="24"/>
                </a:cxn>
                <a:cxn ang="0">
                  <a:pos x="80" y="24"/>
                </a:cxn>
                <a:cxn ang="0">
                  <a:pos x="56" y="40"/>
                </a:cxn>
                <a:cxn ang="0">
                  <a:pos x="48" y="40"/>
                </a:cxn>
                <a:cxn ang="0">
                  <a:pos x="56" y="40"/>
                </a:cxn>
                <a:cxn ang="0">
                  <a:pos x="48" y="32"/>
                </a:cxn>
                <a:cxn ang="0">
                  <a:pos x="24" y="24"/>
                </a:cxn>
                <a:cxn ang="0">
                  <a:pos x="24" y="40"/>
                </a:cxn>
                <a:cxn ang="0">
                  <a:pos x="0" y="40"/>
                </a:cxn>
                <a:cxn ang="0">
                  <a:pos x="24" y="56"/>
                </a:cxn>
                <a:cxn ang="0">
                  <a:pos x="32" y="56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40" y="80"/>
                </a:cxn>
                <a:cxn ang="0">
                  <a:pos x="56" y="56"/>
                </a:cxn>
                <a:cxn ang="0">
                  <a:pos x="72" y="72"/>
                </a:cxn>
                <a:cxn ang="0">
                  <a:pos x="72" y="128"/>
                </a:cxn>
                <a:cxn ang="0">
                  <a:pos x="32" y="128"/>
                </a:cxn>
                <a:cxn ang="0">
                  <a:pos x="24" y="144"/>
                </a:cxn>
                <a:cxn ang="0">
                  <a:pos x="48" y="168"/>
                </a:cxn>
                <a:cxn ang="0">
                  <a:pos x="48" y="184"/>
                </a:cxn>
                <a:cxn ang="0">
                  <a:pos x="32" y="200"/>
                </a:cxn>
              </a:cxnLst>
              <a:rect l="0" t="0" r="r" b="b"/>
              <a:pathLst>
                <a:path w="265" h="217">
                  <a:moveTo>
                    <a:pt x="32" y="200"/>
                  </a:moveTo>
                  <a:lnTo>
                    <a:pt x="40" y="200"/>
                  </a:lnTo>
                  <a:lnTo>
                    <a:pt x="80" y="216"/>
                  </a:lnTo>
                  <a:lnTo>
                    <a:pt x="96" y="216"/>
                  </a:lnTo>
                  <a:lnTo>
                    <a:pt x="112" y="200"/>
                  </a:lnTo>
                  <a:lnTo>
                    <a:pt x="96" y="168"/>
                  </a:lnTo>
                  <a:lnTo>
                    <a:pt x="112" y="144"/>
                  </a:lnTo>
                  <a:lnTo>
                    <a:pt x="144" y="160"/>
                  </a:lnTo>
                  <a:lnTo>
                    <a:pt x="176" y="160"/>
                  </a:lnTo>
                  <a:lnTo>
                    <a:pt x="208" y="184"/>
                  </a:lnTo>
                  <a:lnTo>
                    <a:pt x="216" y="184"/>
                  </a:lnTo>
                  <a:lnTo>
                    <a:pt x="224" y="208"/>
                  </a:lnTo>
                  <a:lnTo>
                    <a:pt x="264" y="216"/>
                  </a:lnTo>
                  <a:lnTo>
                    <a:pt x="264" y="200"/>
                  </a:lnTo>
                  <a:lnTo>
                    <a:pt x="256" y="136"/>
                  </a:lnTo>
                  <a:lnTo>
                    <a:pt x="264" y="104"/>
                  </a:lnTo>
                  <a:lnTo>
                    <a:pt x="256" y="80"/>
                  </a:lnTo>
                  <a:lnTo>
                    <a:pt x="264" y="48"/>
                  </a:lnTo>
                  <a:lnTo>
                    <a:pt x="240" y="48"/>
                  </a:lnTo>
                  <a:lnTo>
                    <a:pt x="224" y="80"/>
                  </a:lnTo>
                  <a:lnTo>
                    <a:pt x="208" y="40"/>
                  </a:lnTo>
                  <a:lnTo>
                    <a:pt x="184" y="48"/>
                  </a:lnTo>
                  <a:lnTo>
                    <a:pt x="144" y="32"/>
                  </a:lnTo>
                  <a:lnTo>
                    <a:pt x="120" y="32"/>
                  </a:lnTo>
                  <a:lnTo>
                    <a:pt x="112" y="32"/>
                  </a:lnTo>
                  <a:lnTo>
                    <a:pt x="104" y="8"/>
                  </a:lnTo>
                  <a:lnTo>
                    <a:pt x="88" y="0"/>
                  </a:lnTo>
                  <a:lnTo>
                    <a:pt x="80" y="8"/>
                  </a:lnTo>
                  <a:lnTo>
                    <a:pt x="56" y="8"/>
                  </a:lnTo>
                  <a:lnTo>
                    <a:pt x="56" y="24"/>
                  </a:lnTo>
                  <a:lnTo>
                    <a:pt x="80" y="24"/>
                  </a:lnTo>
                  <a:lnTo>
                    <a:pt x="56" y="40"/>
                  </a:lnTo>
                  <a:lnTo>
                    <a:pt x="48" y="40"/>
                  </a:lnTo>
                  <a:lnTo>
                    <a:pt x="56" y="40"/>
                  </a:lnTo>
                  <a:lnTo>
                    <a:pt x="48" y="32"/>
                  </a:lnTo>
                  <a:lnTo>
                    <a:pt x="24" y="24"/>
                  </a:lnTo>
                  <a:lnTo>
                    <a:pt x="24" y="40"/>
                  </a:lnTo>
                  <a:lnTo>
                    <a:pt x="0" y="40"/>
                  </a:lnTo>
                  <a:lnTo>
                    <a:pt x="24" y="56"/>
                  </a:lnTo>
                  <a:lnTo>
                    <a:pt x="32" y="56"/>
                  </a:lnTo>
                  <a:lnTo>
                    <a:pt x="24" y="72"/>
                  </a:lnTo>
                  <a:lnTo>
                    <a:pt x="16" y="72"/>
                  </a:lnTo>
                  <a:lnTo>
                    <a:pt x="40" y="80"/>
                  </a:lnTo>
                  <a:lnTo>
                    <a:pt x="56" y="56"/>
                  </a:lnTo>
                  <a:lnTo>
                    <a:pt x="72" y="72"/>
                  </a:lnTo>
                  <a:lnTo>
                    <a:pt x="72" y="128"/>
                  </a:lnTo>
                  <a:lnTo>
                    <a:pt x="32" y="128"/>
                  </a:lnTo>
                  <a:lnTo>
                    <a:pt x="24" y="144"/>
                  </a:lnTo>
                  <a:lnTo>
                    <a:pt x="48" y="168"/>
                  </a:lnTo>
                  <a:lnTo>
                    <a:pt x="48" y="184"/>
                  </a:lnTo>
                  <a:lnTo>
                    <a:pt x="32" y="2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6" name="Freeform 97"/>
            <p:cNvSpPr>
              <a:spLocks/>
            </p:cNvSpPr>
            <p:nvPr/>
          </p:nvSpPr>
          <p:spPr bwMode="auto">
            <a:xfrm>
              <a:off x="3751510" y="3757082"/>
              <a:ext cx="70920" cy="43349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" y="24"/>
                </a:cxn>
                <a:cxn ang="0">
                  <a:pos x="40" y="8"/>
                </a:cxn>
                <a:cxn ang="0">
                  <a:pos x="40" y="0"/>
                </a:cxn>
                <a:cxn ang="0">
                  <a:pos x="8" y="8"/>
                </a:cxn>
                <a:cxn ang="0">
                  <a:pos x="0" y="16"/>
                </a:cxn>
              </a:cxnLst>
              <a:rect l="0" t="0" r="r" b="b"/>
              <a:pathLst>
                <a:path w="41" h="25">
                  <a:moveTo>
                    <a:pt x="0" y="16"/>
                  </a:moveTo>
                  <a:lnTo>
                    <a:pt x="8" y="24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8" y="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7" name="Freeform 98"/>
            <p:cNvSpPr>
              <a:spLocks/>
            </p:cNvSpPr>
            <p:nvPr/>
          </p:nvSpPr>
          <p:spPr bwMode="auto">
            <a:xfrm>
              <a:off x="3751510" y="3798461"/>
              <a:ext cx="114260" cy="57142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32"/>
                </a:cxn>
                <a:cxn ang="0">
                  <a:pos x="48" y="16"/>
                </a:cxn>
                <a:cxn ang="0">
                  <a:pos x="64" y="8"/>
                </a:cxn>
                <a:cxn ang="0">
                  <a:pos x="48" y="0"/>
                </a:cxn>
                <a:cxn ang="0">
                  <a:pos x="40" y="8"/>
                </a:cxn>
                <a:cxn ang="0">
                  <a:pos x="32" y="0"/>
                </a:cxn>
                <a:cxn ang="0">
                  <a:pos x="24" y="8"/>
                </a:cxn>
                <a:cxn ang="0">
                  <a:pos x="32" y="16"/>
                </a:cxn>
                <a:cxn ang="0">
                  <a:pos x="8" y="16"/>
                </a:cxn>
                <a:cxn ang="0">
                  <a:pos x="0" y="24"/>
                </a:cxn>
              </a:cxnLst>
              <a:rect l="0" t="0" r="r" b="b"/>
              <a:pathLst>
                <a:path w="65" h="33">
                  <a:moveTo>
                    <a:pt x="0" y="16"/>
                  </a:moveTo>
                  <a:lnTo>
                    <a:pt x="0" y="32"/>
                  </a:lnTo>
                  <a:lnTo>
                    <a:pt x="48" y="16"/>
                  </a:lnTo>
                  <a:lnTo>
                    <a:pt x="64" y="8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24" y="8"/>
                  </a:lnTo>
                  <a:lnTo>
                    <a:pt x="32" y="16"/>
                  </a:lnTo>
                  <a:lnTo>
                    <a:pt x="8" y="16"/>
                  </a:lnTo>
                  <a:lnTo>
                    <a:pt x="0" y="24"/>
                  </a:lnTo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8" name="Freeform 99"/>
            <p:cNvSpPr>
              <a:spLocks/>
            </p:cNvSpPr>
            <p:nvPr/>
          </p:nvSpPr>
          <p:spPr bwMode="auto">
            <a:xfrm>
              <a:off x="3694380" y="3826046"/>
              <a:ext cx="45310" cy="57142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24" y="24"/>
                </a:cxn>
                <a:cxn ang="0">
                  <a:pos x="24" y="8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32"/>
                </a:cxn>
              </a:cxnLst>
              <a:rect l="0" t="0" r="r" b="b"/>
              <a:pathLst>
                <a:path w="25" h="33">
                  <a:moveTo>
                    <a:pt x="0" y="32"/>
                  </a:moveTo>
                  <a:lnTo>
                    <a:pt x="24" y="24"/>
                  </a:lnTo>
                  <a:lnTo>
                    <a:pt x="24" y="8"/>
                  </a:lnTo>
                  <a:lnTo>
                    <a:pt x="8" y="0"/>
                  </a:lnTo>
                  <a:lnTo>
                    <a:pt x="0" y="8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59" name="Freeform 100"/>
            <p:cNvSpPr>
              <a:spLocks/>
            </p:cNvSpPr>
            <p:nvPr/>
          </p:nvSpPr>
          <p:spPr bwMode="auto">
            <a:xfrm>
              <a:off x="3708170" y="3881217"/>
              <a:ext cx="59100" cy="4137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32" y="24"/>
                </a:cxn>
                <a:cxn ang="0">
                  <a:pos x="24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0" y="24"/>
                  </a:lnTo>
                  <a:lnTo>
                    <a:pt x="16" y="1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24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0" name="Freeform 101"/>
            <p:cNvSpPr>
              <a:spLocks/>
            </p:cNvSpPr>
            <p:nvPr/>
          </p:nvSpPr>
          <p:spPr bwMode="auto">
            <a:xfrm>
              <a:off x="3653010" y="3895010"/>
              <a:ext cx="43340" cy="41378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4" y="24"/>
                </a:cxn>
                <a:cxn ang="0">
                  <a:pos x="24" y="0"/>
                </a:cxn>
                <a:cxn ang="0">
                  <a:pos x="0" y="16"/>
                </a:cxn>
              </a:cxnLst>
              <a:rect l="0" t="0" r="r" b="b"/>
              <a:pathLst>
                <a:path w="25" h="25">
                  <a:moveTo>
                    <a:pt x="0" y="16"/>
                  </a:moveTo>
                  <a:lnTo>
                    <a:pt x="24" y="24"/>
                  </a:lnTo>
                  <a:lnTo>
                    <a:pt x="24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1" name="Freeform 102"/>
            <p:cNvSpPr>
              <a:spLocks/>
            </p:cNvSpPr>
            <p:nvPr/>
          </p:nvSpPr>
          <p:spPr bwMode="auto">
            <a:xfrm>
              <a:off x="3625430" y="3934418"/>
              <a:ext cx="29550" cy="15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9">
                  <a:moveTo>
                    <a:pt x="0" y="0"/>
                  </a:move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2" name="Freeform 103"/>
            <p:cNvSpPr>
              <a:spLocks/>
            </p:cNvSpPr>
            <p:nvPr/>
          </p:nvSpPr>
          <p:spPr bwMode="auto">
            <a:xfrm>
              <a:off x="3302348" y="3908803"/>
              <a:ext cx="591003" cy="327086"/>
            </a:xfrm>
            <a:custGeom>
              <a:avLst/>
              <a:gdLst/>
              <a:ahLst/>
              <a:cxnLst>
                <a:cxn ang="0">
                  <a:pos x="0" y="176"/>
                </a:cxn>
                <a:cxn ang="0">
                  <a:pos x="80" y="192"/>
                </a:cxn>
                <a:cxn ang="0">
                  <a:pos x="136" y="176"/>
                </a:cxn>
                <a:cxn ang="0">
                  <a:pos x="200" y="144"/>
                </a:cxn>
                <a:cxn ang="0">
                  <a:pos x="232" y="144"/>
                </a:cxn>
                <a:cxn ang="0">
                  <a:pos x="264" y="144"/>
                </a:cxn>
                <a:cxn ang="0">
                  <a:pos x="296" y="136"/>
                </a:cxn>
                <a:cxn ang="0">
                  <a:pos x="312" y="112"/>
                </a:cxn>
                <a:cxn ang="0">
                  <a:pos x="296" y="72"/>
                </a:cxn>
                <a:cxn ang="0">
                  <a:pos x="328" y="16"/>
                </a:cxn>
                <a:cxn ang="0">
                  <a:pos x="304" y="16"/>
                </a:cxn>
                <a:cxn ang="0">
                  <a:pos x="248" y="16"/>
                </a:cxn>
                <a:cxn ang="0">
                  <a:pos x="264" y="48"/>
                </a:cxn>
                <a:cxn ang="0">
                  <a:pos x="272" y="80"/>
                </a:cxn>
                <a:cxn ang="0">
                  <a:pos x="232" y="16"/>
                </a:cxn>
                <a:cxn ang="0">
                  <a:pos x="208" y="24"/>
                </a:cxn>
                <a:cxn ang="0">
                  <a:pos x="248" y="56"/>
                </a:cxn>
                <a:cxn ang="0">
                  <a:pos x="256" y="88"/>
                </a:cxn>
                <a:cxn ang="0">
                  <a:pos x="192" y="40"/>
                </a:cxn>
                <a:cxn ang="0">
                  <a:pos x="136" y="40"/>
                </a:cxn>
                <a:cxn ang="0">
                  <a:pos x="144" y="48"/>
                </a:cxn>
                <a:cxn ang="0">
                  <a:pos x="168" y="72"/>
                </a:cxn>
                <a:cxn ang="0">
                  <a:pos x="200" y="56"/>
                </a:cxn>
                <a:cxn ang="0">
                  <a:pos x="200" y="80"/>
                </a:cxn>
                <a:cxn ang="0">
                  <a:pos x="232" y="80"/>
                </a:cxn>
                <a:cxn ang="0">
                  <a:pos x="200" y="88"/>
                </a:cxn>
                <a:cxn ang="0">
                  <a:pos x="152" y="80"/>
                </a:cxn>
                <a:cxn ang="0">
                  <a:pos x="120" y="96"/>
                </a:cxn>
                <a:cxn ang="0">
                  <a:pos x="144" y="144"/>
                </a:cxn>
                <a:cxn ang="0">
                  <a:pos x="136" y="160"/>
                </a:cxn>
                <a:cxn ang="0">
                  <a:pos x="120" y="112"/>
                </a:cxn>
                <a:cxn ang="0">
                  <a:pos x="120" y="144"/>
                </a:cxn>
                <a:cxn ang="0">
                  <a:pos x="96" y="144"/>
                </a:cxn>
                <a:cxn ang="0">
                  <a:pos x="80" y="136"/>
                </a:cxn>
                <a:cxn ang="0">
                  <a:pos x="80" y="152"/>
                </a:cxn>
                <a:cxn ang="0">
                  <a:pos x="48" y="144"/>
                </a:cxn>
                <a:cxn ang="0">
                  <a:pos x="32" y="152"/>
                </a:cxn>
                <a:cxn ang="0">
                  <a:pos x="32" y="168"/>
                </a:cxn>
                <a:cxn ang="0">
                  <a:pos x="0" y="144"/>
                </a:cxn>
                <a:cxn ang="0">
                  <a:pos x="0" y="168"/>
                </a:cxn>
              </a:cxnLst>
              <a:rect l="0" t="0" r="r" b="b"/>
              <a:pathLst>
                <a:path w="337" h="193">
                  <a:moveTo>
                    <a:pt x="0" y="168"/>
                  </a:moveTo>
                  <a:lnTo>
                    <a:pt x="0" y="176"/>
                  </a:lnTo>
                  <a:lnTo>
                    <a:pt x="48" y="176"/>
                  </a:lnTo>
                  <a:lnTo>
                    <a:pt x="80" y="192"/>
                  </a:lnTo>
                  <a:lnTo>
                    <a:pt x="120" y="192"/>
                  </a:lnTo>
                  <a:lnTo>
                    <a:pt x="136" y="176"/>
                  </a:lnTo>
                  <a:lnTo>
                    <a:pt x="160" y="184"/>
                  </a:lnTo>
                  <a:lnTo>
                    <a:pt x="200" y="144"/>
                  </a:lnTo>
                  <a:lnTo>
                    <a:pt x="224" y="160"/>
                  </a:lnTo>
                  <a:lnTo>
                    <a:pt x="232" y="144"/>
                  </a:lnTo>
                  <a:lnTo>
                    <a:pt x="256" y="136"/>
                  </a:lnTo>
                  <a:lnTo>
                    <a:pt x="264" y="144"/>
                  </a:lnTo>
                  <a:lnTo>
                    <a:pt x="288" y="136"/>
                  </a:lnTo>
                  <a:lnTo>
                    <a:pt x="296" y="136"/>
                  </a:lnTo>
                  <a:lnTo>
                    <a:pt x="312" y="128"/>
                  </a:lnTo>
                  <a:lnTo>
                    <a:pt x="312" y="112"/>
                  </a:lnTo>
                  <a:lnTo>
                    <a:pt x="288" y="88"/>
                  </a:lnTo>
                  <a:lnTo>
                    <a:pt x="296" y="72"/>
                  </a:lnTo>
                  <a:lnTo>
                    <a:pt x="336" y="56"/>
                  </a:lnTo>
                  <a:lnTo>
                    <a:pt x="328" y="16"/>
                  </a:lnTo>
                  <a:lnTo>
                    <a:pt x="320" y="0"/>
                  </a:lnTo>
                  <a:lnTo>
                    <a:pt x="304" y="16"/>
                  </a:lnTo>
                  <a:lnTo>
                    <a:pt x="280" y="16"/>
                  </a:lnTo>
                  <a:lnTo>
                    <a:pt x="248" y="16"/>
                  </a:lnTo>
                  <a:lnTo>
                    <a:pt x="264" y="32"/>
                  </a:lnTo>
                  <a:lnTo>
                    <a:pt x="264" y="48"/>
                  </a:lnTo>
                  <a:lnTo>
                    <a:pt x="280" y="56"/>
                  </a:lnTo>
                  <a:lnTo>
                    <a:pt x="272" y="80"/>
                  </a:lnTo>
                  <a:lnTo>
                    <a:pt x="248" y="48"/>
                  </a:lnTo>
                  <a:lnTo>
                    <a:pt x="232" y="16"/>
                  </a:lnTo>
                  <a:lnTo>
                    <a:pt x="208" y="16"/>
                  </a:lnTo>
                  <a:lnTo>
                    <a:pt x="208" y="24"/>
                  </a:lnTo>
                  <a:lnTo>
                    <a:pt x="232" y="32"/>
                  </a:lnTo>
                  <a:lnTo>
                    <a:pt x="248" y="56"/>
                  </a:lnTo>
                  <a:lnTo>
                    <a:pt x="256" y="80"/>
                  </a:lnTo>
                  <a:lnTo>
                    <a:pt x="256" y="88"/>
                  </a:lnTo>
                  <a:lnTo>
                    <a:pt x="216" y="40"/>
                  </a:lnTo>
                  <a:lnTo>
                    <a:pt x="192" y="40"/>
                  </a:lnTo>
                  <a:lnTo>
                    <a:pt x="176" y="24"/>
                  </a:lnTo>
                  <a:lnTo>
                    <a:pt x="136" y="40"/>
                  </a:lnTo>
                  <a:lnTo>
                    <a:pt x="136" y="48"/>
                  </a:lnTo>
                  <a:lnTo>
                    <a:pt x="144" y="48"/>
                  </a:lnTo>
                  <a:lnTo>
                    <a:pt x="152" y="56"/>
                  </a:lnTo>
                  <a:lnTo>
                    <a:pt x="168" y="72"/>
                  </a:lnTo>
                  <a:lnTo>
                    <a:pt x="184" y="48"/>
                  </a:lnTo>
                  <a:lnTo>
                    <a:pt x="200" y="56"/>
                  </a:lnTo>
                  <a:lnTo>
                    <a:pt x="192" y="80"/>
                  </a:lnTo>
                  <a:lnTo>
                    <a:pt x="200" y="80"/>
                  </a:lnTo>
                  <a:lnTo>
                    <a:pt x="216" y="56"/>
                  </a:lnTo>
                  <a:lnTo>
                    <a:pt x="232" y="80"/>
                  </a:lnTo>
                  <a:lnTo>
                    <a:pt x="232" y="88"/>
                  </a:lnTo>
                  <a:lnTo>
                    <a:pt x="200" y="88"/>
                  </a:lnTo>
                  <a:lnTo>
                    <a:pt x="184" y="88"/>
                  </a:lnTo>
                  <a:lnTo>
                    <a:pt x="152" y="80"/>
                  </a:lnTo>
                  <a:lnTo>
                    <a:pt x="104" y="80"/>
                  </a:lnTo>
                  <a:lnTo>
                    <a:pt x="120" y="96"/>
                  </a:lnTo>
                  <a:lnTo>
                    <a:pt x="168" y="144"/>
                  </a:lnTo>
                  <a:lnTo>
                    <a:pt x="144" y="144"/>
                  </a:lnTo>
                  <a:lnTo>
                    <a:pt x="152" y="160"/>
                  </a:lnTo>
                  <a:lnTo>
                    <a:pt x="136" y="160"/>
                  </a:lnTo>
                  <a:lnTo>
                    <a:pt x="128" y="128"/>
                  </a:lnTo>
                  <a:lnTo>
                    <a:pt x="120" y="112"/>
                  </a:lnTo>
                  <a:lnTo>
                    <a:pt x="112" y="112"/>
                  </a:lnTo>
                  <a:lnTo>
                    <a:pt x="120" y="144"/>
                  </a:lnTo>
                  <a:lnTo>
                    <a:pt x="112" y="152"/>
                  </a:lnTo>
                  <a:lnTo>
                    <a:pt x="96" y="144"/>
                  </a:lnTo>
                  <a:lnTo>
                    <a:pt x="96" y="112"/>
                  </a:lnTo>
                  <a:lnTo>
                    <a:pt x="80" y="136"/>
                  </a:lnTo>
                  <a:lnTo>
                    <a:pt x="64" y="136"/>
                  </a:lnTo>
                  <a:lnTo>
                    <a:pt x="80" y="152"/>
                  </a:lnTo>
                  <a:lnTo>
                    <a:pt x="56" y="160"/>
                  </a:lnTo>
                  <a:lnTo>
                    <a:pt x="48" y="144"/>
                  </a:lnTo>
                  <a:lnTo>
                    <a:pt x="32" y="136"/>
                  </a:lnTo>
                  <a:lnTo>
                    <a:pt x="32" y="152"/>
                  </a:lnTo>
                  <a:lnTo>
                    <a:pt x="40" y="168"/>
                  </a:lnTo>
                  <a:lnTo>
                    <a:pt x="32" y="168"/>
                  </a:lnTo>
                  <a:lnTo>
                    <a:pt x="8" y="128"/>
                  </a:lnTo>
                  <a:lnTo>
                    <a:pt x="0" y="144"/>
                  </a:lnTo>
                  <a:lnTo>
                    <a:pt x="16" y="160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3" name="Freeform 104"/>
            <p:cNvSpPr>
              <a:spLocks/>
            </p:cNvSpPr>
            <p:nvPr/>
          </p:nvSpPr>
          <p:spPr bwMode="auto">
            <a:xfrm>
              <a:off x="3231428" y="4208303"/>
              <a:ext cx="478712" cy="356642"/>
            </a:xfrm>
            <a:custGeom>
              <a:avLst/>
              <a:gdLst/>
              <a:ahLst/>
              <a:cxnLst>
                <a:cxn ang="0">
                  <a:pos x="88" y="152"/>
                </a:cxn>
                <a:cxn ang="0">
                  <a:pos x="120" y="152"/>
                </a:cxn>
                <a:cxn ang="0">
                  <a:pos x="136" y="168"/>
                </a:cxn>
                <a:cxn ang="0">
                  <a:pos x="152" y="192"/>
                </a:cxn>
                <a:cxn ang="0">
                  <a:pos x="208" y="184"/>
                </a:cxn>
                <a:cxn ang="0">
                  <a:pos x="232" y="160"/>
                </a:cxn>
                <a:cxn ang="0">
                  <a:pos x="264" y="152"/>
                </a:cxn>
                <a:cxn ang="0">
                  <a:pos x="264" y="128"/>
                </a:cxn>
                <a:cxn ang="0">
                  <a:pos x="264" y="72"/>
                </a:cxn>
                <a:cxn ang="0">
                  <a:pos x="216" y="40"/>
                </a:cxn>
                <a:cxn ang="0">
                  <a:pos x="200" y="0"/>
                </a:cxn>
                <a:cxn ang="0">
                  <a:pos x="152" y="8"/>
                </a:cxn>
                <a:cxn ang="0">
                  <a:pos x="136" y="32"/>
                </a:cxn>
                <a:cxn ang="0">
                  <a:pos x="88" y="16"/>
                </a:cxn>
                <a:cxn ang="0">
                  <a:pos x="48" y="32"/>
                </a:cxn>
                <a:cxn ang="0">
                  <a:pos x="24" y="32"/>
                </a:cxn>
                <a:cxn ang="0">
                  <a:pos x="32" y="56"/>
                </a:cxn>
                <a:cxn ang="0">
                  <a:pos x="24" y="64"/>
                </a:cxn>
                <a:cxn ang="0">
                  <a:pos x="16" y="88"/>
                </a:cxn>
                <a:cxn ang="0">
                  <a:pos x="0" y="96"/>
                </a:cxn>
                <a:cxn ang="0">
                  <a:pos x="16" y="120"/>
                </a:cxn>
                <a:cxn ang="0">
                  <a:pos x="56" y="120"/>
                </a:cxn>
                <a:cxn ang="0">
                  <a:pos x="104" y="112"/>
                </a:cxn>
                <a:cxn ang="0">
                  <a:pos x="128" y="120"/>
                </a:cxn>
                <a:cxn ang="0">
                  <a:pos x="160" y="120"/>
                </a:cxn>
                <a:cxn ang="0">
                  <a:pos x="184" y="112"/>
                </a:cxn>
                <a:cxn ang="0">
                  <a:pos x="224" y="120"/>
                </a:cxn>
                <a:cxn ang="0">
                  <a:pos x="200" y="136"/>
                </a:cxn>
                <a:cxn ang="0">
                  <a:pos x="176" y="136"/>
                </a:cxn>
                <a:cxn ang="0">
                  <a:pos x="152" y="128"/>
                </a:cxn>
                <a:cxn ang="0">
                  <a:pos x="112" y="136"/>
                </a:cxn>
                <a:cxn ang="0">
                  <a:pos x="64" y="128"/>
                </a:cxn>
                <a:cxn ang="0">
                  <a:pos x="24" y="128"/>
                </a:cxn>
                <a:cxn ang="0">
                  <a:pos x="8" y="152"/>
                </a:cxn>
                <a:cxn ang="0">
                  <a:pos x="56" y="152"/>
                </a:cxn>
              </a:cxnLst>
              <a:rect l="0" t="0" r="r" b="b"/>
              <a:pathLst>
                <a:path w="273" h="209">
                  <a:moveTo>
                    <a:pt x="48" y="160"/>
                  </a:moveTo>
                  <a:lnTo>
                    <a:pt x="88" y="152"/>
                  </a:lnTo>
                  <a:lnTo>
                    <a:pt x="112" y="160"/>
                  </a:lnTo>
                  <a:lnTo>
                    <a:pt x="120" y="152"/>
                  </a:lnTo>
                  <a:lnTo>
                    <a:pt x="136" y="152"/>
                  </a:lnTo>
                  <a:lnTo>
                    <a:pt x="136" y="168"/>
                  </a:lnTo>
                  <a:lnTo>
                    <a:pt x="152" y="168"/>
                  </a:lnTo>
                  <a:lnTo>
                    <a:pt x="152" y="192"/>
                  </a:lnTo>
                  <a:lnTo>
                    <a:pt x="200" y="208"/>
                  </a:lnTo>
                  <a:lnTo>
                    <a:pt x="208" y="184"/>
                  </a:lnTo>
                  <a:lnTo>
                    <a:pt x="232" y="184"/>
                  </a:lnTo>
                  <a:lnTo>
                    <a:pt x="232" y="160"/>
                  </a:lnTo>
                  <a:lnTo>
                    <a:pt x="248" y="160"/>
                  </a:lnTo>
                  <a:lnTo>
                    <a:pt x="264" y="152"/>
                  </a:lnTo>
                  <a:lnTo>
                    <a:pt x="232" y="128"/>
                  </a:lnTo>
                  <a:lnTo>
                    <a:pt x="264" y="128"/>
                  </a:lnTo>
                  <a:lnTo>
                    <a:pt x="272" y="112"/>
                  </a:lnTo>
                  <a:lnTo>
                    <a:pt x="264" y="72"/>
                  </a:lnTo>
                  <a:lnTo>
                    <a:pt x="232" y="48"/>
                  </a:lnTo>
                  <a:lnTo>
                    <a:pt x="216" y="40"/>
                  </a:lnTo>
                  <a:lnTo>
                    <a:pt x="208" y="24"/>
                  </a:lnTo>
                  <a:lnTo>
                    <a:pt x="200" y="0"/>
                  </a:lnTo>
                  <a:lnTo>
                    <a:pt x="176" y="0"/>
                  </a:lnTo>
                  <a:lnTo>
                    <a:pt x="152" y="8"/>
                  </a:lnTo>
                  <a:lnTo>
                    <a:pt x="160" y="32"/>
                  </a:lnTo>
                  <a:lnTo>
                    <a:pt x="136" y="32"/>
                  </a:lnTo>
                  <a:lnTo>
                    <a:pt x="120" y="32"/>
                  </a:lnTo>
                  <a:lnTo>
                    <a:pt x="88" y="16"/>
                  </a:lnTo>
                  <a:lnTo>
                    <a:pt x="48" y="8"/>
                  </a:lnTo>
                  <a:lnTo>
                    <a:pt x="48" y="32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40" y="40"/>
                  </a:lnTo>
                  <a:lnTo>
                    <a:pt x="32" y="56"/>
                  </a:lnTo>
                  <a:lnTo>
                    <a:pt x="48" y="64"/>
                  </a:lnTo>
                  <a:lnTo>
                    <a:pt x="24" y="64"/>
                  </a:lnTo>
                  <a:lnTo>
                    <a:pt x="32" y="80"/>
                  </a:lnTo>
                  <a:lnTo>
                    <a:pt x="16" y="88"/>
                  </a:lnTo>
                  <a:lnTo>
                    <a:pt x="16" y="96"/>
                  </a:lnTo>
                  <a:lnTo>
                    <a:pt x="0" y="96"/>
                  </a:lnTo>
                  <a:lnTo>
                    <a:pt x="0" y="112"/>
                  </a:lnTo>
                  <a:lnTo>
                    <a:pt x="16" y="120"/>
                  </a:lnTo>
                  <a:lnTo>
                    <a:pt x="32" y="112"/>
                  </a:lnTo>
                  <a:lnTo>
                    <a:pt x="56" y="120"/>
                  </a:lnTo>
                  <a:lnTo>
                    <a:pt x="72" y="112"/>
                  </a:lnTo>
                  <a:lnTo>
                    <a:pt x="104" y="112"/>
                  </a:lnTo>
                  <a:lnTo>
                    <a:pt x="120" y="120"/>
                  </a:lnTo>
                  <a:lnTo>
                    <a:pt x="128" y="120"/>
                  </a:lnTo>
                  <a:lnTo>
                    <a:pt x="136" y="104"/>
                  </a:lnTo>
                  <a:lnTo>
                    <a:pt x="160" y="120"/>
                  </a:lnTo>
                  <a:lnTo>
                    <a:pt x="176" y="128"/>
                  </a:lnTo>
                  <a:lnTo>
                    <a:pt x="184" y="112"/>
                  </a:lnTo>
                  <a:lnTo>
                    <a:pt x="200" y="120"/>
                  </a:lnTo>
                  <a:lnTo>
                    <a:pt x="224" y="120"/>
                  </a:lnTo>
                  <a:lnTo>
                    <a:pt x="216" y="128"/>
                  </a:lnTo>
                  <a:lnTo>
                    <a:pt x="200" y="136"/>
                  </a:lnTo>
                  <a:lnTo>
                    <a:pt x="192" y="136"/>
                  </a:lnTo>
                  <a:lnTo>
                    <a:pt x="176" y="136"/>
                  </a:lnTo>
                  <a:lnTo>
                    <a:pt x="160" y="144"/>
                  </a:lnTo>
                  <a:lnTo>
                    <a:pt x="152" y="128"/>
                  </a:lnTo>
                  <a:lnTo>
                    <a:pt x="128" y="128"/>
                  </a:lnTo>
                  <a:lnTo>
                    <a:pt x="112" y="136"/>
                  </a:lnTo>
                  <a:lnTo>
                    <a:pt x="96" y="128"/>
                  </a:lnTo>
                  <a:lnTo>
                    <a:pt x="64" y="128"/>
                  </a:lnTo>
                  <a:lnTo>
                    <a:pt x="48" y="136"/>
                  </a:lnTo>
                  <a:lnTo>
                    <a:pt x="24" y="128"/>
                  </a:lnTo>
                  <a:lnTo>
                    <a:pt x="16" y="136"/>
                  </a:lnTo>
                  <a:lnTo>
                    <a:pt x="8" y="152"/>
                  </a:lnTo>
                  <a:lnTo>
                    <a:pt x="32" y="160"/>
                  </a:lnTo>
                  <a:lnTo>
                    <a:pt x="56" y="152"/>
                  </a:lnTo>
                  <a:lnTo>
                    <a:pt x="48" y="160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4" name="Freeform 105"/>
            <p:cNvSpPr>
              <a:spLocks/>
            </p:cNvSpPr>
            <p:nvPr/>
          </p:nvSpPr>
          <p:spPr bwMode="auto">
            <a:xfrm>
              <a:off x="3231428" y="4452632"/>
              <a:ext cx="366422" cy="370435"/>
            </a:xfrm>
            <a:custGeom>
              <a:avLst/>
              <a:gdLst/>
              <a:ahLst/>
              <a:cxnLst>
                <a:cxn ang="0">
                  <a:pos x="80" y="216"/>
                </a:cxn>
                <a:cxn ang="0">
                  <a:pos x="104" y="184"/>
                </a:cxn>
                <a:cxn ang="0">
                  <a:pos x="160" y="168"/>
                </a:cxn>
                <a:cxn ang="0">
                  <a:pos x="200" y="144"/>
                </a:cxn>
                <a:cxn ang="0">
                  <a:pos x="208" y="80"/>
                </a:cxn>
                <a:cxn ang="0">
                  <a:pos x="152" y="40"/>
                </a:cxn>
                <a:cxn ang="0">
                  <a:pos x="136" y="24"/>
                </a:cxn>
                <a:cxn ang="0">
                  <a:pos x="120" y="0"/>
                </a:cxn>
                <a:cxn ang="0">
                  <a:pos x="80" y="0"/>
                </a:cxn>
                <a:cxn ang="0">
                  <a:pos x="32" y="24"/>
                </a:cxn>
                <a:cxn ang="0">
                  <a:pos x="32" y="40"/>
                </a:cxn>
                <a:cxn ang="0">
                  <a:pos x="0" y="16"/>
                </a:cxn>
                <a:cxn ang="0">
                  <a:pos x="16" y="48"/>
                </a:cxn>
                <a:cxn ang="0">
                  <a:pos x="32" y="56"/>
                </a:cxn>
                <a:cxn ang="0">
                  <a:pos x="32" y="72"/>
                </a:cxn>
                <a:cxn ang="0">
                  <a:pos x="0" y="88"/>
                </a:cxn>
                <a:cxn ang="0">
                  <a:pos x="24" y="96"/>
                </a:cxn>
                <a:cxn ang="0">
                  <a:pos x="32" y="120"/>
                </a:cxn>
                <a:cxn ang="0">
                  <a:pos x="48" y="88"/>
                </a:cxn>
                <a:cxn ang="0">
                  <a:pos x="40" y="120"/>
                </a:cxn>
                <a:cxn ang="0">
                  <a:pos x="48" y="136"/>
                </a:cxn>
                <a:cxn ang="0">
                  <a:pos x="64" y="120"/>
                </a:cxn>
                <a:cxn ang="0">
                  <a:pos x="96" y="88"/>
                </a:cxn>
                <a:cxn ang="0">
                  <a:pos x="152" y="72"/>
                </a:cxn>
                <a:cxn ang="0">
                  <a:pos x="152" y="88"/>
                </a:cxn>
                <a:cxn ang="0">
                  <a:pos x="144" y="112"/>
                </a:cxn>
                <a:cxn ang="0">
                  <a:pos x="120" y="144"/>
                </a:cxn>
                <a:cxn ang="0">
                  <a:pos x="120" y="96"/>
                </a:cxn>
                <a:cxn ang="0">
                  <a:pos x="88" y="120"/>
                </a:cxn>
                <a:cxn ang="0">
                  <a:pos x="88" y="136"/>
                </a:cxn>
                <a:cxn ang="0">
                  <a:pos x="56" y="152"/>
                </a:cxn>
                <a:cxn ang="0">
                  <a:pos x="40" y="176"/>
                </a:cxn>
                <a:cxn ang="0">
                  <a:pos x="72" y="184"/>
                </a:cxn>
                <a:cxn ang="0">
                  <a:pos x="88" y="184"/>
                </a:cxn>
                <a:cxn ang="0">
                  <a:pos x="48" y="216"/>
                </a:cxn>
              </a:cxnLst>
              <a:rect l="0" t="0" r="r" b="b"/>
              <a:pathLst>
                <a:path w="209" h="217">
                  <a:moveTo>
                    <a:pt x="48" y="216"/>
                  </a:moveTo>
                  <a:lnTo>
                    <a:pt x="80" y="216"/>
                  </a:lnTo>
                  <a:lnTo>
                    <a:pt x="88" y="184"/>
                  </a:lnTo>
                  <a:lnTo>
                    <a:pt x="104" y="184"/>
                  </a:lnTo>
                  <a:lnTo>
                    <a:pt x="120" y="216"/>
                  </a:lnTo>
                  <a:lnTo>
                    <a:pt x="160" y="168"/>
                  </a:lnTo>
                  <a:lnTo>
                    <a:pt x="176" y="152"/>
                  </a:lnTo>
                  <a:lnTo>
                    <a:pt x="200" y="144"/>
                  </a:lnTo>
                  <a:lnTo>
                    <a:pt x="208" y="112"/>
                  </a:lnTo>
                  <a:lnTo>
                    <a:pt x="208" y="80"/>
                  </a:lnTo>
                  <a:lnTo>
                    <a:pt x="192" y="56"/>
                  </a:lnTo>
                  <a:lnTo>
                    <a:pt x="152" y="40"/>
                  </a:lnTo>
                  <a:lnTo>
                    <a:pt x="152" y="16"/>
                  </a:lnTo>
                  <a:lnTo>
                    <a:pt x="136" y="24"/>
                  </a:lnTo>
                  <a:lnTo>
                    <a:pt x="136" y="8"/>
                  </a:lnTo>
                  <a:lnTo>
                    <a:pt x="120" y="0"/>
                  </a:lnTo>
                  <a:lnTo>
                    <a:pt x="104" y="16"/>
                  </a:lnTo>
                  <a:lnTo>
                    <a:pt x="80" y="0"/>
                  </a:lnTo>
                  <a:lnTo>
                    <a:pt x="48" y="16"/>
                  </a:lnTo>
                  <a:lnTo>
                    <a:pt x="32" y="24"/>
                  </a:lnTo>
                  <a:lnTo>
                    <a:pt x="40" y="40"/>
                  </a:lnTo>
                  <a:lnTo>
                    <a:pt x="32" y="40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16" y="40"/>
                  </a:lnTo>
                  <a:lnTo>
                    <a:pt x="16" y="48"/>
                  </a:lnTo>
                  <a:lnTo>
                    <a:pt x="24" y="64"/>
                  </a:lnTo>
                  <a:lnTo>
                    <a:pt x="32" y="56"/>
                  </a:lnTo>
                  <a:lnTo>
                    <a:pt x="32" y="64"/>
                  </a:lnTo>
                  <a:lnTo>
                    <a:pt x="32" y="72"/>
                  </a:lnTo>
                  <a:lnTo>
                    <a:pt x="16" y="72"/>
                  </a:lnTo>
                  <a:lnTo>
                    <a:pt x="0" y="88"/>
                  </a:lnTo>
                  <a:lnTo>
                    <a:pt x="0" y="96"/>
                  </a:lnTo>
                  <a:lnTo>
                    <a:pt x="24" y="96"/>
                  </a:lnTo>
                  <a:lnTo>
                    <a:pt x="16" y="112"/>
                  </a:lnTo>
                  <a:lnTo>
                    <a:pt x="32" y="120"/>
                  </a:lnTo>
                  <a:lnTo>
                    <a:pt x="32" y="96"/>
                  </a:lnTo>
                  <a:lnTo>
                    <a:pt x="48" y="88"/>
                  </a:lnTo>
                  <a:lnTo>
                    <a:pt x="56" y="104"/>
                  </a:lnTo>
                  <a:lnTo>
                    <a:pt x="40" y="120"/>
                  </a:lnTo>
                  <a:lnTo>
                    <a:pt x="48" y="128"/>
                  </a:lnTo>
                  <a:lnTo>
                    <a:pt x="48" y="136"/>
                  </a:lnTo>
                  <a:lnTo>
                    <a:pt x="56" y="144"/>
                  </a:lnTo>
                  <a:lnTo>
                    <a:pt x="64" y="120"/>
                  </a:lnTo>
                  <a:lnTo>
                    <a:pt x="88" y="104"/>
                  </a:lnTo>
                  <a:lnTo>
                    <a:pt x="96" y="88"/>
                  </a:lnTo>
                  <a:lnTo>
                    <a:pt x="120" y="88"/>
                  </a:lnTo>
                  <a:lnTo>
                    <a:pt x="152" y="72"/>
                  </a:lnTo>
                  <a:lnTo>
                    <a:pt x="160" y="88"/>
                  </a:lnTo>
                  <a:lnTo>
                    <a:pt x="152" y="88"/>
                  </a:lnTo>
                  <a:lnTo>
                    <a:pt x="136" y="96"/>
                  </a:lnTo>
                  <a:lnTo>
                    <a:pt x="144" y="112"/>
                  </a:lnTo>
                  <a:lnTo>
                    <a:pt x="120" y="120"/>
                  </a:lnTo>
                  <a:lnTo>
                    <a:pt x="120" y="144"/>
                  </a:lnTo>
                  <a:lnTo>
                    <a:pt x="112" y="144"/>
                  </a:lnTo>
                  <a:lnTo>
                    <a:pt x="120" y="96"/>
                  </a:lnTo>
                  <a:lnTo>
                    <a:pt x="96" y="104"/>
                  </a:lnTo>
                  <a:lnTo>
                    <a:pt x="88" y="120"/>
                  </a:lnTo>
                  <a:lnTo>
                    <a:pt x="80" y="128"/>
                  </a:lnTo>
                  <a:lnTo>
                    <a:pt x="88" y="136"/>
                  </a:lnTo>
                  <a:lnTo>
                    <a:pt x="72" y="144"/>
                  </a:lnTo>
                  <a:lnTo>
                    <a:pt x="56" y="152"/>
                  </a:lnTo>
                  <a:lnTo>
                    <a:pt x="48" y="152"/>
                  </a:lnTo>
                  <a:lnTo>
                    <a:pt x="40" y="176"/>
                  </a:lnTo>
                  <a:lnTo>
                    <a:pt x="48" y="184"/>
                  </a:lnTo>
                  <a:lnTo>
                    <a:pt x="72" y="184"/>
                  </a:lnTo>
                  <a:lnTo>
                    <a:pt x="88" y="176"/>
                  </a:lnTo>
                  <a:lnTo>
                    <a:pt x="88" y="184"/>
                  </a:lnTo>
                  <a:lnTo>
                    <a:pt x="56" y="200"/>
                  </a:lnTo>
                  <a:lnTo>
                    <a:pt x="48" y="216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5" name="Freeform 106"/>
            <p:cNvSpPr>
              <a:spLocks/>
            </p:cNvSpPr>
            <p:nvPr/>
          </p:nvSpPr>
          <p:spPr bwMode="auto">
            <a:xfrm>
              <a:off x="3568300" y="4466425"/>
              <a:ext cx="395972" cy="451221"/>
            </a:xfrm>
            <a:custGeom>
              <a:avLst/>
              <a:gdLst/>
              <a:ahLst/>
              <a:cxnLst>
                <a:cxn ang="0">
                  <a:pos x="8" y="136"/>
                </a:cxn>
                <a:cxn ang="0">
                  <a:pos x="24" y="144"/>
                </a:cxn>
                <a:cxn ang="0">
                  <a:pos x="64" y="136"/>
                </a:cxn>
                <a:cxn ang="0">
                  <a:pos x="80" y="144"/>
                </a:cxn>
                <a:cxn ang="0">
                  <a:pos x="96" y="144"/>
                </a:cxn>
                <a:cxn ang="0">
                  <a:pos x="120" y="176"/>
                </a:cxn>
                <a:cxn ang="0">
                  <a:pos x="128" y="208"/>
                </a:cxn>
                <a:cxn ang="0">
                  <a:pos x="136" y="216"/>
                </a:cxn>
                <a:cxn ang="0">
                  <a:pos x="136" y="248"/>
                </a:cxn>
                <a:cxn ang="0">
                  <a:pos x="168" y="264"/>
                </a:cxn>
                <a:cxn ang="0">
                  <a:pos x="184" y="256"/>
                </a:cxn>
                <a:cxn ang="0">
                  <a:pos x="168" y="240"/>
                </a:cxn>
                <a:cxn ang="0">
                  <a:pos x="184" y="232"/>
                </a:cxn>
                <a:cxn ang="0">
                  <a:pos x="176" y="216"/>
                </a:cxn>
                <a:cxn ang="0">
                  <a:pos x="208" y="208"/>
                </a:cxn>
                <a:cxn ang="0">
                  <a:pos x="224" y="192"/>
                </a:cxn>
                <a:cxn ang="0">
                  <a:pos x="224" y="160"/>
                </a:cxn>
                <a:cxn ang="0">
                  <a:pos x="224" y="144"/>
                </a:cxn>
                <a:cxn ang="0">
                  <a:pos x="208" y="128"/>
                </a:cxn>
                <a:cxn ang="0">
                  <a:pos x="208" y="88"/>
                </a:cxn>
                <a:cxn ang="0">
                  <a:pos x="184" y="64"/>
                </a:cxn>
                <a:cxn ang="0">
                  <a:pos x="176" y="80"/>
                </a:cxn>
                <a:cxn ang="0">
                  <a:pos x="176" y="96"/>
                </a:cxn>
                <a:cxn ang="0">
                  <a:pos x="168" y="104"/>
                </a:cxn>
                <a:cxn ang="0">
                  <a:pos x="144" y="64"/>
                </a:cxn>
                <a:cxn ang="0">
                  <a:pos x="144" y="48"/>
                </a:cxn>
                <a:cxn ang="0">
                  <a:pos x="104" y="16"/>
                </a:cxn>
                <a:cxn ang="0">
                  <a:pos x="72" y="0"/>
                </a:cxn>
                <a:cxn ang="0">
                  <a:pos x="48" y="8"/>
                </a:cxn>
                <a:cxn ang="0">
                  <a:pos x="40" y="8"/>
                </a:cxn>
                <a:cxn ang="0">
                  <a:pos x="40" y="32"/>
                </a:cxn>
                <a:cxn ang="0">
                  <a:pos x="8" y="32"/>
                </a:cxn>
                <a:cxn ang="0">
                  <a:pos x="0" y="48"/>
                </a:cxn>
                <a:cxn ang="0">
                  <a:pos x="16" y="72"/>
                </a:cxn>
                <a:cxn ang="0">
                  <a:pos x="8" y="104"/>
                </a:cxn>
                <a:cxn ang="0">
                  <a:pos x="8" y="136"/>
                </a:cxn>
              </a:cxnLst>
              <a:rect l="0" t="0" r="r" b="b"/>
              <a:pathLst>
                <a:path w="225" h="265">
                  <a:moveTo>
                    <a:pt x="8" y="136"/>
                  </a:moveTo>
                  <a:lnTo>
                    <a:pt x="24" y="144"/>
                  </a:lnTo>
                  <a:lnTo>
                    <a:pt x="64" y="136"/>
                  </a:lnTo>
                  <a:lnTo>
                    <a:pt x="80" y="144"/>
                  </a:lnTo>
                  <a:lnTo>
                    <a:pt x="96" y="144"/>
                  </a:lnTo>
                  <a:lnTo>
                    <a:pt x="120" y="176"/>
                  </a:lnTo>
                  <a:lnTo>
                    <a:pt x="128" y="208"/>
                  </a:lnTo>
                  <a:lnTo>
                    <a:pt x="136" y="216"/>
                  </a:lnTo>
                  <a:lnTo>
                    <a:pt x="136" y="248"/>
                  </a:lnTo>
                  <a:lnTo>
                    <a:pt x="168" y="264"/>
                  </a:lnTo>
                  <a:lnTo>
                    <a:pt x="184" y="256"/>
                  </a:lnTo>
                  <a:lnTo>
                    <a:pt x="168" y="240"/>
                  </a:lnTo>
                  <a:lnTo>
                    <a:pt x="184" y="232"/>
                  </a:lnTo>
                  <a:lnTo>
                    <a:pt x="176" y="216"/>
                  </a:lnTo>
                  <a:lnTo>
                    <a:pt x="208" y="208"/>
                  </a:lnTo>
                  <a:lnTo>
                    <a:pt x="224" y="192"/>
                  </a:lnTo>
                  <a:lnTo>
                    <a:pt x="224" y="160"/>
                  </a:lnTo>
                  <a:lnTo>
                    <a:pt x="224" y="144"/>
                  </a:lnTo>
                  <a:lnTo>
                    <a:pt x="208" y="128"/>
                  </a:lnTo>
                  <a:lnTo>
                    <a:pt x="208" y="88"/>
                  </a:lnTo>
                  <a:lnTo>
                    <a:pt x="184" y="64"/>
                  </a:lnTo>
                  <a:lnTo>
                    <a:pt x="176" y="80"/>
                  </a:lnTo>
                  <a:lnTo>
                    <a:pt x="176" y="96"/>
                  </a:lnTo>
                  <a:lnTo>
                    <a:pt x="168" y="104"/>
                  </a:lnTo>
                  <a:lnTo>
                    <a:pt x="144" y="64"/>
                  </a:lnTo>
                  <a:lnTo>
                    <a:pt x="144" y="48"/>
                  </a:lnTo>
                  <a:lnTo>
                    <a:pt x="104" y="16"/>
                  </a:lnTo>
                  <a:lnTo>
                    <a:pt x="72" y="0"/>
                  </a:lnTo>
                  <a:lnTo>
                    <a:pt x="48" y="8"/>
                  </a:lnTo>
                  <a:lnTo>
                    <a:pt x="40" y="8"/>
                  </a:lnTo>
                  <a:lnTo>
                    <a:pt x="40" y="32"/>
                  </a:lnTo>
                  <a:lnTo>
                    <a:pt x="8" y="32"/>
                  </a:lnTo>
                  <a:lnTo>
                    <a:pt x="0" y="48"/>
                  </a:lnTo>
                  <a:lnTo>
                    <a:pt x="16" y="72"/>
                  </a:lnTo>
                  <a:lnTo>
                    <a:pt x="8" y="104"/>
                  </a:lnTo>
                  <a:lnTo>
                    <a:pt x="8" y="136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6" name="Freeform 107"/>
            <p:cNvSpPr>
              <a:spLocks/>
            </p:cNvSpPr>
            <p:nvPr/>
          </p:nvSpPr>
          <p:spPr bwMode="auto">
            <a:xfrm>
              <a:off x="3245218" y="4712725"/>
              <a:ext cx="45310" cy="68964"/>
            </a:xfrm>
            <a:custGeom>
              <a:avLst/>
              <a:gdLst/>
              <a:ahLst/>
              <a:cxnLst>
                <a:cxn ang="0">
                  <a:pos x="8" y="40"/>
                </a:cxn>
                <a:cxn ang="0">
                  <a:pos x="24" y="32"/>
                </a:cxn>
                <a:cxn ang="0">
                  <a:pos x="24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8" y="40"/>
                </a:cxn>
              </a:cxnLst>
              <a:rect l="0" t="0" r="r" b="b"/>
              <a:pathLst>
                <a:path w="25" h="41">
                  <a:moveTo>
                    <a:pt x="8" y="40"/>
                  </a:moveTo>
                  <a:lnTo>
                    <a:pt x="24" y="32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8"/>
                  </a:lnTo>
                  <a:lnTo>
                    <a:pt x="8" y="4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7" name="Freeform 108"/>
            <p:cNvSpPr>
              <a:spLocks/>
            </p:cNvSpPr>
            <p:nvPr/>
          </p:nvSpPr>
          <p:spPr bwMode="auto">
            <a:xfrm>
              <a:off x="3203848" y="4712725"/>
              <a:ext cx="29550" cy="96549"/>
            </a:xfrm>
            <a:custGeom>
              <a:avLst/>
              <a:gdLst/>
              <a:ahLst/>
              <a:cxnLst>
                <a:cxn ang="0">
                  <a:pos x="8" y="56"/>
                </a:cxn>
                <a:cxn ang="0">
                  <a:pos x="16" y="32"/>
                </a:cxn>
                <a:cxn ang="0">
                  <a:pos x="16" y="16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8" y="24"/>
                </a:cxn>
                <a:cxn ang="0">
                  <a:pos x="8" y="56"/>
                </a:cxn>
              </a:cxnLst>
              <a:rect l="0" t="0" r="r" b="b"/>
              <a:pathLst>
                <a:path w="17" h="57">
                  <a:moveTo>
                    <a:pt x="8" y="56"/>
                  </a:moveTo>
                  <a:lnTo>
                    <a:pt x="16" y="32"/>
                  </a:lnTo>
                  <a:lnTo>
                    <a:pt x="16" y="16"/>
                  </a:lnTo>
                  <a:lnTo>
                    <a:pt x="8" y="0"/>
                  </a:lnTo>
                  <a:lnTo>
                    <a:pt x="0" y="16"/>
                  </a:lnTo>
                  <a:lnTo>
                    <a:pt x="8" y="24"/>
                  </a:lnTo>
                  <a:lnTo>
                    <a:pt x="8" y="5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8" name="Freeform 109"/>
            <p:cNvSpPr>
              <a:spLocks/>
            </p:cNvSpPr>
            <p:nvPr/>
          </p:nvSpPr>
          <p:spPr bwMode="auto">
            <a:xfrm>
              <a:off x="3231428" y="4793511"/>
              <a:ext cx="59100" cy="57142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4" y="24"/>
                </a:cxn>
                <a:cxn ang="0">
                  <a:pos x="32" y="32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33" h="33">
                  <a:moveTo>
                    <a:pt x="0" y="16"/>
                  </a:moveTo>
                  <a:lnTo>
                    <a:pt x="24" y="24"/>
                  </a:lnTo>
                  <a:lnTo>
                    <a:pt x="32" y="32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69" name="Freeform 110"/>
            <p:cNvSpPr>
              <a:spLocks/>
            </p:cNvSpPr>
            <p:nvPr/>
          </p:nvSpPr>
          <p:spPr bwMode="auto">
            <a:xfrm>
              <a:off x="3231428" y="4821097"/>
              <a:ext cx="29550" cy="70934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16" y="32"/>
                </a:cxn>
                <a:cxn ang="0">
                  <a:pos x="16" y="8"/>
                </a:cxn>
                <a:cxn ang="0">
                  <a:pos x="0" y="0"/>
                </a:cxn>
                <a:cxn ang="0">
                  <a:pos x="0" y="40"/>
                </a:cxn>
              </a:cxnLst>
              <a:rect l="0" t="0" r="r" b="b"/>
              <a:pathLst>
                <a:path w="17" h="41">
                  <a:moveTo>
                    <a:pt x="0" y="40"/>
                  </a:moveTo>
                  <a:lnTo>
                    <a:pt x="16" y="32"/>
                  </a:lnTo>
                  <a:lnTo>
                    <a:pt x="16" y="8"/>
                  </a:lnTo>
                  <a:lnTo>
                    <a:pt x="0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0" name="Freeform 111"/>
            <p:cNvSpPr>
              <a:spLocks/>
            </p:cNvSpPr>
            <p:nvPr/>
          </p:nvSpPr>
          <p:spPr bwMode="auto">
            <a:xfrm>
              <a:off x="3288558" y="4862475"/>
              <a:ext cx="29550" cy="295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1" name="Freeform 112"/>
            <p:cNvSpPr>
              <a:spLocks/>
            </p:cNvSpPr>
            <p:nvPr/>
          </p:nvSpPr>
          <p:spPr bwMode="auto">
            <a:xfrm>
              <a:off x="3231428" y="4765926"/>
              <a:ext cx="283681" cy="398020"/>
            </a:xfrm>
            <a:custGeom>
              <a:avLst/>
              <a:gdLst/>
              <a:ahLst/>
              <a:cxnLst>
                <a:cxn ang="0">
                  <a:pos x="56" y="32"/>
                </a:cxn>
                <a:cxn ang="0">
                  <a:pos x="48" y="48"/>
                </a:cxn>
                <a:cxn ang="0">
                  <a:pos x="56" y="56"/>
                </a:cxn>
                <a:cxn ang="0">
                  <a:pos x="48" y="72"/>
                </a:cxn>
                <a:cxn ang="0">
                  <a:pos x="72" y="80"/>
                </a:cxn>
                <a:cxn ang="0">
                  <a:pos x="88" y="72"/>
                </a:cxn>
                <a:cxn ang="0">
                  <a:pos x="88" y="88"/>
                </a:cxn>
                <a:cxn ang="0">
                  <a:pos x="56" y="96"/>
                </a:cxn>
                <a:cxn ang="0">
                  <a:pos x="40" y="104"/>
                </a:cxn>
                <a:cxn ang="0">
                  <a:pos x="48" y="120"/>
                </a:cxn>
                <a:cxn ang="0">
                  <a:pos x="56" y="128"/>
                </a:cxn>
                <a:cxn ang="0">
                  <a:pos x="48" y="128"/>
                </a:cxn>
                <a:cxn ang="0">
                  <a:pos x="56" y="144"/>
                </a:cxn>
                <a:cxn ang="0">
                  <a:pos x="56" y="152"/>
                </a:cxn>
                <a:cxn ang="0">
                  <a:pos x="32" y="128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0" y="120"/>
                </a:cxn>
                <a:cxn ang="0">
                  <a:pos x="0" y="160"/>
                </a:cxn>
                <a:cxn ang="0">
                  <a:pos x="8" y="168"/>
                </a:cxn>
                <a:cxn ang="0">
                  <a:pos x="8" y="184"/>
                </a:cxn>
                <a:cxn ang="0">
                  <a:pos x="32" y="208"/>
                </a:cxn>
                <a:cxn ang="0">
                  <a:pos x="48" y="224"/>
                </a:cxn>
                <a:cxn ang="0">
                  <a:pos x="56" y="224"/>
                </a:cxn>
                <a:cxn ang="0">
                  <a:pos x="72" y="232"/>
                </a:cxn>
                <a:cxn ang="0">
                  <a:pos x="88" y="224"/>
                </a:cxn>
                <a:cxn ang="0">
                  <a:pos x="88" y="192"/>
                </a:cxn>
                <a:cxn ang="0">
                  <a:pos x="80" y="192"/>
                </a:cxn>
                <a:cxn ang="0">
                  <a:pos x="88" y="176"/>
                </a:cxn>
                <a:cxn ang="0">
                  <a:pos x="88" y="160"/>
                </a:cxn>
                <a:cxn ang="0">
                  <a:pos x="104" y="128"/>
                </a:cxn>
                <a:cxn ang="0">
                  <a:pos x="112" y="120"/>
                </a:cxn>
                <a:cxn ang="0">
                  <a:pos x="120" y="104"/>
                </a:cxn>
                <a:cxn ang="0">
                  <a:pos x="112" y="88"/>
                </a:cxn>
                <a:cxn ang="0">
                  <a:pos x="120" y="72"/>
                </a:cxn>
                <a:cxn ang="0">
                  <a:pos x="144" y="56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36" y="0"/>
                </a:cxn>
                <a:cxn ang="0">
                  <a:pos x="120" y="24"/>
                </a:cxn>
                <a:cxn ang="0">
                  <a:pos x="104" y="0"/>
                </a:cxn>
                <a:cxn ang="0">
                  <a:pos x="88" y="0"/>
                </a:cxn>
                <a:cxn ang="0">
                  <a:pos x="80" y="32"/>
                </a:cxn>
                <a:cxn ang="0">
                  <a:pos x="56" y="32"/>
                </a:cxn>
              </a:cxnLst>
              <a:rect l="0" t="0" r="r" b="b"/>
              <a:pathLst>
                <a:path w="161" h="233">
                  <a:moveTo>
                    <a:pt x="56" y="32"/>
                  </a:moveTo>
                  <a:lnTo>
                    <a:pt x="48" y="48"/>
                  </a:lnTo>
                  <a:lnTo>
                    <a:pt x="56" y="56"/>
                  </a:lnTo>
                  <a:lnTo>
                    <a:pt x="48" y="72"/>
                  </a:lnTo>
                  <a:lnTo>
                    <a:pt x="72" y="80"/>
                  </a:lnTo>
                  <a:lnTo>
                    <a:pt x="88" y="72"/>
                  </a:lnTo>
                  <a:lnTo>
                    <a:pt x="88" y="88"/>
                  </a:lnTo>
                  <a:lnTo>
                    <a:pt x="56" y="96"/>
                  </a:lnTo>
                  <a:lnTo>
                    <a:pt x="40" y="104"/>
                  </a:lnTo>
                  <a:lnTo>
                    <a:pt x="48" y="120"/>
                  </a:lnTo>
                  <a:lnTo>
                    <a:pt x="56" y="128"/>
                  </a:lnTo>
                  <a:lnTo>
                    <a:pt x="48" y="128"/>
                  </a:lnTo>
                  <a:lnTo>
                    <a:pt x="56" y="144"/>
                  </a:lnTo>
                  <a:lnTo>
                    <a:pt x="56" y="152"/>
                  </a:lnTo>
                  <a:lnTo>
                    <a:pt x="32" y="128"/>
                  </a:lnTo>
                  <a:lnTo>
                    <a:pt x="24" y="13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60"/>
                  </a:lnTo>
                  <a:lnTo>
                    <a:pt x="8" y="168"/>
                  </a:lnTo>
                  <a:lnTo>
                    <a:pt x="8" y="184"/>
                  </a:lnTo>
                  <a:lnTo>
                    <a:pt x="32" y="208"/>
                  </a:lnTo>
                  <a:lnTo>
                    <a:pt x="48" y="224"/>
                  </a:lnTo>
                  <a:lnTo>
                    <a:pt x="56" y="224"/>
                  </a:lnTo>
                  <a:lnTo>
                    <a:pt x="72" y="232"/>
                  </a:lnTo>
                  <a:lnTo>
                    <a:pt x="88" y="224"/>
                  </a:lnTo>
                  <a:lnTo>
                    <a:pt x="88" y="192"/>
                  </a:lnTo>
                  <a:lnTo>
                    <a:pt x="80" y="192"/>
                  </a:lnTo>
                  <a:lnTo>
                    <a:pt x="88" y="176"/>
                  </a:lnTo>
                  <a:lnTo>
                    <a:pt x="88" y="160"/>
                  </a:lnTo>
                  <a:lnTo>
                    <a:pt x="104" y="128"/>
                  </a:lnTo>
                  <a:lnTo>
                    <a:pt x="112" y="120"/>
                  </a:lnTo>
                  <a:lnTo>
                    <a:pt x="120" y="104"/>
                  </a:lnTo>
                  <a:lnTo>
                    <a:pt x="112" y="88"/>
                  </a:lnTo>
                  <a:lnTo>
                    <a:pt x="120" y="72"/>
                  </a:lnTo>
                  <a:lnTo>
                    <a:pt x="144" y="56"/>
                  </a:lnTo>
                  <a:lnTo>
                    <a:pt x="152" y="40"/>
                  </a:lnTo>
                  <a:lnTo>
                    <a:pt x="160" y="32"/>
                  </a:lnTo>
                  <a:lnTo>
                    <a:pt x="136" y="0"/>
                  </a:lnTo>
                  <a:lnTo>
                    <a:pt x="120" y="24"/>
                  </a:lnTo>
                  <a:lnTo>
                    <a:pt x="104" y="0"/>
                  </a:lnTo>
                  <a:lnTo>
                    <a:pt x="88" y="0"/>
                  </a:lnTo>
                  <a:lnTo>
                    <a:pt x="80" y="32"/>
                  </a:lnTo>
                  <a:lnTo>
                    <a:pt x="56" y="32"/>
                  </a:lnTo>
                  <a:close/>
                </a:path>
              </a:pathLst>
            </a:custGeom>
            <a:solidFill>
              <a:schemeClr val="accent5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2" name="Freeform 113"/>
            <p:cNvSpPr>
              <a:spLocks/>
            </p:cNvSpPr>
            <p:nvPr/>
          </p:nvSpPr>
          <p:spPr bwMode="auto">
            <a:xfrm>
              <a:off x="3428429" y="4807304"/>
              <a:ext cx="169421" cy="248270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24" y="104"/>
                </a:cxn>
                <a:cxn ang="0">
                  <a:pos x="16" y="128"/>
                </a:cxn>
                <a:cxn ang="0">
                  <a:pos x="16" y="136"/>
                </a:cxn>
                <a:cxn ang="0">
                  <a:pos x="24" y="144"/>
                </a:cxn>
                <a:cxn ang="0">
                  <a:pos x="40" y="136"/>
                </a:cxn>
                <a:cxn ang="0">
                  <a:pos x="56" y="136"/>
                </a:cxn>
                <a:cxn ang="0">
                  <a:pos x="56" y="144"/>
                </a:cxn>
                <a:cxn ang="0">
                  <a:pos x="72" y="136"/>
                </a:cxn>
                <a:cxn ang="0">
                  <a:pos x="72" y="120"/>
                </a:cxn>
                <a:cxn ang="0">
                  <a:pos x="96" y="120"/>
                </a:cxn>
                <a:cxn ang="0">
                  <a:pos x="88" y="104"/>
                </a:cxn>
                <a:cxn ang="0">
                  <a:pos x="96" y="88"/>
                </a:cxn>
                <a:cxn ang="0">
                  <a:pos x="80" y="72"/>
                </a:cxn>
                <a:cxn ang="0">
                  <a:pos x="80" y="40"/>
                </a:cxn>
                <a:cxn ang="0">
                  <a:pos x="64" y="16"/>
                </a:cxn>
                <a:cxn ang="0">
                  <a:pos x="48" y="0"/>
                </a:cxn>
                <a:cxn ang="0">
                  <a:pos x="32" y="8"/>
                </a:cxn>
                <a:cxn ang="0">
                  <a:pos x="32" y="24"/>
                </a:cxn>
                <a:cxn ang="0">
                  <a:pos x="0" y="56"/>
                </a:cxn>
                <a:cxn ang="0">
                  <a:pos x="8" y="80"/>
                </a:cxn>
                <a:cxn ang="0">
                  <a:pos x="0" y="96"/>
                </a:cxn>
              </a:cxnLst>
              <a:rect l="0" t="0" r="r" b="b"/>
              <a:pathLst>
                <a:path w="97" h="145">
                  <a:moveTo>
                    <a:pt x="0" y="96"/>
                  </a:moveTo>
                  <a:lnTo>
                    <a:pt x="24" y="104"/>
                  </a:lnTo>
                  <a:lnTo>
                    <a:pt x="16" y="128"/>
                  </a:lnTo>
                  <a:lnTo>
                    <a:pt x="16" y="136"/>
                  </a:lnTo>
                  <a:lnTo>
                    <a:pt x="24" y="144"/>
                  </a:lnTo>
                  <a:lnTo>
                    <a:pt x="40" y="136"/>
                  </a:lnTo>
                  <a:lnTo>
                    <a:pt x="56" y="136"/>
                  </a:lnTo>
                  <a:lnTo>
                    <a:pt x="56" y="144"/>
                  </a:lnTo>
                  <a:lnTo>
                    <a:pt x="72" y="136"/>
                  </a:lnTo>
                  <a:lnTo>
                    <a:pt x="72" y="120"/>
                  </a:lnTo>
                  <a:lnTo>
                    <a:pt x="96" y="120"/>
                  </a:lnTo>
                  <a:lnTo>
                    <a:pt x="88" y="104"/>
                  </a:lnTo>
                  <a:lnTo>
                    <a:pt x="96" y="88"/>
                  </a:lnTo>
                  <a:lnTo>
                    <a:pt x="80" y="72"/>
                  </a:lnTo>
                  <a:lnTo>
                    <a:pt x="80" y="40"/>
                  </a:lnTo>
                  <a:lnTo>
                    <a:pt x="64" y="16"/>
                  </a:lnTo>
                  <a:lnTo>
                    <a:pt x="48" y="0"/>
                  </a:lnTo>
                  <a:lnTo>
                    <a:pt x="32" y="8"/>
                  </a:lnTo>
                  <a:lnTo>
                    <a:pt x="32" y="24"/>
                  </a:lnTo>
                  <a:lnTo>
                    <a:pt x="0" y="56"/>
                  </a:lnTo>
                  <a:lnTo>
                    <a:pt x="8" y="8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accent5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3" name="Freeform 114"/>
            <p:cNvSpPr>
              <a:spLocks/>
            </p:cNvSpPr>
            <p:nvPr/>
          </p:nvSpPr>
          <p:spPr bwMode="auto">
            <a:xfrm>
              <a:off x="3469799" y="4685139"/>
              <a:ext cx="395972" cy="423635"/>
            </a:xfrm>
            <a:custGeom>
              <a:avLst/>
              <a:gdLst/>
              <a:ahLst/>
              <a:cxnLst>
                <a:cxn ang="0">
                  <a:pos x="64" y="192"/>
                </a:cxn>
                <a:cxn ang="0">
                  <a:pos x="120" y="208"/>
                </a:cxn>
                <a:cxn ang="0">
                  <a:pos x="136" y="216"/>
                </a:cxn>
                <a:cxn ang="0">
                  <a:pos x="136" y="200"/>
                </a:cxn>
                <a:cxn ang="0">
                  <a:pos x="160" y="208"/>
                </a:cxn>
                <a:cxn ang="0">
                  <a:pos x="160" y="216"/>
                </a:cxn>
                <a:cxn ang="0">
                  <a:pos x="168" y="240"/>
                </a:cxn>
                <a:cxn ang="0">
                  <a:pos x="184" y="248"/>
                </a:cxn>
                <a:cxn ang="0">
                  <a:pos x="184" y="232"/>
                </a:cxn>
                <a:cxn ang="0">
                  <a:pos x="184" y="208"/>
                </a:cxn>
                <a:cxn ang="0">
                  <a:pos x="192" y="216"/>
                </a:cxn>
                <a:cxn ang="0">
                  <a:pos x="208" y="208"/>
                </a:cxn>
                <a:cxn ang="0">
                  <a:pos x="224" y="192"/>
                </a:cxn>
                <a:cxn ang="0">
                  <a:pos x="224" y="176"/>
                </a:cxn>
                <a:cxn ang="0">
                  <a:pos x="216" y="168"/>
                </a:cxn>
                <a:cxn ang="0">
                  <a:pos x="224" y="128"/>
                </a:cxn>
                <a:cxn ang="0">
                  <a:pos x="192" y="112"/>
                </a:cxn>
                <a:cxn ang="0">
                  <a:pos x="192" y="80"/>
                </a:cxn>
                <a:cxn ang="0">
                  <a:pos x="184" y="80"/>
                </a:cxn>
                <a:cxn ang="0">
                  <a:pos x="176" y="40"/>
                </a:cxn>
                <a:cxn ang="0">
                  <a:pos x="152" y="16"/>
                </a:cxn>
                <a:cxn ang="0">
                  <a:pos x="136" y="16"/>
                </a:cxn>
                <a:cxn ang="0">
                  <a:pos x="128" y="0"/>
                </a:cxn>
                <a:cxn ang="0">
                  <a:pos x="72" y="16"/>
                </a:cxn>
                <a:cxn ang="0">
                  <a:pos x="64" y="8"/>
                </a:cxn>
                <a:cxn ang="0">
                  <a:pos x="40" y="16"/>
                </a:cxn>
                <a:cxn ang="0">
                  <a:pos x="0" y="48"/>
                </a:cxn>
                <a:cxn ang="0">
                  <a:pos x="56" y="112"/>
                </a:cxn>
                <a:cxn ang="0">
                  <a:pos x="48" y="144"/>
                </a:cxn>
                <a:cxn ang="0">
                  <a:pos x="64" y="160"/>
                </a:cxn>
                <a:cxn ang="0">
                  <a:pos x="56" y="168"/>
                </a:cxn>
                <a:cxn ang="0">
                  <a:pos x="64" y="192"/>
                </a:cxn>
              </a:cxnLst>
              <a:rect l="0" t="0" r="r" b="b"/>
              <a:pathLst>
                <a:path w="225" h="249">
                  <a:moveTo>
                    <a:pt x="64" y="192"/>
                  </a:moveTo>
                  <a:lnTo>
                    <a:pt x="120" y="208"/>
                  </a:lnTo>
                  <a:lnTo>
                    <a:pt x="136" y="216"/>
                  </a:lnTo>
                  <a:lnTo>
                    <a:pt x="136" y="200"/>
                  </a:lnTo>
                  <a:lnTo>
                    <a:pt x="160" y="208"/>
                  </a:lnTo>
                  <a:lnTo>
                    <a:pt x="160" y="216"/>
                  </a:lnTo>
                  <a:lnTo>
                    <a:pt x="168" y="240"/>
                  </a:lnTo>
                  <a:lnTo>
                    <a:pt x="184" y="248"/>
                  </a:lnTo>
                  <a:lnTo>
                    <a:pt x="184" y="232"/>
                  </a:lnTo>
                  <a:lnTo>
                    <a:pt x="184" y="208"/>
                  </a:lnTo>
                  <a:lnTo>
                    <a:pt x="192" y="216"/>
                  </a:lnTo>
                  <a:lnTo>
                    <a:pt x="208" y="208"/>
                  </a:lnTo>
                  <a:lnTo>
                    <a:pt x="224" y="192"/>
                  </a:lnTo>
                  <a:lnTo>
                    <a:pt x="224" y="176"/>
                  </a:lnTo>
                  <a:lnTo>
                    <a:pt x="216" y="168"/>
                  </a:lnTo>
                  <a:lnTo>
                    <a:pt x="224" y="128"/>
                  </a:lnTo>
                  <a:lnTo>
                    <a:pt x="192" y="112"/>
                  </a:lnTo>
                  <a:lnTo>
                    <a:pt x="192" y="80"/>
                  </a:lnTo>
                  <a:lnTo>
                    <a:pt x="184" y="80"/>
                  </a:lnTo>
                  <a:lnTo>
                    <a:pt x="176" y="40"/>
                  </a:lnTo>
                  <a:lnTo>
                    <a:pt x="152" y="16"/>
                  </a:lnTo>
                  <a:lnTo>
                    <a:pt x="136" y="16"/>
                  </a:lnTo>
                  <a:lnTo>
                    <a:pt x="128" y="0"/>
                  </a:lnTo>
                  <a:lnTo>
                    <a:pt x="72" y="16"/>
                  </a:lnTo>
                  <a:lnTo>
                    <a:pt x="64" y="8"/>
                  </a:lnTo>
                  <a:lnTo>
                    <a:pt x="40" y="16"/>
                  </a:lnTo>
                  <a:lnTo>
                    <a:pt x="0" y="48"/>
                  </a:lnTo>
                  <a:lnTo>
                    <a:pt x="56" y="112"/>
                  </a:lnTo>
                  <a:lnTo>
                    <a:pt x="48" y="144"/>
                  </a:lnTo>
                  <a:lnTo>
                    <a:pt x="64" y="160"/>
                  </a:lnTo>
                  <a:lnTo>
                    <a:pt x="56" y="168"/>
                  </a:lnTo>
                  <a:lnTo>
                    <a:pt x="64" y="19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4" name="Freeform 115"/>
            <p:cNvSpPr>
              <a:spLocks/>
            </p:cNvSpPr>
            <p:nvPr/>
          </p:nvSpPr>
          <p:spPr bwMode="auto">
            <a:xfrm>
              <a:off x="3836221" y="4903853"/>
              <a:ext cx="128051" cy="137928"/>
            </a:xfrm>
            <a:custGeom>
              <a:avLst/>
              <a:gdLst/>
              <a:ahLst/>
              <a:cxnLst>
                <a:cxn ang="0">
                  <a:pos x="8" y="72"/>
                </a:cxn>
                <a:cxn ang="0">
                  <a:pos x="16" y="80"/>
                </a:cxn>
                <a:cxn ang="0">
                  <a:pos x="40" y="80"/>
                </a:cxn>
                <a:cxn ang="0">
                  <a:pos x="40" y="64"/>
                </a:cxn>
                <a:cxn ang="0">
                  <a:pos x="64" y="56"/>
                </a:cxn>
                <a:cxn ang="0">
                  <a:pos x="72" y="40"/>
                </a:cxn>
                <a:cxn ang="0">
                  <a:pos x="64" y="16"/>
                </a:cxn>
                <a:cxn ang="0">
                  <a:pos x="48" y="8"/>
                </a:cxn>
                <a:cxn ang="0">
                  <a:pos x="24" y="0"/>
                </a:cxn>
                <a:cxn ang="0">
                  <a:pos x="8" y="8"/>
                </a:cxn>
                <a:cxn ang="0">
                  <a:pos x="0" y="32"/>
                </a:cxn>
                <a:cxn ang="0">
                  <a:pos x="16" y="48"/>
                </a:cxn>
                <a:cxn ang="0">
                  <a:pos x="8" y="72"/>
                </a:cxn>
              </a:cxnLst>
              <a:rect l="0" t="0" r="r" b="b"/>
              <a:pathLst>
                <a:path w="73" h="81">
                  <a:moveTo>
                    <a:pt x="8" y="72"/>
                  </a:moveTo>
                  <a:lnTo>
                    <a:pt x="16" y="80"/>
                  </a:lnTo>
                  <a:lnTo>
                    <a:pt x="40" y="80"/>
                  </a:lnTo>
                  <a:lnTo>
                    <a:pt x="40" y="64"/>
                  </a:lnTo>
                  <a:lnTo>
                    <a:pt x="64" y="56"/>
                  </a:lnTo>
                  <a:lnTo>
                    <a:pt x="72" y="40"/>
                  </a:lnTo>
                  <a:lnTo>
                    <a:pt x="64" y="16"/>
                  </a:lnTo>
                  <a:lnTo>
                    <a:pt x="48" y="8"/>
                  </a:lnTo>
                  <a:lnTo>
                    <a:pt x="24" y="0"/>
                  </a:lnTo>
                  <a:lnTo>
                    <a:pt x="8" y="8"/>
                  </a:lnTo>
                  <a:lnTo>
                    <a:pt x="0" y="32"/>
                  </a:lnTo>
                  <a:lnTo>
                    <a:pt x="16" y="48"/>
                  </a:lnTo>
                  <a:lnTo>
                    <a:pt x="8" y="72"/>
                  </a:lnTo>
                  <a:close/>
                </a:path>
              </a:pathLst>
            </a:custGeom>
            <a:solidFill>
              <a:schemeClr val="accent3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5" name="Freeform 116"/>
            <p:cNvSpPr>
              <a:spLocks/>
            </p:cNvSpPr>
            <p:nvPr/>
          </p:nvSpPr>
          <p:spPr bwMode="auto">
            <a:xfrm>
              <a:off x="3343719" y="4957054"/>
              <a:ext cx="254131" cy="301471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0" y="128"/>
                </a:cxn>
                <a:cxn ang="0">
                  <a:pos x="16" y="128"/>
                </a:cxn>
                <a:cxn ang="0">
                  <a:pos x="32" y="144"/>
                </a:cxn>
                <a:cxn ang="0">
                  <a:pos x="16" y="144"/>
                </a:cxn>
                <a:cxn ang="0">
                  <a:pos x="8" y="160"/>
                </a:cxn>
                <a:cxn ang="0">
                  <a:pos x="24" y="160"/>
                </a:cxn>
                <a:cxn ang="0">
                  <a:pos x="40" y="144"/>
                </a:cxn>
                <a:cxn ang="0">
                  <a:pos x="48" y="152"/>
                </a:cxn>
                <a:cxn ang="0">
                  <a:pos x="40" y="168"/>
                </a:cxn>
                <a:cxn ang="0">
                  <a:pos x="56" y="176"/>
                </a:cxn>
                <a:cxn ang="0">
                  <a:pos x="104" y="176"/>
                </a:cxn>
                <a:cxn ang="0">
                  <a:pos x="120" y="176"/>
                </a:cxn>
                <a:cxn ang="0">
                  <a:pos x="144" y="160"/>
                </a:cxn>
                <a:cxn ang="0">
                  <a:pos x="144" y="152"/>
                </a:cxn>
                <a:cxn ang="0">
                  <a:pos x="144" y="144"/>
                </a:cxn>
                <a:cxn ang="0">
                  <a:pos x="128" y="144"/>
                </a:cxn>
                <a:cxn ang="0">
                  <a:pos x="128" y="112"/>
                </a:cxn>
                <a:cxn ang="0">
                  <a:pos x="104" y="104"/>
                </a:cxn>
                <a:cxn ang="0">
                  <a:pos x="104" y="88"/>
                </a:cxn>
                <a:cxn ang="0">
                  <a:pos x="104" y="80"/>
                </a:cxn>
                <a:cxn ang="0">
                  <a:pos x="112" y="56"/>
                </a:cxn>
                <a:cxn ang="0">
                  <a:pos x="96" y="48"/>
                </a:cxn>
                <a:cxn ang="0">
                  <a:pos x="88" y="48"/>
                </a:cxn>
                <a:cxn ang="0">
                  <a:pos x="72" y="56"/>
                </a:cxn>
                <a:cxn ang="0">
                  <a:pos x="64" y="48"/>
                </a:cxn>
                <a:cxn ang="0">
                  <a:pos x="64" y="32"/>
                </a:cxn>
                <a:cxn ang="0">
                  <a:pos x="72" y="16"/>
                </a:cxn>
                <a:cxn ang="0">
                  <a:pos x="48" y="0"/>
                </a:cxn>
                <a:cxn ang="0">
                  <a:pos x="32" y="16"/>
                </a:cxn>
                <a:cxn ang="0">
                  <a:pos x="24" y="40"/>
                </a:cxn>
                <a:cxn ang="0">
                  <a:pos x="24" y="56"/>
                </a:cxn>
                <a:cxn ang="0">
                  <a:pos x="16" y="72"/>
                </a:cxn>
                <a:cxn ang="0">
                  <a:pos x="24" y="80"/>
                </a:cxn>
                <a:cxn ang="0">
                  <a:pos x="24" y="112"/>
                </a:cxn>
                <a:cxn ang="0">
                  <a:pos x="8" y="112"/>
                </a:cxn>
                <a:cxn ang="0">
                  <a:pos x="0" y="112"/>
                </a:cxn>
              </a:cxnLst>
              <a:rect l="0" t="0" r="r" b="b"/>
              <a:pathLst>
                <a:path w="145" h="177">
                  <a:moveTo>
                    <a:pt x="0" y="112"/>
                  </a:moveTo>
                  <a:lnTo>
                    <a:pt x="0" y="128"/>
                  </a:lnTo>
                  <a:lnTo>
                    <a:pt x="16" y="128"/>
                  </a:lnTo>
                  <a:lnTo>
                    <a:pt x="32" y="144"/>
                  </a:lnTo>
                  <a:lnTo>
                    <a:pt x="16" y="144"/>
                  </a:lnTo>
                  <a:lnTo>
                    <a:pt x="8" y="160"/>
                  </a:lnTo>
                  <a:lnTo>
                    <a:pt x="24" y="160"/>
                  </a:lnTo>
                  <a:lnTo>
                    <a:pt x="40" y="144"/>
                  </a:lnTo>
                  <a:lnTo>
                    <a:pt x="48" y="152"/>
                  </a:lnTo>
                  <a:lnTo>
                    <a:pt x="40" y="168"/>
                  </a:lnTo>
                  <a:lnTo>
                    <a:pt x="56" y="176"/>
                  </a:lnTo>
                  <a:lnTo>
                    <a:pt x="104" y="176"/>
                  </a:lnTo>
                  <a:lnTo>
                    <a:pt x="120" y="176"/>
                  </a:lnTo>
                  <a:lnTo>
                    <a:pt x="144" y="160"/>
                  </a:lnTo>
                  <a:lnTo>
                    <a:pt x="144" y="152"/>
                  </a:lnTo>
                  <a:lnTo>
                    <a:pt x="144" y="144"/>
                  </a:lnTo>
                  <a:lnTo>
                    <a:pt x="128" y="144"/>
                  </a:lnTo>
                  <a:lnTo>
                    <a:pt x="128" y="112"/>
                  </a:lnTo>
                  <a:lnTo>
                    <a:pt x="104" y="104"/>
                  </a:lnTo>
                  <a:lnTo>
                    <a:pt x="104" y="88"/>
                  </a:lnTo>
                  <a:lnTo>
                    <a:pt x="104" y="80"/>
                  </a:lnTo>
                  <a:lnTo>
                    <a:pt x="112" y="56"/>
                  </a:lnTo>
                  <a:lnTo>
                    <a:pt x="96" y="48"/>
                  </a:lnTo>
                  <a:lnTo>
                    <a:pt x="88" y="48"/>
                  </a:lnTo>
                  <a:lnTo>
                    <a:pt x="72" y="56"/>
                  </a:lnTo>
                  <a:lnTo>
                    <a:pt x="64" y="48"/>
                  </a:lnTo>
                  <a:lnTo>
                    <a:pt x="64" y="32"/>
                  </a:lnTo>
                  <a:lnTo>
                    <a:pt x="72" y="16"/>
                  </a:lnTo>
                  <a:lnTo>
                    <a:pt x="48" y="0"/>
                  </a:lnTo>
                  <a:lnTo>
                    <a:pt x="32" y="16"/>
                  </a:lnTo>
                  <a:lnTo>
                    <a:pt x="24" y="40"/>
                  </a:lnTo>
                  <a:lnTo>
                    <a:pt x="24" y="56"/>
                  </a:lnTo>
                  <a:lnTo>
                    <a:pt x="16" y="72"/>
                  </a:lnTo>
                  <a:lnTo>
                    <a:pt x="24" y="80"/>
                  </a:lnTo>
                  <a:lnTo>
                    <a:pt x="24" y="112"/>
                  </a:lnTo>
                  <a:lnTo>
                    <a:pt x="8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5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6" name="Freeform 117"/>
            <p:cNvSpPr>
              <a:spLocks/>
            </p:cNvSpPr>
            <p:nvPr/>
          </p:nvSpPr>
          <p:spPr bwMode="auto">
            <a:xfrm>
              <a:off x="3513139" y="5012225"/>
              <a:ext cx="254131" cy="232507"/>
            </a:xfrm>
            <a:custGeom>
              <a:avLst/>
              <a:gdLst/>
              <a:ahLst/>
              <a:cxnLst>
                <a:cxn ang="0">
                  <a:pos x="48" y="120"/>
                </a:cxn>
                <a:cxn ang="0">
                  <a:pos x="64" y="136"/>
                </a:cxn>
                <a:cxn ang="0">
                  <a:pos x="80" y="112"/>
                </a:cxn>
                <a:cxn ang="0">
                  <a:pos x="112" y="80"/>
                </a:cxn>
                <a:cxn ang="0">
                  <a:pos x="128" y="56"/>
                </a:cxn>
                <a:cxn ang="0">
                  <a:pos x="144" y="48"/>
                </a:cxn>
                <a:cxn ang="0">
                  <a:pos x="136" y="24"/>
                </a:cxn>
                <a:cxn ang="0">
                  <a:pos x="136" y="16"/>
                </a:cxn>
                <a:cxn ang="0">
                  <a:pos x="112" y="0"/>
                </a:cxn>
                <a:cxn ang="0">
                  <a:pos x="112" y="24"/>
                </a:cxn>
                <a:cxn ang="0">
                  <a:pos x="96" y="16"/>
                </a:cxn>
                <a:cxn ang="0">
                  <a:pos x="48" y="0"/>
                </a:cxn>
                <a:cxn ang="0">
                  <a:pos x="24" y="0"/>
                </a:cxn>
                <a:cxn ang="0">
                  <a:pos x="24" y="16"/>
                </a:cxn>
                <a:cxn ang="0">
                  <a:pos x="0" y="40"/>
                </a:cxn>
                <a:cxn ang="0">
                  <a:pos x="0" y="72"/>
                </a:cxn>
                <a:cxn ang="0">
                  <a:pos x="32" y="88"/>
                </a:cxn>
                <a:cxn ang="0">
                  <a:pos x="32" y="104"/>
                </a:cxn>
                <a:cxn ang="0">
                  <a:pos x="48" y="120"/>
                </a:cxn>
              </a:cxnLst>
              <a:rect l="0" t="0" r="r" b="b"/>
              <a:pathLst>
                <a:path w="145" h="137">
                  <a:moveTo>
                    <a:pt x="48" y="120"/>
                  </a:moveTo>
                  <a:lnTo>
                    <a:pt x="64" y="136"/>
                  </a:lnTo>
                  <a:lnTo>
                    <a:pt x="80" y="112"/>
                  </a:lnTo>
                  <a:lnTo>
                    <a:pt x="112" y="80"/>
                  </a:lnTo>
                  <a:lnTo>
                    <a:pt x="128" y="56"/>
                  </a:lnTo>
                  <a:lnTo>
                    <a:pt x="144" y="48"/>
                  </a:lnTo>
                  <a:lnTo>
                    <a:pt x="136" y="24"/>
                  </a:lnTo>
                  <a:lnTo>
                    <a:pt x="136" y="16"/>
                  </a:lnTo>
                  <a:lnTo>
                    <a:pt x="112" y="0"/>
                  </a:lnTo>
                  <a:lnTo>
                    <a:pt x="112" y="24"/>
                  </a:lnTo>
                  <a:lnTo>
                    <a:pt x="96" y="16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24" y="16"/>
                  </a:lnTo>
                  <a:lnTo>
                    <a:pt x="0" y="40"/>
                  </a:lnTo>
                  <a:lnTo>
                    <a:pt x="0" y="72"/>
                  </a:lnTo>
                  <a:lnTo>
                    <a:pt x="32" y="88"/>
                  </a:lnTo>
                  <a:lnTo>
                    <a:pt x="32" y="104"/>
                  </a:lnTo>
                  <a:lnTo>
                    <a:pt x="48" y="120"/>
                  </a:lnTo>
                  <a:close/>
                </a:path>
              </a:pathLst>
            </a:custGeom>
            <a:solidFill>
              <a:schemeClr val="accent5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7" name="Freeform 118"/>
            <p:cNvSpPr>
              <a:spLocks/>
            </p:cNvSpPr>
            <p:nvPr/>
          </p:nvSpPr>
          <p:spPr bwMode="auto">
            <a:xfrm>
              <a:off x="3863801" y="4740310"/>
              <a:ext cx="169421" cy="191128"/>
            </a:xfrm>
            <a:custGeom>
              <a:avLst/>
              <a:gdLst/>
              <a:ahLst/>
              <a:cxnLst>
                <a:cxn ang="0">
                  <a:pos x="40" y="112"/>
                </a:cxn>
                <a:cxn ang="0">
                  <a:pos x="32" y="88"/>
                </a:cxn>
                <a:cxn ang="0">
                  <a:pos x="56" y="88"/>
                </a:cxn>
                <a:cxn ang="0">
                  <a:pos x="56" y="80"/>
                </a:cxn>
                <a:cxn ang="0">
                  <a:pos x="56" y="56"/>
                </a:cxn>
                <a:cxn ang="0">
                  <a:pos x="56" y="48"/>
                </a:cxn>
                <a:cxn ang="0">
                  <a:pos x="64" y="32"/>
                </a:cxn>
                <a:cxn ang="0">
                  <a:pos x="80" y="48"/>
                </a:cxn>
                <a:cxn ang="0">
                  <a:pos x="80" y="56"/>
                </a:cxn>
                <a:cxn ang="0">
                  <a:pos x="72" y="72"/>
                </a:cxn>
                <a:cxn ang="0">
                  <a:pos x="80" y="96"/>
                </a:cxn>
                <a:cxn ang="0">
                  <a:pos x="96" y="72"/>
                </a:cxn>
                <a:cxn ang="0">
                  <a:pos x="88" y="16"/>
                </a:cxn>
                <a:cxn ang="0">
                  <a:pos x="80" y="0"/>
                </a:cxn>
                <a:cxn ang="0">
                  <a:pos x="56" y="8"/>
                </a:cxn>
                <a:cxn ang="0">
                  <a:pos x="48" y="32"/>
                </a:cxn>
                <a:cxn ang="0">
                  <a:pos x="32" y="48"/>
                </a:cxn>
                <a:cxn ang="0">
                  <a:pos x="8" y="48"/>
                </a:cxn>
                <a:cxn ang="0">
                  <a:pos x="8" y="72"/>
                </a:cxn>
                <a:cxn ang="0">
                  <a:pos x="0" y="80"/>
                </a:cxn>
                <a:cxn ang="0">
                  <a:pos x="16" y="104"/>
                </a:cxn>
                <a:cxn ang="0">
                  <a:pos x="40" y="112"/>
                </a:cxn>
              </a:cxnLst>
              <a:rect l="0" t="0" r="r" b="b"/>
              <a:pathLst>
                <a:path w="97" h="113">
                  <a:moveTo>
                    <a:pt x="40" y="112"/>
                  </a:moveTo>
                  <a:lnTo>
                    <a:pt x="32" y="88"/>
                  </a:lnTo>
                  <a:lnTo>
                    <a:pt x="56" y="88"/>
                  </a:lnTo>
                  <a:lnTo>
                    <a:pt x="56" y="80"/>
                  </a:lnTo>
                  <a:lnTo>
                    <a:pt x="56" y="56"/>
                  </a:lnTo>
                  <a:lnTo>
                    <a:pt x="56" y="48"/>
                  </a:lnTo>
                  <a:lnTo>
                    <a:pt x="64" y="32"/>
                  </a:lnTo>
                  <a:lnTo>
                    <a:pt x="80" y="48"/>
                  </a:lnTo>
                  <a:lnTo>
                    <a:pt x="80" y="56"/>
                  </a:lnTo>
                  <a:lnTo>
                    <a:pt x="72" y="72"/>
                  </a:lnTo>
                  <a:lnTo>
                    <a:pt x="80" y="96"/>
                  </a:lnTo>
                  <a:lnTo>
                    <a:pt x="96" y="72"/>
                  </a:lnTo>
                  <a:lnTo>
                    <a:pt x="88" y="16"/>
                  </a:lnTo>
                  <a:lnTo>
                    <a:pt x="80" y="0"/>
                  </a:lnTo>
                  <a:lnTo>
                    <a:pt x="56" y="8"/>
                  </a:lnTo>
                  <a:lnTo>
                    <a:pt x="48" y="32"/>
                  </a:lnTo>
                  <a:lnTo>
                    <a:pt x="32" y="48"/>
                  </a:lnTo>
                  <a:lnTo>
                    <a:pt x="8" y="48"/>
                  </a:lnTo>
                  <a:lnTo>
                    <a:pt x="8" y="72"/>
                  </a:lnTo>
                  <a:lnTo>
                    <a:pt x="0" y="80"/>
                  </a:lnTo>
                  <a:lnTo>
                    <a:pt x="16" y="104"/>
                  </a:lnTo>
                  <a:lnTo>
                    <a:pt x="40" y="112"/>
                  </a:lnTo>
                  <a:close/>
                </a:path>
              </a:pathLst>
            </a:custGeom>
            <a:solidFill>
              <a:schemeClr val="accent3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8" name="Freeform 119"/>
            <p:cNvSpPr>
              <a:spLocks/>
            </p:cNvSpPr>
            <p:nvPr/>
          </p:nvSpPr>
          <p:spPr bwMode="auto">
            <a:xfrm>
              <a:off x="3582090" y="4111754"/>
              <a:ext cx="464922" cy="628557"/>
            </a:xfrm>
            <a:custGeom>
              <a:avLst/>
              <a:gdLst/>
              <a:ahLst/>
              <a:cxnLst>
                <a:cxn ang="0">
                  <a:pos x="264" y="312"/>
                </a:cxn>
                <a:cxn ang="0">
                  <a:pos x="264" y="288"/>
                </a:cxn>
                <a:cxn ang="0">
                  <a:pos x="248" y="256"/>
                </a:cxn>
                <a:cxn ang="0">
                  <a:pos x="232" y="232"/>
                </a:cxn>
                <a:cxn ang="0">
                  <a:pos x="248" y="192"/>
                </a:cxn>
                <a:cxn ang="0">
                  <a:pos x="256" y="176"/>
                </a:cxn>
                <a:cxn ang="0">
                  <a:pos x="248" y="160"/>
                </a:cxn>
                <a:cxn ang="0">
                  <a:pos x="248" y="136"/>
                </a:cxn>
                <a:cxn ang="0">
                  <a:pos x="216" y="120"/>
                </a:cxn>
                <a:cxn ang="0">
                  <a:pos x="192" y="112"/>
                </a:cxn>
                <a:cxn ang="0">
                  <a:pos x="192" y="96"/>
                </a:cxn>
                <a:cxn ang="0">
                  <a:pos x="192" y="88"/>
                </a:cxn>
                <a:cxn ang="0">
                  <a:pos x="200" y="72"/>
                </a:cxn>
                <a:cxn ang="0">
                  <a:pos x="192" y="64"/>
                </a:cxn>
                <a:cxn ang="0">
                  <a:pos x="168" y="56"/>
                </a:cxn>
                <a:cxn ang="0">
                  <a:pos x="184" y="32"/>
                </a:cxn>
                <a:cxn ang="0">
                  <a:pos x="136" y="24"/>
                </a:cxn>
                <a:cxn ang="0">
                  <a:pos x="128" y="0"/>
                </a:cxn>
                <a:cxn ang="0">
                  <a:pos x="96" y="24"/>
                </a:cxn>
                <a:cxn ang="0">
                  <a:pos x="96" y="16"/>
                </a:cxn>
                <a:cxn ang="0">
                  <a:pos x="72" y="16"/>
                </a:cxn>
                <a:cxn ang="0">
                  <a:pos x="64" y="32"/>
                </a:cxn>
                <a:cxn ang="0">
                  <a:pos x="40" y="24"/>
                </a:cxn>
                <a:cxn ang="0">
                  <a:pos x="0" y="64"/>
                </a:cxn>
                <a:cxn ang="0">
                  <a:pos x="8" y="88"/>
                </a:cxn>
                <a:cxn ang="0">
                  <a:pos x="8" y="96"/>
                </a:cxn>
                <a:cxn ang="0">
                  <a:pos x="40" y="112"/>
                </a:cxn>
                <a:cxn ang="0">
                  <a:pos x="64" y="144"/>
                </a:cxn>
                <a:cxn ang="0">
                  <a:pos x="72" y="168"/>
                </a:cxn>
                <a:cxn ang="0">
                  <a:pos x="72" y="184"/>
                </a:cxn>
                <a:cxn ang="0">
                  <a:pos x="32" y="184"/>
                </a:cxn>
                <a:cxn ang="0">
                  <a:pos x="64" y="208"/>
                </a:cxn>
                <a:cxn ang="0">
                  <a:pos x="104" y="240"/>
                </a:cxn>
                <a:cxn ang="0">
                  <a:pos x="136" y="264"/>
                </a:cxn>
                <a:cxn ang="0">
                  <a:pos x="144" y="288"/>
                </a:cxn>
                <a:cxn ang="0">
                  <a:pos x="160" y="312"/>
                </a:cxn>
                <a:cxn ang="0">
                  <a:pos x="168" y="304"/>
                </a:cxn>
                <a:cxn ang="0">
                  <a:pos x="168" y="288"/>
                </a:cxn>
                <a:cxn ang="0">
                  <a:pos x="176" y="280"/>
                </a:cxn>
                <a:cxn ang="0">
                  <a:pos x="200" y="296"/>
                </a:cxn>
                <a:cxn ang="0">
                  <a:pos x="192" y="336"/>
                </a:cxn>
                <a:cxn ang="0">
                  <a:pos x="216" y="352"/>
                </a:cxn>
                <a:cxn ang="0">
                  <a:pos x="224" y="368"/>
                </a:cxn>
                <a:cxn ang="0">
                  <a:pos x="248" y="368"/>
                </a:cxn>
                <a:cxn ang="0">
                  <a:pos x="248" y="352"/>
                </a:cxn>
                <a:cxn ang="0">
                  <a:pos x="248" y="336"/>
                </a:cxn>
                <a:cxn ang="0">
                  <a:pos x="240" y="312"/>
                </a:cxn>
                <a:cxn ang="0">
                  <a:pos x="264" y="312"/>
                </a:cxn>
              </a:cxnLst>
              <a:rect l="0" t="0" r="r" b="b"/>
              <a:pathLst>
                <a:path w="265" h="369">
                  <a:moveTo>
                    <a:pt x="264" y="312"/>
                  </a:moveTo>
                  <a:lnTo>
                    <a:pt x="264" y="288"/>
                  </a:lnTo>
                  <a:lnTo>
                    <a:pt x="248" y="256"/>
                  </a:lnTo>
                  <a:lnTo>
                    <a:pt x="232" y="232"/>
                  </a:lnTo>
                  <a:lnTo>
                    <a:pt x="248" y="192"/>
                  </a:lnTo>
                  <a:lnTo>
                    <a:pt x="256" y="176"/>
                  </a:lnTo>
                  <a:lnTo>
                    <a:pt x="248" y="160"/>
                  </a:lnTo>
                  <a:lnTo>
                    <a:pt x="248" y="136"/>
                  </a:lnTo>
                  <a:lnTo>
                    <a:pt x="216" y="120"/>
                  </a:lnTo>
                  <a:lnTo>
                    <a:pt x="192" y="112"/>
                  </a:lnTo>
                  <a:lnTo>
                    <a:pt x="192" y="96"/>
                  </a:lnTo>
                  <a:lnTo>
                    <a:pt x="192" y="88"/>
                  </a:lnTo>
                  <a:lnTo>
                    <a:pt x="200" y="72"/>
                  </a:lnTo>
                  <a:lnTo>
                    <a:pt x="192" y="64"/>
                  </a:lnTo>
                  <a:lnTo>
                    <a:pt x="168" y="56"/>
                  </a:lnTo>
                  <a:lnTo>
                    <a:pt x="184" y="32"/>
                  </a:lnTo>
                  <a:lnTo>
                    <a:pt x="136" y="24"/>
                  </a:lnTo>
                  <a:lnTo>
                    <a:pt x="128" y="0"/>
                  </a:lnTo>
                  <a:lnTo>
                    <a:pt x="96" y="24"/>
                  </a:lnTo>
                  <a:lnTo>
                    <a:pt x="96" y="16"/>
                  </a:lnTo>
                  <a:lnTo>
                    <a:pt x="72" y="16"/>
                  </a:lnTo>
                  <a:lnTo>
                    <a:pt x="64" y="32"/>
                  </a:lnTo>
                  <a:lnTo>
                    <a:pt x="40" y="24"/>
                  </a:lnTo>
                  <a:lnTo>
                    <a:pt x="0" y="64"/>
                  </a:lnTo>
                  <a:lnTo>
                    <a:pt x="8" y="88"/>
                  </a:lnTo>
                  <a:lnTo>
                    <a:pt x="8" y="96"/>
                  </a:lnTo>
                  <a:lnTo>
                    <a:pt x="40" y="112"/>
                  </a:lnTo>
                  <a:lnTo>
                    <a:pt x="64" y="144"/>
                  </a:lnTo>
                  <a:lnTo>
                    <a:pt x="72" y="168"/>
                  </a:lnTo>
                  <a:lnTo>
                    <a:pt x="72" y="184"/>
                  </a:lnTo>
                  <a:lnTo>
                    <a:pt x="32" y="184"/>
                  </a:lnTo>
                  <a:lnTo>
                    <a:pt x="64" y="208"/>
                  </a:lnTo>
                  <a:lnTo>
                    <a:pt x="104" y="240"/>
                  </a:lnTo>
                  <a:lnTo>
                    <a:pt x="136" y="264"/>
                  </a:lnTo>
                  <a:lnTo>
                    <a:pt x="144" y="288"/>
                  </a:lnTo>
                  <a:lnTo>
                    <a:pt x="160" y="312"/>
                  </a:lnTo>
                  <a:lnTo>
                    <a:pt x="168" y="304"/>
                  </a:lnTo>
                  <a:lnTo>
                    <a:pt x="168" y="288"/>
                  </a:lnTo>
                  <a:lnTo>
                    <a:pt x="176" y="280"/>
                  </a:lnTo>
                  <a:lnTo>
                    <a:pt x="200" y="296"/>
                  </a:lnTo>
                  <a:lnTo>
                    <a:pt x="192" y="336"/>
                  </a:lnTo>
                  <a:lnTo>
                    <a:pt x="216" y="352"/>
                  </a:lnTo>
                  <a:lnTo>
                    <a:pt x="224" y="368"/>
                  </a:lnTo>
                  <a:lnTo>
                    <a:pt x="248" y="368"/>
                  </a:lnTo>
                  <a:lnTo>
                    <a:pt x="248" y="352"/>
                  </a:lnTo>
                  <a:lnTo>
                    <a:pt x="248" y="336"/>
                  </a:lnTo>
                  <a:lnTo>
                    <a:pt x="240" y="312"/>
                  </a:lnTo>
                  <a:lnTo>
                    <a:pt x="264" y="312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79" name="Freeform 120"/>
            <p:cNvSpPr>
              <a:spLocks/>
            </p:cNvSpPr>
            <p:nvPr/>
          </p:nvSpPr>
          <p:spPr bwMode="auto">
            <a:xfrm>
              <a:off x="3877591" y="4058553"/>
              <a:ext cx="423552" cy="778307"/>
            </a:xfrm>
            <a:custGeom>
              <a:avLst/>
              <a:gdLst/>
              <a:ahLst/>
              <a:cxnLst>
                <a:cxn ang="0">
                  <a:pos x="152" y="456"/>
                </a:cxn>
                <a:cxn ang="0">
                  <a:pos x="184" y="440"/>
                </a:cxn>
                <a:cxn ang="0">
                  <a:pos x="200" y="416"/>
                </a:cxn>
                <a:cxn ang="0">
                  <a:pos x="200" y="384"/>
                </a:cxn>
                <a:cxn ang="0">
                  <a:pos x="224" y="352"/>
                </a:cxn>
                <a:cxn ang="0">
                  <a:pos x="200" y="304"/>
                </a:cxn>
                <a:cxn ang="0">
                  <a:pos x="184" y="272"/>
                </a:cxn>
                <a:cxn ang="0">
                  <a:pos x="224" y="264"/>
                </a:cxn>
                <a:cxn ang="0">
                  <a:pos x="232" y="248"/>
                </a:cxn>
                <a:cxn ang="0">
                  <a:pos x="240" y="232"/>
                </a:cxn>
                <a:cxn ang="0">
                  <a:pos x="232" y="200"/>
                </a:cxn>
                <a:cxn ang="0">
                  <a:pos x="224" y="184"/>
                </a:cxn>
                <a:cxn ang="0">
                  <a:pos x="200" y="184"/>
                </a:cxn>
                <a:cxn ang="0">
                  <a:pos x="184" y="176"/>
                </a:cxn>
                <a:cxn ang="0">
                  <a:pos x="184" y="128"/>
                </a:cxn>
                <a:cxn ang="0">
                  <a:pos x="184" y="104"/>
                </a:cxn>
                <a:cxn ang="0">
                  <a:pos x="200" y="80"/>
                </a:cxn>
                <a:cxn ang="0">
                  <a:pos x="192" y="64"/>
                </a:cxn>
                <a:cxn ang="0">
                  <a:pos x="176" y="56"/>
                </a:cxn>
                <a:cxn ang="0">
                  <a:pos x="152" y="56"/>
                </a:cxn>
                <a:cxn ang="0">
                  <a:pos x="160" y="40"/>
                </a:cxn>
                <a:cxn ang="0">
                  <a:pos x="136" y="24"/>
                </a:cxn>
                <a:cxn ang="0">
                  <a:pos x="120" y="16"/>
                </a:cxn>
                <a:cxn ang="0">
                  <a:pos x="80" y="16"/>
                </a:cxn>
                <a:cxn ang="0">
                  <a:pos x="64" y="0"/>
                </a:cxn>
                <a:cxn ang="0">
                  <a:pos x="40" y="8"/>
                </a:cxn>
                <a:cxn ang="0">
                  <a:pos x="24" y="24"/>
                </a:cxn>
                <a:cxn ang="0">
                  <a:pos x="48" y="56"/>
                </a:cxn>
                <a:cxn ang="0">
                  <a:pos x="40" y="64"/>
                </a:cxn>
                <a:cxn ang="0">
                  <a:pos x="24" y="72"/>
                </a:cxn>
                <a:cxn ang="0">
                  <a:pos x="8" y="72"/>
                </a:cxn>
                <a:cxn ang="0">
                  <a:pos x="0" y="88"/>
                </a:cxn>
                <a:cxn ang="0">
                  <a:pos x="16" y="96"/>
                </a:cxn>
                <a:cxn ang="0">
                  <a:pos x="24" y="96"/>
                </a:cxn>
                <a:cxn ang="0">
                  <a:pos x="24" y="120"/>
                </a:cxn>
                <a:cxn ang="0">
                  <a:pos x="24" y="144"/>
                </a:cxn>
                <a:cxn ang="0">
                  <a:pos x="64" y="152"/>
                </a:cxn>
                <a:cxn ang="0">
                  <a:pos x="80" y="168"/>
                </a:cxn>
                <a:cxn ang="0">
                  <a:pos x="72" y="192"/>
                </a:cxn>
                <a:cxn ang="0">
                  <a:pos x="88" y="216"/>
                </a:cxn>
                <a:cxn ang="0">
                  <a:pos x="64" y="248"/>
                </a:cxn>
                <a:cxn ang="0">
                  <a:pos x="64" y="264"/>
                </a:cxn>
                <a:cxn ang="0">
                  <a:pos x="80" y="296"/>
                </a:cxn>
                <a:cxn ang="0">
                  <a:pos x="88" y="328"/>
                </a:cxn>
                <a:cxn ang="0">
                  <a:pos x="80" y="344"/>
                </a:cxn>
                <a:cxn ang="0">
                  <a:pos x="112" y="344"/>
                </a:cxn>
                <a:cxn ang="0">
                  <a:pos x="128" y="368"/>
                </a:cxn>
                <a:cxn ang="0">
                  <a:pos x="144" y="400"/>
                </a:cxn>
                <a:cxn ang="0">
                  <a:pos x="144" y="416"/>
                </a:cxn>
                <a:cxn ang="0">
                  <a:pos x="152" y="424"/>
                </a:cxn>
                <a:cxn ang="0">
                  <a:pos x="144" y="440"/>
                </a:cxn>
                <a:cxn ang="0">
                  <a:pos x="152" y="456"/>
                </a:cxn>
              </a:cxnLst>
              <a:rect l="0" t="0" r="r" b="b"/>
              <a:pathLst>
                <a:path w="241" h="457">
                  <a:moveTo>
                    <a:pt x="152" y="456"/>
                  </a:moveTo>
                  <a:lnTo>
                    <a:pt x="184" y="440"/>
                  </a:lnTo>
                  <a:lnTo>
                    <a:pt x="200" y="416"/>
                  </a:lnTo>
                  <a:lnTo>
                    <a:pt x="200" y="384"/>
                  </a:lnTo>
                  <a:lnTo>
                    <a:pt x="224" y="352"/>
                  </a:lnTo>
                  <a:lnTo>
                    <a:pt x="200" y="304"/>
                  </a:lnTo>
                  <a:lnTo>
                    <a:pt x="184" y="272"/>
                  </a:lnTo>
                  <a:lnTo>
                    <a:pt x="224" y="264"/>
                  </a:lnTo>
                  <a:lnTo>
                    <a:pt x="232" y="248"/>
                  </a:lnTo>
                  <a:lnTo>
                    <a:pt x="240" y="232"/>
                  </a:lnTo>
                  <a:lnTo>
                    <a:pt x="232" y="200"/>
                  </a:lnTo>
                  <a:lnTo>
                    <a:pt x="224" y="184"/>
                  </a:lnTo>
                  <a:lnTo>
                    <a:pt x="200" y="184"/>
                  </a:lnTo>
                  <a:lnTo>
                    <a:pt x="184" y="176"/>
                  </a:lnTo>
                  <a:lnTo>
                    <a:pt x="184" y="128"/>
                  </a:lnTo>
                  <a:lnTo>
                    <a:pt x="184" y="104"/>
                  </a:lnTo>
                  <a:lnTo>
                    <a:pt x="200" y="80"/>
                  </a:lnTo>
                  <a:lnTo>
                    <a:pt x="192" y="64"/>
                  </a:lnTo>
                  <a:lnTo>
                    <a:pt x="176" y="56"/>
                  </a:lnTo>
                  <a:lnTo>
                    <a:pt x="152" y="56"/>
                  </a:lnTo>
                  <a:lnTo>
                    <a:pt x="160" y="40"/>
                  </a:lnTo>
                  <a:lnTo>
                    <a:pt x="136" y="24"/>
                  </a:lnTo>
                  <a:lnTo>
                    <a:pt x="120" y="16"/>
                  </a:lnTo>
                  <a:lnTo>
                    <a:pt x="80" y="16"/>
                  </a:lnTo>
                  <a:lnTo>
                    <a:pt x="64" y="0"/>
                  </a:lnTo>
                  <a:lnTo>
                    <a:pt x="40" y="8"/>
                  </a:lnTo>
                  <a:lnTo>
                    <a:pt x="24" y="24"/>
                  </a:lnTo>
                  <a:lnTo>
                    <a:pt x="48" y="56"/>
                  </a:lnTo>
                  <a:lnTo>
                    <a:pt x="40" y="64"/>
                  </a:lnTo>
                  <a:lnTo>
                    <a:pt x="24" y="72"/>
                  </a:lnTo>
                  <a:lnTo>
                    <a:pt x="8" y="72"/>
                  </a:lnTo>
                  <a:lnTo>
                    <a:pt x="0" y="88"/>
                  </a:lnTo>
                  <a:lnTo>
                    <a:pt x="16" y="96"/>
                  </a:lnTo>
                  <a:lnTo>
                    <a:pt x="24" y="96"/>
                  </a:lnTo>
                  <a:lnTo>
                    <a:pt x="24" y="120"/>
                  </a:lnTo>
                  <a:lnTo>
                    <a:pt x="24" y="144"/>
                  </a:lnTo>
                  <a:lnTo>
                    <a:pt x="64" y="152"/>
                  </a:lnTo>
                  <a:lnTo>
                    <a:pt x="80" y="168"/>
                  </a:lnTo>
                  <a:lnTo>
                    <a:pt x="72" y="192"/>
                  </a:lnTo>
                  <a:lnTo>
                    <a:pt x="88" y="216"/>
                  </a:lnTo>
                  <a:lnTo>
                    <a:pt x="64" y="248"/>
                  </a:lnTo>
                  <a:lnTo>
                    <a:pt x="64" y="264"/>
                  </a:lnTo>
                  <a:lnTo>
                    <a:pt x="80" y="296"/>
                  </a:lnTo>
                  <a:lnTo>
                    <a:pt x="88" y="328"/>
                  </a:lnTo>
                  <a:lnTo>
                    <a:pt x="80" y="344"/>
                  </a:lnTo>
                  <a:lnTo>
                    <a:pt x="112" y="344"/>
                  </a:lnTo>
                  <a:lnTo>
                    <a:pt x="128" y="368"/>
                  </a:lnTo>
                  <a:lnTo>
                    <a:pt x="144" y="400"/>
                  </a:lnTo>
                  <a:lnTo>
                    <a:pt x="144" y="416"/>
                  </a:lnTo>
                  <a:lnTo>
                    <a:pt x="152" y="424"/>
                  </a:lnTo>
                  <a:lnTo>
                    <a:pt x="144" y="440"/>
                  </a:lnTo>
                  <a:lnTo>
                    <a:pt x="152" y="456"/>
                  </a:ln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0" name="Freeform 121"/>
            <p:cNvSpPr>
              <a:spLocks/>
            </p:cNvSpPr>
            <p:nvPr/>
          </p:nvSpPr>
          <p:spPr bwMode="auto">
            <a:xfrm>
              <a:off x="3962301" y="4643761"/>
              <a:ext cx="197001" cy="425606"/>
            </a:xfrm>
            <a:custGeom>
              <a:avLst/>
              <a:gdLst/>
              <a:ahLst/>
              <a:cxnLst>
                <a:cxn ang="0">
                  <a:pos x="32" y="144"/>
                </a:cxn>
                <a:cxn ang="0">
                  <a:pos x="16" y="152"/>
                </a:cxn>
                <a:cxn ang="0">
                  <a:pos x="0" y="160"/>
                </a:cxn>
                <a:cxn ang="0">
                  <a:pos x="8" y="184"/>
                </a:cxn>
                <a:cxn ang="0">
                  <a:pos x="40" y="216"/>
                </a:cxn>
                <a:cxn ang="0">
                  <a:pos x="64" y="232"/>
                </a:cxn>
                <a:cxn ang="0">
                  <a:pos x="64" y="248"/>
                </a:cxn>
                <a:cxn ang="0">
                  <a:pos x="88" y="248"/>
                </a:cxn>
                <a:cxn ang="0">
                  <a:pos x="96" y="224"/>
                </a:cxn>
                <a:cxn ang="0">
                  <a:pos x="112" y="200"/>
                </a:cxn>
                <a:cxn ang="0">
                  <a:pos x="96" y="176"/>
                </a:cxn>
                <a:cxn ang="0">
                  <a:pos x="96" y="136"/>
                </a:cxn>
                <a:cxn ang="0">
                  <a:pos x="104" y="128"/>
                </a:cxn>
                <a:cxn ang="0">
                  <a:pos x="104" y="104"/>
                </a:cxn>
                <a:cxn ang="0">
                  <a:pos x="96" y="96"/>
                </a:cxn>
                <a:cxn ang="0">
                  <a:pos x="104" y="80"/>
                </a:cxn>
                <a:cxn ang="0">
                  <a:pos x="96" y="72"/>
                </a:cxn>
                <a:cxn ang="0">
                  <a:pos x="96" y="56"/>
                </a:cxn>
                <a:cxn ang="0">
                  <a:pos x="88" y="32"/>
                </a:cxn>
                <a:cxn ang="0">
                  <a:pos x="64" y="8"/>
                </a:cxn>
                <a:cxn ang="0">
                  <a:pos x="56" y="0"/>
                </a:cxn>
                <a:cxn ang="0">
                  <a:pos x="24" y="0"/>
                </a:cxn>
                <a:cxn ang="0">
                  <a:pos x="32" y="24"/>
                </a:cxn>
                <a:cxn ang="0">
                  <a:pos x="24" y="40"/>
                </a:cxn>
                <a:cxn ang="0">
                  <a:pos x="24" y="56"/>
                </a:cxn>
                <a:cxn ang="0">
                  <a:pos x="32" y="72"/>
                </a:cxn>
                <a:cxn ang="0">
                  <a:pos x="32" y="136"/>
                </a:cxn>
                <a:cxn ang="0">
                  <a:pos x="32" y="144"/>
                </a:cxn>
              </a:cxnLst>
              <a:rect l="0" t="0" r="r" b="b"/>
              <a:pathLst>
                <a:path w="113" h="249">
                  <a:moveTo>
                    <a:pt x="32" y="144"/>
                  </a:moveTo>
                  <a:lnTo>
                    <a:pt x="16" y="152"/>
                  </a:lnTo>
                  <a:lnTo>
                    <a:pt x="0" y="160"/>
                  </a:lnTo>
                  <a:lnTo>
                    <a:pt x="8" y="184"/>
                  </a:lnTo>
                  <a:lnTo>
                    <a:pt x="40" y="216"/>
                  </a:lnTo>
                  <a:lnTo>
                    <a:pt x="64" y="232"/>
                  </a:lnTo>
                  <a:lnTo>
                    <a:pt x="64" y="248"/>
                  </a:lnTo>
                  <a:lnTo>
                    <a:pt x="88" y="248"/>
                  </a:lnTo>
                  <a:lnTo>
                    <a:pt x="96" y="224"/>
                  </a:lnTo>
                  <a:lnTo>
                    <a:pt x="112" y="200"/>
                  </a:lnTo>
                  <a:lnTo>
                    <a:pt x="96" y="176"/>
                  </a:lnTo>
                  <a:lnTo>
                    <a:pt x="96" y="136"/>
                  </a:lnTo>
                  <a:lnTo>
                    <a:pt x="104" y="128"/>
                  </a:lnTo>
                  <a:lnTo>
                    <a:pt x="104" y="104"/>
                  </a:lnTo>
                  <a:lnTo>
                    <a:pt x="96" y="96"/>
                  </a:lnTo>
                  <a:lnTo>
                    <a:pt x="104" y="80"/>
                  </a:lnTo>
                  <a:lnTo>
                    <a:pt x="96" y="72"/>
                  </a:lnTo>
                  <a:lnTo>
                    <a:pt x="96" y="56"/>
                  </a:lnTo>
                  <a:lnTo>
                    <a:pt x="88" y="32"/>
                  </a:lnTo>
                  <a:lnTo>
                    <a:pt x="64" y="8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40"/>
                  </a:lnTo>
                  <a:lnTo>
                    <a:pt x="24" y="56"/>
                  </a:lnTo>
                  <a:lnTo>
                    <a:pt x="32" y="72"/>
                  </a:lnTo>
                  <a:lnTo>
                    <a:pt x="32" y="136"/>
                  </a:lnTo>
                  <a:lnTo>
                    <a:pt x="32" y="144"/>
                  </a:lnTo>
                  <a:close/>
                </a:path>
              </a:pathLst>
            </a:custGeom>
            <a:solidFill>
              <a:schemeClr val="accent5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1" name="Freeform 122"/>
            <p:cNvSpPr>
              <a:spLocks/>
            </p:cNvSpPr>
            <p:nvPr/>
          </p:nvSpPr>
          <p:spPr bwMode="auto">
            <a:xfrm>
              <a:off x="4285383" y="3213253"/>
              <a:ext cx="57130" cy="55171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32"/>
                </a:cxn>
                <a:cxn ang="0">
                  <a:pos x="16" y="24"/>
                </a:cxn>
                <a:cxn ang="0">
                  <a:pos x="32" y="0"/>
                </a:cxn>
                <a:cxn ang="0">
                  <a:pos x="0" y="16"/>
                </a:cxn>
              </a:cxnLst>
              <a:rect l="0" t="0" r="r" b="b"/>
              <a:pathLst>
                <a:path w="33" h="33">
                  <a:moveTo>
                    <a:pt x="0" y="16"/>
                  </a:moveTo>
                  <a:lnTo>
                    <a:pt x="0" y="32"/>
                  </a:lnTo>
                  <a:lnTo>
                    <a:pt x="16" y="24"/>
                  </a:lnTo>
                  <a:lnTo>
                    <a:pt x="32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2" name="Freeform 123"/>
            <p:cNvSpPr>
              <a:spLocks/>
            </p:cNvSpPr>
            <p:nvPr/>
          </p:nvSpPr>
          <p:spPr bwMode="auto">
            <a:xfrm>
              <a:off x="4285383" y="3158082"/>
              <a:ext cx="43340" cy="57142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32"/>
                </a:cxn>
                <a:cxn ang="0">
                  <a:pos x="8" y="32"/>
                </a:cxn>
                <a:cxn ang="0">
                  <a:pos x="24" y="16"/>
                </a:cxn>
                <a:cxn ang="0">
                  <a:pos x="16" y="0"/>
                </a:cxn>
              </a:cxnLst>
              <a:rect l="0" t="0" r="r" b="b"/>
              <a:pathLst>
                <a:path w="25" h="33">
                  <a:moveTo>
                    <a:pt x="16" y="0"/>
                  </a:moveTo>
                  <a:lnTo>
                    <a:pt x="0" y="32"/>
                  </a:lnTo>
                  <a:lnTo>
                    <a:pt x="8" y="32"/>
                  </a:lnTo>
                  <a:lnTo>
                    <a:pt x="24" y="16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3" name="Freeform 124"/>
            <p:cNvSpPr>
              <a:spLocks/>
            </p:cNvSpPr>
            <p:nvPr/>
          </p:nvSpPr>
          <p:spPr bwMode="auto">
            <a:xfrm>
              <a:off x="4340543" y="3144289"/>
              <a:ext cx="29550" cy="295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4" name="Freeform 125"/>
            <p:cNvSpPr>
              <a:spLocks/>
            </p:cNvSpPr>
            <p:nvPr/>
          </p:nvSpPr>
          <p:spPr bwMode="auto">
            <a:xfrm>
              <a:off x="4200672" y="3280246"/>
              <a:ext cx="70920" cy="43349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24"/>
                </a:cxn>
                <a:cxn ang="0">
                  <a:pos x="40" y="8"/>
                </a:cxn>
                <a:cxn ang="0">
                  <a:pos x="24" y="0"/>
                </a:cxn>
                <a:cxn ang="0">
                  <a:pos x="0" y="24"/>
                </a:cxn>
              </a:cxnLst>
              <a:rect l="0" t="0" r="r" b="b"/>
              <a:pathLst>
                <a:path w="41" h="25">
                  <a:moveTo>
                    <a:pt x="0" y="24"/>
                  </a:moveTo>
                  <a:lnTo>
                    <a:pt x="16" y="24"/>
                  </a:lnTo>
                  <a:lnTo>
                    <a:pt x="40" y="8"/>
                  </a:lnTo>
                  <a:lnTo>
                    <a:pt x="24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5" name="Freeform 126"/>
            <p:cNvSpPr>
              <a:spLocks/>
            </p:cNvSpPr>
            <p:nvPr/>
          </p:nvSpPr>
          <p:spPr bwMode="auto">
            <a:xfrm>
              <a:off x="3371299" y="4097961"/>
              <a:ext cx="31520" cy="433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25">
                  <a:moveTo>
                    <a:pt x="0" y="0"/>
                  </a:moveTo>
                  <a:lnTo>
                    <a:pt x="8" y="24"/>
                  </a:lnTo>
                  <a:lnTo>
                    <a:pt x="16" y="16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6" name="Freeform 127"/>
            <p:cNvSpPr>
              <a:spLocks/>
            </p:cNvSpPr>
            <p:nvPr/>
          </p:nvSpPr>
          <p:spPr bwMode="auto">
            <a:xfrm>
              <a:off x="3400849" y="4086139"/>
              <a:ext cx="43340" cy="413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4"/>
                </a:cxn>
                <a:cxn ang="0">
                  <a:pos x="24" y="8"/>
                </a:cxn>
                <a:cxn ang="0">
                  <a:pos x="24" y="0"/>
                </a:cxn>
                <a:cxn ang="0">
                  <a:pos x="0" y="0"/>
                </a:cxn>
              </a:cxnLst>
              <a:rect l="0" t="0" r="r" b="b"/>
              <a:pathLst>
                <a:path w="25" h="25">
                  <a:moveTo>
                    <a:pt x="0" y="0"/>
                  </a:moveTo>
                  <a:lnTo>
                    <a:pt x="0" y="24"/>
                  </a:lnTo>
                  <a:lnTo>
                    <a:pt x="24" y="8"/>
                  </a:lnTo>
                  <a:lnTo>
                    <a:pt x="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7" name="Freeform 128"/>
            <p:cNvSpPr>
              <a:spLocks/>
            </p:cNvSpPr>
            <p:nvPr/>
          </p:nvSpPr>
          <p:spPr bwMode="auto">
            <a:xfrm>
              <a:off x="3442219" y="4044760"/>
              <a:ext cx="57130" cy="5517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16" y="24"/>
                </a:cxn>
                <a:cxn ang="0">
                  <a:pos x="0" y="32"/>
                </a:cxn>
                <a:cxn ang="0">
                  <a:pos x="32" y="24"/>
                </a:cxn>
                <a:cxn ang="0">
                  <a:pos x="24" y="8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33" h="33">
                  <a:moveTo>
                    <a:pt x="0" y="8"/>
                  </a:moveTo>
                  <a:lnTo>
                    <a:pt x="0" y="16"/>
                  </a:lnTo>
                  <a:lnTo>
                    <a:pt x="16" y="24"/>
                  </a:lnTo>
                  <a:lnTo>
                    <a:pt x="0" y="32"/>
                  </a:lnTo>
                  <a:lnTo>
                    <a:pt x="32" y="24"/>
                  </a:lnTo>
                  <a:lnTo>
                    <a:pt x="24" y="8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  <p:sp>
          <p:nvSpPr>
            <p:cNvPr id="88" name="Freeform 129"/>
            <p:cNvSpPr>
              <a:spLocks/>
            </p:cNvSpPr>
            <p:nvPr/>
          </p:nvSpPr>
          <p:spPr bwMode="auto">
            <a:xfrm>
              <a:off x="3499349" y="3989589"/>
              <a:ext cx="57130" cy="43349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32" y="24"/>
                </a:cxn>
                <a:cxn ang="0">
                  <a:pos x="24" y="0"/>
                </a:cxn>
                <a:cxn ang="0">
                  <a:pos x="0" y="24"/>
                </a:cxn>
              </a:cxnLst>
              <a:rect l="0" t="0" r="r" b="b"/>
              <a:pathLst>
                <a:path w="33" h="25">
                  <a:moveTo>
                    <a:pt x="0" y="24"/>
                  </a:moveTo>
                  <a:lnTo>
                    <a:pt x="32" y="24"/>
                  </a:lnTo>
                  <a:lnTo>
                    <a:pt x="24" y="0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3175" cmpd="sng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nn-NO" sz="1029"/>
            </a:p>
          </p:txBody>
        </p:sp>
      </p:grpSp>
      <p:sp>
        <p:nvSpPr>
          <p:cNvPr id="89" name="Rectangle 88"/>
          <p:cNvSpPr/>
          <p:nvPr/>
        </p:nvSpPr>
        <p:spPr>
          <a:xfrm>
            <a:off x="315098" y="2332275"/>
            <a:ext cx="1624118" cy="967674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15098" y="3354203"/>
            <a:ext cx="1624118" cy="967674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4452631" y="1284139"/>
            <a:ext cx="1624642" cy="3037738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2004459" y="1284140"/>
            <a:ext cx="2331120" cy="9713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100" dirty="0"/>
              <a:t>Eiendomsskatten legges på nettleien og betales av kundene. </a:t>
            </a:r>
          </a:p>
        </p:txBody>
      </p:sp>
      <p:sp>
        <p:nvSpPr>
          <p:cNvPr id="95" name="Rectangle 94"/>
          <p:cNvSpPr/>
          <p:nvPr/>
        </p:nvSpPr>
        <p:spPr>
          <a:xfrm>
            <a:off x="309719" y="1298146"/>
            <a:ext cx="1624118" cy="967674"/>
          </a:xfrm>
          <a:prstGeom prst="rect">
            <a:avLst/>
          </a:prstGeom>
          <a:noFill/>
          <a:ln w="12700"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1359" b="1" u="sng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FADE48-AAC5-48DD-AEE0-FB2F91CEB3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4587" y="2422400"/>
            <a:ext cx="909443" cy="8444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612C7E4-7163-45C0-83E0-ED5F8DA5E27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4967" y="3484730"/>
            <a:ext cx="843808" cy="7146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571AD15-8AEF-4122-AE47-B32CA9334C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96138" y="144996"/>
            <a:ext cx="1134304" cy="77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6152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4D9848D-5A23-419D-8E0E-2CDCD87704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81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6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E0D747-2928-4604-9C56-26231991F8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53484" y="1097232"/>
            <a:ext cx="3048664" cy="3284081"/>
          </a:xfrm>
        </p:spPr>
        <p:txBody>
          <a:bodyPr anchor="ctr"/>
          <a:lstStyle/>
          <a:p>
            <a:endParaRPr lang="nb-NO" sz="200" dirty="0"/>
          </a:p>
          <a:p>
            <a:r>
              <a:rPr lang="nb-NO" sz="1200" dirty="0"/>
              <a:t>Det kun 22 av 117 nettselskap som ikke er ilagt eiendomsskatt </a:t>
            </a:r>
            <a:r>
              <a:rPr lang="nb-NO" sz="1200"/>
              <a:t>i lokalt distribusjonsnett.</a:t>
            </a:r>
            <a:endParaRPr lang="nb-NO" sz="1200" dirty="0"/>
          </a:p>
          <a:p>
            <a:endParaRPr lang="nb-NO" sz="400" dirty="0"/>
          </a:p>
          <a:p>
            <a:r>
              <a:rPr lang="nb-NO" sz="1200" dirty="0"/>
              <a:t>Beregninger fra THEMA viser at eiendomsskatten utgjør i </a:t>
            </a:r>
            <a:r>
              <a:rPr lang="nb-NO" sz="1200"/>
              <a:t>gjennomsnitt 1,9 </a:t>
            </a:r>
            <a:r>
              <a:rPr lang="nb-NO" sz="1200" dirty="0"/>
              <a:t>prosent </a:t>
            </a:r>
            <a:r>
              <a:rPr lang="nb-NO" sz="1200"/>
              <a:t>av nettleien i lokalt distribusjonsnett (3,6 prosent for hele distribusjonsnettet)</a:t>
            </a:r>
            <a:endParaRPr lang="nb-NO" sz="1200" dirty="0"/>
          </a:p>
          <a:p>
            <a:endParaRPr lang="nb-NO" sz="300" dirty="0"/>
          </a:p>
          <a:p>
            <a:r>
              <a:rPr lang="nb-NO" sz="1200" dirty="0"/>
              <a:t>Det er særlig i mindre nettselskap med lav inntektsramme at eiendomsskatten utgjør en stor kostnad prosentmessig</a:t>
            </a:r>
          </a:p>
          <a:p>
            <a:endParaRPr lang="en-US" sz="140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3300750" y="1121796"/>
            <a:ext cx="5661204" cy="3259517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 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54234" y="1194107"/>
            <a:ext cx="5661204" cy="200055"/>
          </a:xfrm>
        </p:spPr>
        <p:txBody>
          <a:bodyPr/>
          <a:lstStyle/>
          <a:p>
            <a:r>
              <a:rPr lang="nb-NO" sz="1300" dirty="0"/>
              <a:t>Eiendomsskatten påvirker nettleien ulikt i ulike nettselskap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5070" y="165664"/>
            <a:ext cx="7476965" cy="738664"/>
          </a:xfrm>
        </p:spPr>
        <p:txBody>
          <a:bodyPr/>
          <a:lstStyle/>
          <a:p>
            <a:r>
              <a:rPr lang="nb-NO" sz="2400" dirty="0"/>
              <a:t>Eiendomsskatten utgjør i </a:t>
            </a:r>
            <a:r>
              <a:rPr lang="nb-NO" sz="2400"/>
              <a:t>gjennomsnitt 1,9 </a:t>
            </a:r>
            <a:r>
              <a:rPr lang="nb-NO" sz="2400" dirty="0"/>
              <a:t>prosent </a:t>
            </a:r>
            <a:r>
              <a:rPr lang="nb-NO" sz="2400"/>
              <a:t>av nettleien i lokalt distribusjonsnett</a:t>
            </a:r>
            <a:endParaRPr lang="en-US" sz="2400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nb-NO" dirty="0"/>
              <a:t>Kilde: THEMA (2018) </a:t>
            </a:r>
            <a:r>
              <a:rPr lang="nb-NO" dirty="0" err="1"/>
              <a:t>eRapp</a:t>
            </a:r>
            <a:r>
              <a:rPr lang="nb-NO" dirty="0"/>
              <a:t> for 2017(2018)</a:t>
            </a:r>
            <a:endParaRPr lang="en-US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5F2C4DD8-D7EE-4569-A469-2B56D59884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9576550"/>
              </p:ext>
            </p:extLst>
          </p:nvPr>
        </p:nvGraphicFramePr>
        <p:xfrm>
          <a:off x="3300749" y="1121796"/>
          <a:ext cx="5661204" cy="3259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7613C106-3DF9-42C8-A00A-715CB4EB8D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27649" y="165664"/>
            <a:ext cx="1134304" cy="77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6632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347845"/>
              </p:ext>
            </p:extLst>
          </p:nvPr>
        </p:nvGraphicFramePr>
        <p:xfrm>
          <a:off x="1200" y="9237"/>
          <a:ext cx="1198" cy="11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5" name="think-cell Slide" r:id="rId6" imgW="240" imgH="240" progId="TCLayout.ActiveDocument.1">
                  <p:embed/>
                </p:oleObj>
              </mc:Choice>
              <mc:Fallback>
                <p:oleObj name="think-cell Slide" r:id="rId6" imgW="240" imgH="24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0" y="9237"/>
                        <a:ext cx="1198" cy="11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41840D-F2C1-4667-BFB0-C312F680F6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70028" y="974957"/>
            <a:ext cx="5279242" cy="209416"/>
          </a:xfrm>
        </p:spPr>
        <p:txBody>
          <a:bodyPr/>
          <a:lstStyle/>
          <a:p>
            <a:r>
              <a:rPr lang="nb-NO" sz="1361" b="1" cap="none" dirty="0"/>
              <a:t>De fleste nett eies av kommuner og fylk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275671" y="985056"/>
            <a:ext cx="4843632" cy="209416"/>
          </a:xfrm>
        </p:spPr>
        <p:txBody>
          <a:bodyPr/>
          <a:lstStyle/>
          <a:p>
            <a:r>
              <a:rPr lang="nb-NO" sz="1361" b="1" cap="none" dirty="0"/>
              <a:t>Eventuelt overskudd finansierer offentlige tjenest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388" y="147859"/>
            <a:ext cx="8709869" cy="745656"/>
          </a:xfrm>
        </p:spPr>
        <p:txBody>
          <a:bodyPr>
            <a:noAutofit/>
          </a:bodyPr>
          <a:lstStyle/>
          <a:p>
            <a:r>
              <a:rPr lang="nb-NO" sz="2400" dirty="0"/>
              <a:t>Et eventuelt overskudd i nettselskapene vil føres tilbake til innbygger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r>
              <a:rPr lang="nb-NO" dirty="0"/>
              <a:t>Kilde: NVE</a:t>
            </a:r>
          </a:p>
        </p:txBody>
      </p:sp>
      <p:cxnSp>
        <p:nvCxnSpPr>
          <p:cNvPr id="67" name="Straight Connector 66"/>
          <p:cNvCxnSpPr/>
          <p:nvPr/>
        </p:nvCxnSpPr>
        <p:spPr bwMode="auto">
          <a:xfrm>
            <a:off x="4250380" y="1221119"/>
            <a:ext cx="4659742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none" w="med" len="med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 bwMode="auto">
          <a:xfrm>
            <a:off x="312388" y="1221119"/>
            <a:ext cx="3585154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none" w="med" len="med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827843" y="4198927"/>
            <a:ext cx="1155199" cy="255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8" dirty="0"/>
              <a:t>Idrett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137201" y="2080532"/>
            <a:ext cx="1825456" cy="255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8" dirty="0"/>
              <a:t>Kommunale veier</a:t>
            </a:r>
          </a:p>
        </p:txBody>
      </p:sp>
      <p:graphicFrame>
        <p:nvGraphicFramePr>
          <p:cNvPr id="40" name="Chart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5657556"/>
              </p:ext>
            </p:extLst>
          </p:nvPr>
        </p:nvGraphicFramePr>
        <p:xfrm>
          <a:off x="-94970" y="1343663"/>
          <a:ext cx="4230648" cy="3087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8" name="Gruppe 7">
            <a:extLst>
              <a:ext uri="{FF2B5EF4-FFF2-40B4-BE49-F238E27FC236}">
                <a16:creationId xmlns:a16="http://schemas.microsoft.com/office/drawing/2014/main" id="{8126C456-A267-4A61-9BC3-0254E00716B0}"/>
              </a:ext>
            </a:extLst>
          </p:cNvPr>
          <p:cNvGrpSpPr/>
          <p:nvPr/>
        </p:nvGrpSpPr>
        <p:grpSpPr>
          <a:xfrm>
            <a:off x="4563207" y="1901645"/>
            <a:ext cx="4148214" cy="2612886"/>
            <a:chOff x="4553532" y="2032892"/>
            <a:chExt cx="4148214" cy="2612886"/>
          </a:xfrm>
        </p:grpSpPr>
        <p:sp>
          <p:nvSpPr>
            <p:cNvPr id="18" name="Rounded Rectangle 17"/>
            <p:cNvSpPr/>
            <p:nvPr/>
          </p:nvSpPr>
          <p:spPr>
            <a:xfrm>
              <a:off x="6196778" y="2919489"/>
              <a:ext cx="1236499" cy="331026"/>
            </a:xfrm>
            <a:prstGeom prst="roundRect">
              <a:avLst/>
            </a:prstGeom>
            <a:noFill/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359" b="1" dirty="0">
                  <a:solidFill>
                    <a:srgbClr val="002060"/>
                  </a:solidFill>
                </a:rPr>
                <a:t>Nettselskap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37541" y="2723980"/>
              <a:ext cx="342147" cy="48024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697487" y="2514339"/>
              <a:ext cx="447519" cy="447519"/>
            </a:xfrm>
            <a:prstGeom prst="rect">
              <a:avLst/>
            </a:prstGeom>
          </p:spPr>
        </p:pic>
        <p:cxnSp>
          <p:nvCxnSpPr>
            <p:cNvPr id="32" name="Straight Arrow Connector 31"/>
            <p:cNvCxnSpPr/>
            <p:nvPr/>
          </p:nvCxnSpPr>
          <p:spPr bwMode="auto">
            <a:xfrm flipV="1">
              <a:off x="7433277" y="2494938"/>
              <a:ext cx="110492" cy="155031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auto">
            <a:xfrm flipV="1">
              <a:off x="7556388" y="2987370"/>
              <a:ext cx="176129" cy="3066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 bwMode="auto">
            <a:xfrm>
              <a:off x="7470309" y="3350202"/>
              <a:ext cx="114764" cy="150294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 bwMode="auto">
            <a:xfrm flipH="1">
              <a:off x="6028057" y="3350202"/>
              <a:ext cx="102058" cy="150294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/>
            <p:nvPr/>
          </p:nvCxnSpPr>
          <p:spPr bwMode="auto">
            <a:xfrm>
              <a:off x="6619457" y="3407957"/>
              <a:ext cx="2267" cy="192875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/>
          </p:nvCxnSpPr>
          <p:spPr bwMode="auto">
            <a:xfrm flipH="1">
              <a:off x="5649270" y="3002891"/>
              <a:ext cx="195063" cy="11587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Straight Arrow Connector 58"/>
            <p:cNvCxnSpPr/>
            <p:nvPr/>
          </p:nvCxnSpPr>
          <p:spPr bwMode="auto">
            <a:xfrm flipH="1" flipV="1">
              <a:off x="5937541" y="2412843"/>
              <a:ext cx="97532" cy="123535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Straight Arrow Connector 59"/>
            <p:cNvCxnSpPr/>
            <p:nvPr/>
          </p:nvCxnSpPr>
          <p:spPr bwMode="auto">
            <a:xfrm flipV="1">
              <a:off x="6580251" y="2373761"/>
              <a:ext cx="9676" cy="187823"/>
            </a:xfrm>
            <a:prstGeom prst="straightConnector1">
              <a:avLst/>
            </a:prstGeom>
            <a:ln w="50800">
              <a:solidFill>
                <a:schemeClr val="accent4"/>
              </a:solidFill>
              <a:prstDash val="solid"/>
              <a:headEnd type="none" w="med" len="med"/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8162672" y="3111079"/>
              <a:ext cx="539074" cy="255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058" dirty="0"/>
                <a:t>Kultur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869943" y="4283714"/>
              <a:ext cx="1781884" cy="255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058" dirty="0"/>
                <a:t>Redusert kommunal skatt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888929" y="4390644"/>
              <a:ext cx="1119274" cy="255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058" dirty="0"/>
                <a:t>Brannvesen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874441" y="2271065"/>
              <a:ext cx="1119274" cy="255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058" dirty="0"/>
                <a:t>Barnehager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553532" y="3358631"/>
              <a:ext cx="1119274" cy="255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058" dirty="0"/>
                <a:t>Grunnskole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111938" y="2032892"/>
              <a:ext cx="1083146" cy="255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058" dirty="0"/>
                <a:t>Legekontor</a:t>
              </a:r>
            </a:p>
          </p:txBody>
        </p:sp>
      </p:grpSp>
      <p:sp>
        <p:nvSpPr>
          <p:cNvPr id="43" name="Isosceles Triangle 42"/>
          <p:cNvSpPr/>
          <p:nvPr/>
        </p:nvSpPr>
        <p:spPr>
          <a:xfrm rot="5400000">
            <a:off x="2817843" y="2642606"/>
            <a:ext cx="2712747" cy="306975"/>
          </a:xfrm>
          <a:prstGeom prst="triangle">
            <a:avLst/>
          </a:prstGeom>
          <a:solidFill>
            <a:schemeClr val="accent1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9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8292BC-B82E-48C6-A771-58A52B4C61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89198" y="3546976"/>
            <a:ext cx="541723" cy="6057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B726F7-1601-4EAA-BF4A-2607E70587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16296" y="3545995"/>
            <a:ext cx="540197" cy="59480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A88A1F-AD5A-4D0C-A660-91F30E5864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96384" y="1432676"/>
            <a:ext cx="730082" cy="64050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0A7FD72-D9B5-465F-9253-8339932466E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89268" y="1355306"/>
            <a:ext cx="535434" cy="60333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6BA03A5-E9C7-472F-9579-465F2D0651F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65303" y="1406766"/>
            <a:ext cx="866211" cy="74321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F9B83E1-46BA-4295-AE95-54BCE720449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569802" y="2605084"/>
            <a:ext cx="875736" cy="68901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A69A14A-C329-4178-A025-11DC59215C8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072991" y="3668398"/>
            <a:ext cx="541723" cy="68405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63F9EA8-AEAB-4A7D-B49E-A3BD63A8552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099045" y="2402498"/>
            <a:ext cx="624645" cy="65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686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CAF6AB-4670-4D85-B950-47B9AA214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332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0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2542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920C9EB-0A2F-40BC-9698-90B3316C10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737032"/>
              </p:ext>
            </p:extLst>
          </p:nvPr>
        </p:nvGraphicFramePr>
        <p:xfrm>
          <a:off x="1201" y="1746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920C9EB-0A2F-40BC-9698-90B3316C1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1" y="1746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10FE88F0-67A9-4028-AF74-5BB7004548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545"/>
            <a:ext cx="119993" cy="11999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b="1" dirty="0">
              <a:solidFill>
                <a:schemeClr val="tx1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29EA1D86-EDFA-4F8B-B858-667FBB888470}"/>
              </a:ext>
            </a:extLst>
          </p:cNvPr>
          <p:cNvSpPr/>
          <p:nvPr/>
        </p:nvSpPr>
        <p:spPr>
          <a:xfrm>
            <a:off x="595554" y="3465559"/>
            <a:ext cx="8094706" cy="116628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8" dirty="0">
              <a:solidFill>
                <a:schemeClr val="bg1"/>
              </a:solidFill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F2C5F103-42E7-4B98-85F0-24DFEEC63E6A}"/>
              </a:ext>
            </a:extLst>
          </p:cNvPr>
          <p:cNvSpPr/>
          <p:nvPr/>
        </p:nvSpPr>
        <p:spPr>
          <a:xfrm>
            <a:off x="586801" y="779916"/>
            <a:ext cx="8094706" cy="11723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8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9BA85F-2B73-44EC-98A7-AE8DD3456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935" y="194289"/>
            <a:ext cx="7658648" cy="369332"/>
          </a:xfrm>
        </p:spPr>
        <p:txBody>
          <a:bodyPr/>
          <a:lstStyle/>
          <a:p>
            <a:r>
              <a:rPr lang="en-GB" sz="2400"/>
              <a:t>Dekarbonisering er lik elektrifisering</a:t>
            </a:r>
            <a:endParaRPr lang="en-GB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398B8-1354-4556-B3B7-15CF8F6F22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A10F38-7311-414B-B9E2-B092B15B0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7842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6BA06D-219D-4DB1-961A-7AFCA7FAE0C4}" type="slidenum">
              <a:rPr lang="nb-NO" smtClean="0"/>
              <a:pPr/>
              <a:t>4</a:t>
            </a:fld>
            <a:endParaRPr lang="nb-NO" dirty="0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5E271504-CE2A-44D3-9AAF-418BC048878B}"/>
              </a:ext>
            </a:extLst>
          </p:cNvPr>
          <p:cNvSpPr txBox="1"/>
          <p:nvPr/>
        </p:nvSpPr>
        <p:spPr>
          <a:xfrm>
            <a:off x="494776" y="4893167"/>
            <a:ext cx="3043221" cy="2029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endParaRPr lang="en-GB" sz="831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FAEB4BC-22C5-47FC-87A1-F080B3DFE73B}"/>
              </a:ext>
            </a:extLst>
          </p:cNvPr>
          <p:cNvSpPr/>
          <p:nvPr/>
        </p:nvSpPr>
        <p:spPr>
          <a:xfrm>
            <a:off x="595554" y="2025026"/>
            <a:ext cx="8094706" cy="135818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58" dirty="0">
              <a:solidFill>
                <a:schemeClr val="bg1"/>
              </a:solidFill>
            </a:endParaRP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A5C8D10A-3B89-4B08-91FD-D6B7671EA7FD}"/>
              </a:ext>
            </a:extLst>
          </p:cNvPr>
          <p:cNvCxnSpPr>
            <a:cxnSpLocks/>
          </p:cNvCxnSpPr>
          <p:nvPr/>
        </p:nvCxnSpPr>
        <p:spPr bwMode="auto">
          <a:xfrm flipV="1">
            <a:off x="4784336" y="2689913"/>
            <a:ext cx="313181" cy="12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0" name="TextBox 279">
            <a:extLst>
              <a:ext uri="{FF2B5EF4-FFF2-40B4-BE49-F238E27FC236}">
                <a16:creationId xmlns:a16="http://schemas.microsoft.com/office/drawing/2014/main" id="{750E8201-4F75-43AB-B51B-D9CD8CE4C8C9}"/>
              </a:ext>
            </a:extLst>
          </p:cNvPr>
          <p:cNvSpPr txBox="1"/>
          <p:nvPr/>
        </p:nvSpPr>
        <p:spPr>
          <a:xfrm rot="16200000">
            <a:off x="146044" y="1229899"/>
            <a:ext cx="847802" cy="23192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907" b="1" dirty="0"/>
              <a:t>Produksjon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CF4E78CB-645C-4FDE-8A09-1D3955609386}"/>
              </a:ext>
            </a:extLst>
          </p:cNvPr>
          <p:cNvSpPr txBox="1"/>
          <p:nvPr/>
        </p:nvSpPr>
        <p:spPr>
          <a:xfrm rot="16200000">
            <a:off x="144958" y="2584589"/>
            <a:ext cx="847802" cy="37151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907" b="1" dirty="0"/>
              <a:t>Infrastruktur og system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762BC37D-0944-4013-9940-983D4750751E}"/>
              </a:ext>
            </a:extLst>
          </p:cNvPr>
          <p:cNvSpPr txBox="1"/>
          <p:nvPr/>
        </p:nvSpPr>
        <p:spPr>
          <a:xfrm rot="16200000">
            <a:off x="175562" y="3932739"/>
            <a:ext cx="847802" cy="23192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907" b="1" dirty="0"/>
              <a:t>Forbruk</a:t>
            </a:r>
          </a:p>
        </p:txBody>
      </p:sp>
      <p:pic>
        <p:nvPicPr>
          <p:cNvPr id="285" name="Picture 284">
            <a:extLst>
              <a:ext uri="{FF2B5EF4-FFF2-40B4-BE49-F238E27FC236}">
                <a16:creationId xmlns:a16="http://schemas.microsoft.com/office/drawing/2014/main" id="{659E6BCC-93D0-4D2D-9F8E-6B70A5531A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6496" y="1256883"/>
            <a:ext cx="621327" cy="512878"/>
          </a:xfrm>
          <a:prstGeom prst="rect">
            <a:avLst/>
          </a:prstGeom>
        </p:spPr>
      </p:pic>
      <p:sp>
        <p:nvSpPr>
          <p:cNvPr id="286" name="TextBox 285">
            <a:extLst>
              <a:ext uri="{FF2B5EF4-FFF2-40B4-BE49-F238E27FC236}">
                <a16:creationId xmlns:a16="http://schemas.microsoft.com/office/drawing/2014/main" id="{F2D8DE18-68C3-44AC-A566-F079A9D68CFC}"/>
              </a:ext>
            </a:extLst>
          </p:cNvPr>
          <p:cNvSpPr txBox="1"/>
          <p:nvPr/>
        </p:nvSpPr>
        <p:spPr>
          <a:xfrm>
            <a:off x="641872" y="1102292"/>
            <a:ext cx="856748" cy="1931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Vannkraft</a:t>
            </a:r>
            <a:endParaRPr lang="en-GB" sz="831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B26EE04-4405-411D-BF98-6177C5EEAE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74779" y="3720496"/>
            <a:ext cx="604364" cy="57703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A3EC0F3-7E8E-4718-A657-CE3CBEE7FF2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3833" y="3697594"/>
            <a:ext cx="672620" cy="67262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84DE54A0-A722-4854-A47A-F8EC96EF81F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705" y="3857298"/>
            <a:ext cx="393415" cy="393415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FB867769-3B27-4916-A2B7-B21AD23632D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456" y="3894548"/>
            <a:ext cx="553928" cy="55392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3F87739-B540-4E29-BD62-8FE354D0629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455" y="3791986"/>
            <a:ext cx="703248" cy="688098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BFC6A157-3C84-4AE5-AD64-9A83F02876F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840" y="3808042"/>
            <a:ext cx="411654" cy="41165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39CAE483-67C8-4195-A4E8-49691623CD6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885" y="1196383"/>
            <a:ext cx="826750" cy="826750"/>
          </a:xfrm>
          <a:prstGeom prst="rect">
            <a:avLst/>
          </a:prstGeom>
        </p:spPr>
      </p:pic>
      <p:sp>
        <p:nvSpPr>
          <p:cNvPr id="288" name="TextBox 287">
            <a:extLst>
              <a:ext uri="{FF2B5EF4-FFF2-40B4-BE49-F238E27FC236}">
                <a16:creationId xmlns:a16="http://schemas.microsoft.com/office/drawing/2014/main" id="{17060C9E-706E-40E9-91DC-5FE9ABBB86A3}"/>
              </a:ext>
            </a:extLst>
          </p:cNvPr>
          <p:cNvSpPr txBox="1"/>
          <p:nvPr/>
        </p:nvSpPr>
        <p:spPr>
          <a:xfrm>
            <a:off x="2021823" y="1102292"/>
            <a:ext cx="856748" cy="1931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Vindkraft</a:t>
            </a:r>
            <a:endParaRPr lang="en-GB" sz="831" dirty="0"/>
          </a:p>
        </p:txBody>
      </p:sp>
      <p:pic>
        <p:nvPicPr>
          <p:cNvPr id="289" name="Picture 288">
            <a:extLst>
              <a:ext uri="{FF2B5EF4-FFF2-40B4-BE49-F238E27FC236}">
                <a16:creationId xmlns:a16="http://schemas.microsoft.com/office/drawing/2014/main" id="{CE9B45F9-6480-438F-8A7B-A225375DCFD1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3" t="15706" r="30001" b="14606"/>
          <a:stretch/>
        </p:blipFill>
        <p:spPr>
          <a:xfrm>
            <a:off x="3808785" y="2657289"/>
            <a:ext cx="233518" cy="408513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008BB3F1-C2F2-454B-9D26-F8E1832DBA7E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767" y="3728385"/>
            <a:ext cx="651243" cy="651243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D67A29E8-F237-4DB0-AB04-2A3A226D744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843" y="3851232"/>
            <a:ext cx="508188" cy="508188"/>
          </a:xfrm>
          <a:prstGeom prst="rect">
            <a:avLst/>
          </a:prstGeom>
        </p:spPr>
      </p:pic>
      <p:sp>
        <p:nvSpPr>
          <p:cNvPr id="290" name="TextBox 289">
            <a:extLst>
              <a:ext uri="{FF2B5EF4-FFF2-40B4-BE49-F238E27FC236}">
                <a16:creationId xmlns:a16="http://schemas.microsoft.com/office/drawing/2014/main" id="{5DDC5A11-DDB2-429A-A851-4FE53B097314}"/>
              </a:ext>
            </a:extLst>
          </p:cNvPr>
          <p:cNvSpPr txBox="1"/>
          <p:nvPr/>
        </p:nvSpPr>
        <p:spPr>
          <a:xfrm>
            <a:off x="7793626" y="4359419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Bygninger</a:t>
            </a:r>
            <a:endParaRPr lang="en-GB" sz="831" dirty="0"/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A6A9EE2F-4A25-4E01-93EA-DBFE49EBBD3C}"/>
              </a:ext>
            </a:extLst>
          </p:cNvPr>
          <p:cNvSpPr txBox="1"/>
          <p:nvPr/>
        </p:nvSpPr>
        <p:spPr>
          <a:xfrm>
            <a:off x="6130980" y="4359419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Transport</a:t>
            </a:r>
            <a:endParaRPr lang="en-GB" sz="831" dirty="0"/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5CBCD98F-05D2-4D79-A990-5FD64D6040C3}"/>
              </a:ext>
            </a:extLst>
          </p:cNvPr>
          <p:cNvSpPr txBox="1"/>
          <p:nvPr/>
        </p:nvSpPr>
        <p:spPr>
          <a:xfrm>
            <a:off x="4583403" y="4359419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Næring</a:t>
            </a:r>
            <a:endParaRPr lang="en-GB" sz="831" dirty="0"/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F704452F-51D8-4C83-9B33-5086CA05F049}"/>
              </a:ext>
            </a:extLst>
          </p:cNvPr>
          <p:cNvSpPr txBox="1"/>
          <p:nvPr/>
        </p:nvSpPr>
        <p:spPr>
          <a:xfrm>
            <a:off x="2378329" y="4359419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Industri</a:t>
            </a:r>
            <a:endParaRPr lang="en-GB" sz="831" dirty="0"/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0106628-3C4F-4DB1-8348-0A75B23156AE}"/>
              </a:ext>
            </a:extLst>
          </p:cNvPr>
          <p:cNvSpPr txBox="1"/>
          <p:nvPr/>
        </p:nvSpPr>
        <p:spPr>
          <a:xfrm>
            <a:off x="3263845" y="4359419"/>
            <a:ext cx="658805" cy="2038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Datasenter</a:t>
            </a:r>
            <a:endParaRPr lang="en-GB" sz="831" dirty="0"/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938D2418-2F66-48D1-8DF6-F3BBCE65453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713" y="1357210"/>
            <a:ext cx="483358" cy="483358"/>
          </a:xfrm>
          <a:prstGeom prst="rect">
            <a:avLst/>
          </a:prstGeom>
        </p:spPr>
      </p:pic>
      <p:sp>
        <p:nvSpPr>
          <p:cNvPr id="297" name="TextBox 296">
            <a:extLst>
              <a:ext uri="{FF2B5EF4-FFF2-40B4-BE49-F238E27FC236}">
                <a16:creationId xmlns:a16="http://schemas.microsoft.com/office/drawing/2014/main" id="{9FA4E4FD-C1CD-4377-BA25-A4436546043C}"/>
              </a:ext>
            </a:extLst>
          </p:cNvPr>
          <p:cNvSpPr txBox="1"/>
          <p:nvPr/>
        </p:nvSpPr>
        <p:spPr>
          <a:xfrm>
            <a:off x="4488175" y="1038500"/>
            <a:ext cx="856748" cy="1931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Småkraft</a:t>
            </a:r>
            <a:endParaRPr lang="en-GB" sz="831" dirty="0"/>
          </a:p>
        </p:txBody>
      </p:sp>
      <p:cxnSp>
        <p:nvCxnSpPr>
          <p:cNvPr id="307" name="Straight Arrow Connector 306">
            <a:extLst>
              <a:ext uri="{FF2B5EF4-FFF2-40B4-BE49-F238E27FC236}">
                <a16:creationId xmlns:a16="http://schemas.microsoft.com/office/drawing/2014/main" id="{60F6F421-1251-4434-9A3C-E7F6B64444EA}"/>
              </a:ext>
            </a:extLst>
          </p:cNvPr>
          <p:cNvCxnSpPr>
            <a:cxnSpLocks/>
          </p:cNvCxnSpPr>
          <p:nvPr/>
        </p:nvCxnSpPr>
        <p:spPr bwMode="auto">
          <a:xfrm flipV="1">
            <a:off x="2032810" y="2696087"/>
            <a:ext cx="313181" cy="12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3F16033-930C-4A81-A54E-C5C644AF0D87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007"/>
          <a:stretch/>
        </p:blipFill>
        <p:spPr>
          <a:xfrm>
            <a:off x="6114342" y="3230448"/>
            <a:ext cx="1040989" cy="6978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415BEA1-002C-43EE-99C4-B312938591F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533" y="3649506"/>
            <a:ext cx="536916" cy="53691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0F26FD4-4CA6-4FD7-84EE-28EEB723185B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229" y="3827239"/>
            <a:ext cx="779709" cy="77970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B13A6ED-8D1B-4B49-82E3-F7D3AE611ABB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836" y="3504104"/>
            <a:ext cx="1052170" cy="105217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0A019D2-09DE-45C1-9848-E4AA887DD868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034" y="1075377"/>
            <a:ext cx="1043611" cy="104361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06443F3-619B-447B-92C6-EB38822BE366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732" y="4082202"/>
            <a:ext cx="519059" cy="51905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9AC22AB-EC4F-4452-A4F9-0967D3BA3FCE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546" y="3612826"/>
            <a:ext cx="482371" cy="482371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F34E95B3-0ED8-4C1D-8797-2448504C450A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51" y="1332619"/>
            <a:ext cx="527257" cy="527257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62EC406E-9962-4D36-89EE-304E71033989}"/>
              </a:ext>
            </a:extLst>
          </p:cNvPr>
          <p:cNvSpPr txBox="1"/>
          <p:nvPr/>
        </p:nvSpPr>
        <p:spPr>
          <a:xfrm>
            <a:off x="1327855" y="4359419"/>
            <a:ext cx="876228" cy="1968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Norsk sokkel</a:t>
            </a:r>
            <a:endParaRPr lang="en-GB" sz="831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DD343593-C970-436F-B47D-FD1989143F87}"/>
              </a:ext>
            </a:extLst>
          </p:cNvPr>
          <p:cNvSpPr txBox="1"/>
          <p:nvPr/>
        </p:nvSpPr>
        <p:spPr>
          <a:xfrm>
            <a:off x="1704111" y="2237561"/>
            <a:ext cx="825550" cy="1859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831" dirty="0"/>
              <a:t>Droner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FF8E7784-43D0-4C24-B541-F8F6998BD685}"/>
              </a:ext>
            </a:extLst>
          </p:cNvPr>
          <p:cNvSpPr txBox="1"/>
          <p:nvPr/>
        </p:nvSpPr>
        <p:spPr>
          <a:xfrm>
            <a:off x="5646454" y="2398886"/>
            <a:ext cx="579591" cy="1802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831" dirty="0"/>
              <a:t>Sensorer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1C733CE7-F937-436B-9EF6-A04FBC5240C6}"/>
              </a:ext>
            </a:extLst>
          </p:cNvPr>
          <p:cNvSpPr txBox="1"/>
          <p:nvPr/>
        </p:nvSpPr>
        <p:spPr>
          <a:xfrm>
            <a:off x="3399040" y="2354545"/>
            <a:ext cx="579591" cy="1802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831" dirty="0"/>
              <a:t>Sensorer</a:t>
            </a:r>
          </a:p>
        </p:txBody>
      </p:sp>
      <p:pic>
        <p:nvPicPr>
          <p:cNvPr id="126" name="Picture 11" descr="Bilderesultat for drone illustration">
            <a:extLst>
              <a:ext uri="{FF2B5EF4-FFF2-40B4-BE49-F238E27FC236}">
                <a16:creationId xmlns:a16="http://schemas.microsoft.com/office/drawing/2014/main" id="{329C7671-8A42-4659-902A-7995E476DC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768"/>
          <a:stretch/>
        </p:blipFill>
        <p:spPr bwMode="auto">
          <a:xfrm>
            <a:off x="1709364" y="2344724"/>
            <a:ext cx="408673" cy="33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1" descr="Bilderesultat for drone illustration">
            <a:extLst>
              <a:ext uri="{FF2B5EF4-FFF2-40B4-BE49-F238E27FC236}">
                <a16:creationId xmlns:a16="http://schemas.microsoft.com/office/drawing/2014/main" id="{EAAC86CC-E76C-4F99-9672-69E020E37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908" y="2270505"/>
            <a:ext cx="408673" cy="408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A6AAA126-1183-4CF9-B9B9-7122A3C620CB}"/>
              </a:ext>
            </a:extLst>
          </p:cNvPr>
          <p:cNvSpPr txBox="1"/>
          <p:nvPr/>
        </p:nvSpPr>
        <p:spPr>
          <a:xfrm>
            <a:off x="4999806" y="2246990"/>
            <a:ext cx="825550" cy="1859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831" dirty="0"/>
              <a:t>Droner</a:t>
            </a: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23D285C4-ABF0-4E24-ABD6-3901B8DF865B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34723" y="2447121"/>
            <a:ext cx="388122" cy="388122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760FE804-35EB-490C-B618-95EBD8F5917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3" t="15706" r="30001" b="14606"/>
          <a:stretch/>
        </p:blipFill>
        <p:spPr>
          <a:xfrm>
            <a:off x="1517255" y="2656024"/>
            <a:ext cx="233518" cy="4085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204B1AE-1356-41AB-9F55-639C704F6413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613" y="3734545"/>
            <a:ext cx="576016" cy="576016"/>
          </a:xfrm>
          <a:prstGeom prst="rect">
            <a:avLst/>
          </a:prstGeom>
        </p:spPr>
      </p:pic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87AB586-3FA2-443C-AEC7-6F38485D0D98}"/>
              </a:ext>
            </a:extLst>
          </p:cNvPr>
          <p:cNvGrpSpPr/>
          <p:nvPr/>
        </p:nvGrpSpPr>
        <p:grpSpPr>
          <a:xfrm>
            <a:off x="8051018" y="2654846"/>
            <a:ext cx="750737" cy="587477"/>
            <a:chOff x="10651475" y="3511634"/>
            <a:chExt cx="993223" cy="777230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AC0EC361-8BFA-430C-876D-36DC6745CB18}"/>
                </a:ext>
              </a:extLst>
            </p:cNvPr>
            <p:cNvSpPr txBox="1"/>
            <p:nvPr/>
          </p:nvSpPr>
          <p:spPr>
            <a:xfrm>
              <a:off x="10651475" y="3924683"/>
              <a:ext cx="993223" cy="36418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nb-NO" sz="831" dirty="0"/>
                <a:t>Smart strømmåler (AMS)</a:t>
              </a:r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2335EE4F-77F6-4FB3-A860-43337B3435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0360"/>
            <a:stretch/>
          </p:blipFill>
          <p:spPr>
            <a:xfrm>
              <a:off x="10809011" y="3511634"/>
              <a:ext cx="692980" cy="482589"/>
            </a:xfrm>
            <a:prstGeom prst="rect">
              <a:avLst/>
            </a:prstGeom>
          </p:spPr>
        </p:pic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D8710AC-FCF9-4818-84D4-F738F35F594C}"/>
              </a:ext>
            </a:extLst>
          </p:cNvPr>
          <p:cNvGrpSpPr/>
          <p:nvPr/>
        </p:nvGrpSpPr>
        <p:grpSpPr>
          <a:xfrm>
            <a:off x="3056821" y="2506063"/>
            <a:ext cx="334387" cy="299922"/>
            <a:chOff x="2645499" y="2554796"/>
            <a:chExt cx="1146245" cy="1221233"/>
          </a:xfrm>
        </p:grpSpPr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E31CF54B-5D17-498F-9D1D-9ECFA5E3FE9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45499" y="2554796"/>
              <a:ext cx="0" cy="1221233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A28AE431-AC91-4B58-97F6-C2AB65D371C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645505" y="3094856"/>
              <a:ext cx="271759" cy="0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1DF33D95-B918-4A54-A657-2503CB2ED84C}"/>
                </a:ext>
              </a:extLst>
            </p:cNvPr>
            <p:cNvSpPr/>
            <p:nvPr/>
          </p:nvSpPr>
          <p:spPr>
            <a:xfrm>
              <a:off x="2918123" y="2923976"/>
              <a:ext cx="360000" cy="360000"/>
            </a:xfrm>
            <a:prstGeom prst="ellips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761DC71B-843B-47F5-BBB5-9ACDB72B6CD2}"/>
                </a:ext>
              </a:extLst>
            </p:cNvPr>
            <p:cNvSpPr/>
            <p:nvPr/>
          </p:nvSpPr>
          <p:spPr>
            <a:xfrm>
              <a:off x="3155932" y="2914856"/>
              <a:ext cx="360000" cy="360000"/>
            </a:xfrm>
            <a:prstGeom prst="ellips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EF599C12-E54B-477F-B348-B8D49AF119B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519115" y="3101917"/>
              <a:ext cx="266700" cy="0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63939803-A7DF-419F-888D-C46CEA73989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790803" y="2561857"/>
              <a:ext cx="941" cy="1190166"/>
            </a:xfrm>
            <a:prstGeom prst="line">
              <a:avLst/>
            </a:prstGeom>
            <a:ln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97F5A5D4-7F3D-4158-A53E-1A8B7B3BA054}"/>
              </a:ext>
            </a:extLst>
          </p:cNvPr>
          <p:cNvCxnSpPr>
            <a:cxnSpLocks/>
          </p:cNvCxnSpPr>
          <p:nvPr/>
        </p:nvCxnSpPr>
        <p:spPr bwMode="auto">
          <a:xfrm>
            <a:off x="1084003" y="2639804"/>
            <a:ext cx="1966019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1686DF77-AC57-4726-B857-DD365C05BBB9}"/>
              </a:ext>
            </a:extLst>
          </p:cNvPr>
          <p:cNvCxnSpPr>
            <a:cxnSpLocks/>
          </p:cNvCxnSpPr>
          <p:nvPr/>
        </p:nvCxnSpPr>
        <p:spPr bwMode="auto">
          <a:xfrm flipV="1">
            <a:off x="3390697" y="2636179"/>
            <a:ext cx="1953347" cy="282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272CA2AF-F130-4163-B877-5922EF4C5816}"/>
              </a:ext>
            </a:extLst>
          </p:cNvPr>
          <p:cNvCxnSpPr>
            <a:cxnSpLocks/>
          </p:cNvCxnSpPr>
          <p:nvPr/>
        </p:nvCxnSpPr>
        <p:spPr bwMode="auto">
          <a:xfrm>
            <a:off x="5677630" y="2638696"/>
            <a:ext cx="2467904" cy="13197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09DE5947-7120-474C-8DD0-63D89021DA98}"/>
              </a:ext>
            </a:extLst>
          </p:cNvPr>
          <p:cNvCxnSpPr>
            <a:cxnSpLocks/>
          </p:cNvCxnSpPr>
          <p:nvPr/>
        </p:nvCxnSpPr>
        <p:spPr bwMode="auto">
          <a:xfrm>
            <a:off x="1084003" y="1859756"/>
            <a:ext cx="4650" cy="774046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DABA126B-0ADE-46ED-9E3B-D02E3EBA76F4}"/>
              </a:ext>
            </a:extLst>
          </p:cNvPr>
          <p:cNvCxnSpPr>
            <a:cxnSpLocks/>
          </p:cNvCxnSpPr>
          <p:nvPr/>
        </p:nvCxnSpPr>
        <p:spPr bwMode="auto">
          <a:xfrm>
            <a:off x="2222648" y="1912651"/>
            <a:ext cx="0" cy="727153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42" name="Picture 141">
            <a:extLst>
              <a:ext uri="{FF2B5EF4-FFF2-40B4-BE49-F238E27FC236}">
                <a16:creationId xmlns:a16="http://schemas.microsoft.com/office/drawing/2014/main" id="{87CA4FDF-BE53-4BF8-8C12-53A9C80CCD31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3" t="15706" r="30001" b="14606"/>
          <a:stretch/>
        </p:blipFill>
        <p:spPr>
          <a:xfrm>
            <a:off x="1517255" y="2656024"/>
            <a:ext cx="233518" cy="408513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7E48E46C-326E-4641-9B20-198D7D353BC7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3" t="15706" r="30001" b="14606"/>
          <a:stretch/>
        </p:blipFill>
        <p:spPr>
          <a:xfrm>
            <a:off x="3821511" y="2651893"/>
            <a:ext cx="233518" cy="408513"/>
          </a:xfrm>
          <a:prstGeom prst="rect">
            <a:avLst/>
          </a:prstGeom>
        </p:spPr>
      </p:pic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91EAF22E-25F0-4E09-B860-DD6A54441834}"/>
              </a:ext>
            </a:extLst>
          </p:cNvPr>
          <p:cNvCxnSpPr>
            <a:cxnSpLocks/>
          </p:cNvCxnSpPr>
          <p:nvPr/>
        </p:nvCxnSpPr>
        <p:spPr bwMode="auto">
          <a:xfrm>
            <a:off x="4940927" y="1903224"/>
            <a:ext cx="0" cy="72715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78D86A4D-B85C-4ABE-BF44-0F1E2729F9EF}"/>
              </a:ext>
            </a:extLst>
          </p:cNvPr>
          <p:cNvCxnSpPr>
            <a:cxnSpLocks/>
          </p:cNvCxnSpPr>
          <p:nvPr/>
        </p:nvCxnSpPr>
        <p:spPr bwMode="auto">
          <a:xfrm>
            <a:off x="8145534" y="2651893"/>
            <a:ext cx="0" cy="972906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32478CAD-66E9-4ED4-9346-2D0EE964F09F}"/>
              </a:ext>
            </a:extLst>
          </p:cNvPr>
          <p:cNvCxnSpPr>
            <a:cxnSpLocks/>
          </p:cNvCxnSpPr>
          <p:nvPr/>
        </p:nvCxnSpPr>
        <p:spPr bwMode="auto">
          <a:xfrm>
            <a:off x="6446178" y="2646238"/>
            <a:ext cx="0" cy="997053"/>
          </a:xfrm>
          <a:prstGeom prst="line">
            <a:avLst/>
          </a:prstGeom>
          <a:ln w="12700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47CB5687-063E-4F17-8720-2A42A0B6FBFF}"/>
              </a:ext>
            </a:extLst>
          </p:cNvPr>
          <p:cNvCxnSpPr>
            <a:cxnSpLocks/>
          </p:cNvCxnSpPr>
          <p:nvPr/>
        </p:nvCxnSpPr>
        <p:spPr bwMode="auto">
          <a:xfrm>
            <a:off x="2593886" y="2640009"/>
            <a:ext cx="0" cy="997053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8413F417-E8E9-4AE0-926E-8C053E329384}"/>
              </a:ext>
            </a:extLst>
          </p:cNvPr>
          <p:cNvCxnSpPr>
            <a:cxnSpLocks/>
          </p:cNvCxnSpPr>
          <p:nvPr/>
        </p:nvCxnSpPr>
        <p:spPr bwMode="auto">
          <a:xfrm>
            <a:off x="4716575" y="2630377"/>
            <a:ext cx="0" cy="99705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49" name="Picture 148">
            <a:extLst>
              <a:ext uri="{FF2B5EF4-FFF2-40B4-BE49-F238E27FC236}">
                <a16:creationId xmlns:a16="http://schemas.microsoft.com/office/drawing/2014/main" id="{E6AD34E2-8E37-494E-A2CD-89ABFE530416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546" y="2523384"/>
            <a:ext cx="627696" cy="627696"/>
          </a:xfrm>
          <a:prstGeom prst="rect">
            <a:avLst/>
          </a:prstGeom>
        </p:spPr>
      </p:pic>
      <p:grpSp>
        <p:nvGrpSpPr>
          <p:cNvPr id="150" name="Group 149">
            <a:extLst>
              <a:ext uri="{FF2B5EF4-FFF2-40B4-BE49-F238E27FC236}">
                <a16:creationId xmlns:a16="http://schemas.microsoft.com/office/drawing/2014/main" id="{41470918-D123-4339-B379-ABEFE1089B9A}"/>
              </a:ext>
            </a:extLst>
          </p:cNvPr>
          <p:cNvGrpSpPr/>
          <p:nvPr/>
        </p:nvGrpSpPr>
        <p:grpSpPr>
          <a:xfrm>
            <a:off x="5349010" y="2503666"/>
            <a:ext cx="334387" cy="299922"/>
            <a:chOff x="2645499" y="2554796"/>
            <a:chExt cx="1146245" cy="1221233"/>
          </a:xfrm>
        </p:grpSpPr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C56CF135-CB3E-4F25-8698-D7CE61A9F90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645499" y="2554796"/>
              <a:ext cx="0" cy="1221233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C3D4C20C-73D6-4B4B-8E28-609B950F225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645505" y="3094856"/>
              <a:ext cx="271759" cy="0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3DCB2A4B-E6C3-4B98-85A2-59EB74318175}"/>
                </a:ext>
              </a:extLst>
            </p:cNvPr>
            <p:cNvSpPr/>
            <p:nvPr/>
          </p:nvSpPr>
          <p:spPr>
            <a:xfrm>
              <a:off x="2918123" y="2923976"/>
              <a:ext cx="360000" cy="360000"/>
            </a:xfrm>
            <a:prstGeom prst="ellips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03ED5AD9-33AA-4C56-AAB5-3236DCB6969D}"/>
                </a:ext>
              </a:extLst>
            </p:cNvPr>
            <p:cNvSpPr/>
            <p:nvPr/>
          </p:nvSpPr>
          <p:spPr>
            <a:xfrm>
              <a:off x="3155932" y="2914856"/>
              <a:ext cx="360000" cy="360000"/>
            </a:xfrm>
            <a:prstGeom prst="ellips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dirty="0" err="1"/>
            </a:p>
          </p:txBody>
        </p: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0402B0AA-9C31-4F9E-A6A3-E6A63FADA1BE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519115" y="3101917"/>
              <a:ext cx="266700" cy="0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43557A3E-F037-4B2E-9E3B-8F0B8FD20561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790803" y="2561857"/>
              <a:ext cx="941" cy="1190166"/>
            </a:xfrm>
            <a:prstGeom prst="line">
              <a:avLst/>
            </a:prstGeom>
            <a:ln w="12700">
              <a:solidFill>
                <a:schemeClr val="dk1">
                  <a:shade val="95000"/>
                  <a:satMod val="150000"/>
                </a:schemeClr>
              </a:solidFill>
              <a:headEnd type="none" w="med" len="med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62" name="Picture 161">
            <a:extLst>
              <a:ext uri="{FF2B5EF4-FFF2-40B4-BE49-F238E27FC236}">
                <a16:creationId xmlns:a16="http://schemas.microsoft.com/office/drawing/2014/main" id="{6417A280-B19A-4B43-863F-41DDF6B9CA58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403178" y="2444646"/>
            <a:ext cx="388122" cy="388122"/>
          </a:xfrm>
          <a:prstGeom prst="rect">
            <a:avLst/>
          </a:prstGeom>
        </p:spPr>
      </p:pic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FE8B44F-AB4B-45C5-A4EA-F69AB4DB4DDA}"/>
              </a:ext>
            </a:extLst>
          </p:cNvPr>
          <p:cNvGrpSpPr/>
          <p:nvPr/>
        </p:nvGrpSpPr>
        <p:grpSpPr>
          <a:xfrm>
            <a:off x="6328808" y="2053014"/>
            <a:ext cx="3778710" cy="406265"/>
            <a:chOff x="789106" y="6192034"/>
            <a:chExt cx="4999223" cy="537488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86A0841B-0163-4936-AF06-2FDA30DEC068}"/>
                </a:ext>
              </a:extLst>
            </p:cNvPr>
            <p:cNvGrpSpPr/>
            <p:nvPr/>
          </p:nvGrpSpPr>
          <p:grpSpPr>
            <a:xfrm>
              <a:off x="892534" y="6192034"/>
              <a:ext cx="4895795" cy="537488"/>
              <a:chOff x="892534" y="6192034"/>
              <a:chExt cx="4895795" cy="537488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28476A84-2589-49E5-90E1-567F2FCFF5AE}"/>
                  </a:ext>
                </a:extLst>
              </p:cNvPr>
              <p:cNvGrpSpPr/>
              <p:nvPr/>
            </p:nvGrpSpPr>
            <p:grpSpPr>
              <a:xfrm>
                <a:off x="892534" y="6309320"/>
                <a:ext cx="673100" cy="272225"/>
                <a:chOff x="892534" y="6309320"/>
                <a:chExt cx="673100" cy="272225"/>
              </a:xfrm>
            </p:grpSpPr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1A3FCD3C-A7C8-4A01-8349-CC435246FD7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95603" y="6309320"/>
                  <a:ext cx="666961" cy="0"/>
                </a:xfrm>
                <a:prstGeom prst="line">
                  <a:avLst/>
                </a:prstGeom>
                <a:ln w="28575">
                  <a:headEnd type="none" w="med" len="med"/>
                  <a:tailEnd type="none" w="med" len="med"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73C25A77-C37F-4AF0-B78F-7BBE7773B36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892534" y="6453707"/>
                  <a:ext cx="673100" cy="0"/>
                </a:xfrm>
                <a:prstGeom prst="lin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D5D7F779-38F1-4652-901B-AC954E71B5E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892534" y="6581545"/>
                  <a:ext cx="673100" cy="0"/>
                </a:xfrm>
                <a:prstGeom prst="line">
                  <a:avLst/>
                </a:prstGeom>
                <a:ln w="12700">
                  <a:headEnd type="none" w="med" len="med"/>
                  <a:tailEnd type="none" w="med" len="med"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4A043CDE-7CF4-43F3-9097-F3E14B3185D0}"/>
                  </a:ext>
                </a:extLst>
              </p:cNvPr>
              <p:cNvSpPr txBox="1"/>
              <p:nvPr/>
            </p:nvSpPr>
            <p:spPr>
              <a:xfrm>
                <a:off x="1508821" y="6192034"/>
                <a:ext cx="4279508" cy="5374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680" dirty="0"/>
                  <a:t>Transmisjonsnett (420-300 kV)</a:t>
                </a:r>
              </a:p>
              <a:p>
                <a:r>
                  <a:rPr lang="nb-NO" sz="680" dirty="0"/>
                  <a:t>Regionalt distribusjonsnett (132-66 kV)</a:t>
                </a:r>
              </a:p>
              <a:p>
                <a:r>
                  <a:rPr lang="nb-NO" sz="680" dirty="0"/>
                  <a:t>Lokalt distribusjonsnett (22-11 kV / 230-400 V)</a:t>
                </a:r>
              </a:p>
            </p:txBody>
          </p: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838F843A-A24B-4D1B-AA3C-2C9EDC949599}"/>
                </a:ext>
              </a:extLst>
            </p:cNvPr>
            <p:cNvSpPr/>
            <p:nvPr/>
          </p:nvSpPr>
          <p:spPr>
            <a:xfrm>
              <a:off x="789106" y="6199306"/>
              <a:ext cx="3055992" cy="50783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37999" indent="-137999" algn="ctr">
                <a:buFont typeface="Wingdings" panose="05000000000000000000" pitchFamily="2" charset="2"/>
                <a:buChar char="§"/>
              </a:pPr>
              <a:endParaRPr lang="nb-NO" dirty="0" err="1"/>
            </a:p>
          </p:txBody>
        </p:sp>
      </p:grpSp>
      <p:sp>
        <p:nvSpPr>
          <p:cNvPr id="168" name="Oval 167">
            <a:extLst>
              <a:ext uri="{FF2B5EF4-FFF2-40B4-BE49-F238E27FC236}">
                <a16:creationId xmlns:a16="http://schemas.microsoft.com/office/drawing/2014/main" id="{D896D2D3-A794-474F-8C74-641FEB2D5DD8}"/>
              </a:ext>
            </a:extLst>
          </p:cNvPr>
          <p:cNvSpPr/>
          <p:nvPr/>
        </p:nvSpPr>
        <p:spPr>
          <a:xfrm>
            <a:off x="1380742" y="4557756"/>
            <a:ext cx="850933" cy="41097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7" dirty="0">
                <a:solidFill>
                  <a:schemeClr val="bg1"/>
                </a:solidFill>
              </a:rPr>
              <a:t>+ 8-10</a:t>
            </a: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EDC63E57-11C0-45B9-A396-DE4E26C5DB73}"/>
              </a:ext>
            </a:extLst>
          </p:cNvPr>
          <p:cNvSpPr/>
          <p:nvPr/>
        </p:nvSpPr>
        <p:spPr>
          <a:xfrm>
            <a:off x="2707731" y="4498319"/>
            <a:ext cx="1101054" cy="529846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+ 10 - 15</a:t>
            </a: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06F47F8B-7CBA-4BA2-B693-013EC452A738}"/>
              </a:ext>
            </a:extLst>
          </p:cNvPr>
          <p:cNvSpPr/>
          <p:nvPr/>
        </p:nvSpPr>
        <p:spPr>
          <a:xfrm>
            <a:off x="4382727" y="4585790"/>
            <a:ext cx="602852" cy="35490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7" dirty="0">
                <a:solidFill>
                  <a:schemeClr val="bg1"/>
                </a:solidFill>
              </a:rPr>
              <a:t>+ 2-5</a:t>
            </a: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D013D956-C497-474F-A585-7450A8424C0C}"/>
              </a:ext>
            </a:extLst>
          </p:cNvPr>
          <p:cNvSpPr/>
          <p:nvPr/>
        </p:nvSpPr>
        <p:spPr>
          <a:xfrm>
            <a:off x="6080888" y="4528041"/>
            <a:ext cx="1000605" cy="47040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8" dirty="0">
                <a:solidFill>
                  <a:schemeClr val="bg1"/>
                </a:solidFill>
              </a:rPr>
              <a:t>+ 6-14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7ECAAE9E-031D-44D0-9BDE-3E4F6BB98C86}"/>
              </a:ext>
            </a:extLst>
          </p:cNvPr>
          <p:cNvSpPr/>
          <p:nvPr/>
        </p:nvSpPr>
        <p:spPr>
          <a:xfrm>
            <a:off x="7887583" y="4633316"/>
            <a:ext cx="491465" cy="25985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831" dirty="0">
                <a:solidFill>
                  <a:schemeClr val="bg1"/>
                </a:solidFill>
              </a:rPr>
              <a:t>0-2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8783EB89-34E3-41F2-9B2D-5FB7EF064D4B}"/>
              </a:ext>
            </a:extLst>
          </p:cNvPr>
          <p:cNvSpPr txBox="1"/>
          <p:nvPr/>
        </p:nvSpPr>
        <p:spPr>
          <a:xfrm>
            <a:off x="7697184" y="1038501"/>
            <a:ext cx="826750" cy="1859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nb-NO" sz="831" dirty="0"/>
              <a:t>Desentralisert produksjon</a:t>
            </a:r>
          </a:p>
        </p:txBody>
      </p:sp>
      <p:pic>
        <p:nvPicPr>
          <p:cNvPr id="175" name="Picture 174">
            <a:extLst>
              <a:ext uri="{FF2B5EF4-FFF2-40B4-BE49-F238E27FC236}">
                <a16:creationId xmlns:a16="http://schemas.microsoft.com/office/drawing/2014/main" id="{F5E84EE6-AAE5-4875-B68C-F2117FB04277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2802" y="1202337"/>
            <a:ext cx="760597" cy="760597"/>
          </a:xfrm>
          <a:prstGeom prst="rect">
            <a:avLst/>
          </a:prstGeom>
        </p:spPr>
      </p:pic>
      <p:sp>
        <p:nvSpPr>
          <p:cNvPr id="107" name="Text Placeholder 3">
            <a:extLst>
              <a:ext uri="{FF2B5EF4-FFF2-40B4-BE49-F238E27FC236}">
                <a16:creationId xmlns:a16="http://schemas.microsoft.com/office/drawing/2014/main" id="{B3487977-64D9-4E6D-B7F7-8BC06CDD0244}"/>
              </a:ext>
            </a:extLst>
          </p:cNvPr>
          <p:cNvSpPr txBox="1">
            <a:spLocks/>
          </p:cNvSpPr>
          <p:nvPr/>
        </p:nvSpPr>
        <p:spPr>
          <a:xfrm>
            <a:off x="475897" y="4983433"/>
            <a:ext cx="6865504" cy="197551"/>
          </a:xfrm>
          <a:prstGeom prst="rect">
            <a:avLst/>
          </a:prstGeom>
        </p:spPr>
        <p:txBody>
          <a:bodyPr vert="horz" lIns="69116" tIns="34558" rIns="69116" bIns="34558" rtlCol="0" anchor="ctr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nb-NO" sz="794" dirty="0"/>
              <a:t>Kilder: Statnett, NVE, THEMA </a:t>
            </a:r>
            <a:r>
              <a:rPr lang="nb-NO" sz="794" dirty="0" err="1"/>
              <a:t>Consulting</a:t>
            </a:r>
            <a:r>
              <a:rPr lang="nb-NO" sz="794" dirty="0"/>
              <a:t> Group – anslåtte endringer fra 2018 til 2030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4169FED-5C58-42C3-B0C9-EAE348AF1CFB}"/>
              </a:ext>
            </a:extLst>
          </p:cNvPr>
          <p:cNvSpPr/>
          <p:nvPr/>
        </p:nvSpPr>
        <p:spPr>
          <a:xfrm>
            <a:off x="7799528" y="82818"/>
            <a:ext cx="1282812" cy="49878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209" dirty="0">
              <a:solidFill>
                <a:schemeClr val="tx1"/>
              </a:solidFill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4C7A76FE-9343-40B3-9065-FC43C138E89E}"/>
              </a:ext>
            </a:extLst>
          </p:cNvPr>
          <p:cNvSpPr/>
          <p:nvPr/>
        </p:nvSpPr>
        <p:spPr>
          <a:xfrm>
            <a:off x="7846457" y="167368"/>
            <a:ext cx="488990" cy="272688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800" dirty="0" err="1">
                <a:solidFill>
                  <a:schemeClr val="bg1"/>
                </a:solidFill>
              </a:rPr>
              <a:t>TWh</a:t>
            </a:r>
            <a:endParaRPr lang="nb-NO" sz="800" dirty="0">
              <a:solidFill>
                <a:schemeClr val="bg1"/>
              </a:solidFill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CED3C99-E339-4223-B924-75D8C160306A}"/>
              </a:ext>
            </a:extLst>
          </p:cNvPr>
          <p:cNvSpPr txBox="1"/>
          <p:nvPr/>
        </p:nvSpPr>
        <p:spPr>
          <a:xfrm>
            <a:off x="8298153" y="106950"/>
            <a:ext cx="903109" cy="35028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nb-NO" sz="794"/>
              <a:t>Antatt økt forbruk i 2030</a:t>
            </a:r>
            <a:endParaRPr lang="nb-NO" sz="794" dirty="0"/>
          </a:p>
        </p:txBody>
      </p:sp>
    </p:spTree>
    <p:extLst>
      <p:ext uri="{BB962C8B-B14F-4D97-AF65-F5344CB8AC3E}">
        <p14:creationId xmlns:p14="http://schemas.microsoft.com/office/powerpoint/2010/main" val="193498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B5FD9E93-395A-4B2D-988C-48D959E8F4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415804"/>
              </p:ext>
            </p:extLst>
          </p:nvPr>
        </p:nvGraphicFramePr>
        <p:xfrm>
          <a:off x="1201" y="1746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B5FD9E93-395A-4B2D-988C-48D959E8F4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01" y="1746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A231D86-DD78-457A-B71A-98ACACD209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BDE895D5-3DF2-4847-A9B4-D5A1D7D84ACB}"/>
              </a:ext>
            </a:extLst>
          </p:cNvPr>
          <p:cNvSpPr/>
          <p:nvPr/>
        </p:nvSpPr>
        <p:spPr>
          <a:xfrm>
            <a:off x="2893376" y="1932980"/>
            <a:ext cx="3428959" cy="1660117"/>
          </a:xfrm>
          <a:prstGeom prst="triangle">
            <a:avLst/>
          </a:prstGeom>
          <a:noFill/>
          <a:ln w="285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209" dirty="0">
              <a:solidFill>
                <a:schemeClr val="tx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5140C1-F5CA-4A0A-AAA3-0D8184E40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596" y="250550"/>
            <a:ext cx="8410036" cy="738664"/>
          </a:xfrm>
        </p:spPr>
        <p:txBody>
          <a:bodyPr/>
          <a:lstStyle/>
          <a:p>
            <a:r>
              <a:rPr lang="nb-NO" sz="2400"/>
              <a:t>Strømnettet skal gi sikker strømforsyning, bidra til det </a:t>
            </a:r>
            <a:r>
              <a:rPr lang="nb-NO" sz="2400" dirty="0"/>
              <a:t>grønne skiftet og er viktig for all verdiskaping. </a:t>
            </a:r>
            <a:endParaRPr lang="en-GB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0280E7-CFCB-4B76-892E-1A1740E67AF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B4D9C7-35CD-46C8-BE1C-03E4256D61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7842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6BA06D-219D-4DB1-961A-7AFCA7FAE0C4}" type="slidenum">
              <a:rPr lang="nb-NO" smtClean="0"/>
              <a:pPr/>
              <a:t>5</a:t>
            </a:fld>
            <a:endParaRPr lang="nb-NO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7A8BAB-9482-4929-A629-A14454C08B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6DE59D-06CE-4FD8-B90A-5CFEAFD9C3B3}"/>
              </a:ext>
            </a:extLst>
          </p:cNvPr>
          <p:cNvSpPr/>
          <p:nvPr/>
        </p:nvSpPr>
        <p:spPr>
          <a:xfrm>
            <a:off x="3794679" y="2831105"/>
            <a:ext cx="1629858" cy="576014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29" dirty="0"/>
              <a:t>Nettselskapet</a:t>
            </a:r>
            <a:endParaRPr lang="nb-NO" sz="1209" dirty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F9B7F0A-E27A-440D-B60C-FE5033B5E51E}"/>
              </a:ext>
            </a:extLst>
          </p:cNvPr>
          <p:cNvSpPr/>
          <p:nvPr/>
        </p:nvSpPr>
        <p:spPr>
          <a:xfrm>
            <a:off x="3970508" y="1361551"/>
            <a:ext cx="1224492" cy="108843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9" dirty="0">
                <a:solidFill>
                  <a:schemeClr val="tx1"/>
                </a:solidFill>
              </a:rPr>
              <a:t>Forsynings-sikkerhet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ACC1269-176B-49DA-97E6-279C102535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78860" y="1932980"/>
            <a:ext cx="407788" cy="407788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5980BA37-6330-4A81-96FF-68895FF09251}"/>
              </a:ext>
            </a:extLst>
          </p:cNvPr>
          <p:cNvGrpSpPr/>
          <p:nvPr/>
        </p:nvGrpSpPr>
        <p:grpSpPr>
          <a:xfrm>
            <a:off x="2250865" y="2994388"/>
            <a:ext cx="1224492" cy="1088438"/>
            <a:chOff x="2315938" y="2899347"/>
            <a:chExt cx="1620000" cy="144000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E9BCFE5-9C99-4113-A81E-37FE342DE85D}"/>
                </a:ext>
              </a:extLst>
            </p:cNvPr>
            <p:cNvSpPr/>
            <p:nvPr/>
          </p:nvSpPr>
          <p:spPr>
            <a:xfrm>
              <a:off x="2315938" y="2899347"/>
              <a:ext cx="162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9" dirty="0">
                  <a:solidFill>
                    <a:schemeClr val="tx1"/>
                  </a:solidFill>
                </a:rPr>
                <a:t>Klima og miljø</a:t>
              </a: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316A19A-D596-4DCD-BF40-EC01780D16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8522" t="10310" r="14473" b="31813"/>
            <a:stretch/>
          </p:blipFill>
          <p:spPr>
            <a:xfrm>
              <a:off x="2868968" y="3619347"/>
              <a:ext cx="513940" cy="524376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B733E9D-4337-4418-BBF6-FFD17CCEF876}"/>
              </a:ext>
            </a:extLst>
          </p:cNvPr>
          <p:cNvGrpSpPr/>
          <p:nvPr/>
        </p:nvGrpSpPr>
        <p:grpSpPr>
          <a:xfrm>
            <a:off x="5723628" y="2999891"/>
            <a:ext cx="1224492" cy="1088438"/>
            <a:chOff x="7392144" y="2899347"/>
            <a:chExt cx="1620000" cy="14400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F96B155-A876-45CF-8E89-B335A3E45874}"/>
                </a:ext>
              </a:extLst>
            </p:cNvPr>
            <p:cNvSpPr/>
            <p:nvPr/>
          </p:nvSpPr>
          <p:spPr>
            <a:xfrm>
              <a:off x="7392144" y="2899347"/>
              <a:ext cx="1620000" cy="144000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116" tIns="34558" rIns="69116" bIns="3455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9" dirty="0">
                  <a:solidFill>
                    <a:schemeClr val="tx1"/>
                  </a:solidFill>
                </a:rPr>
                <a:t>Verdi-</a:t>
              </a:r>
              <a:r>
                <a:rPr lang="nb-NO" sz="1209" dirty="0" err="1">
                  <a:solidFill>
                    <a:schemeClr val="tx1"/>
                  </a:solidFill>
                </a:rPr>
                <a:t>skaping</a:t>
              </a:r>
              <a:endParaRPr lang="nb-NO" sz="1209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2" descr="http://www.dominic.de/img/telco-cost-icon.png">
              <a:extLst>
                <a:ext uri="{FF2B5EF4-FFF2-40B4-BE49-F238E27FC236}">
                  <a16:creationId xmlns:a16="http://schemas.microsoft.com/office/drawing/2014/main" id="{B26C3F0D-082A-4C56-A385-09C6C24BC9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0231" y="3642862"/>
              <a:ext cx="543825" cy="5438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Rectangular Callout 11">
            <a:extLst>
              <a:ext uri="{FF2B5EF4-FFF2-40B4-BE49-F238E27FC236}">
                <a16:creationId xmlns:a16="http://schemas.microsoft.com/office/drawing/2014/main" id="{38EEE2C4-6A80-4AB3-A927-D047C126A85D}"/>
              </a:ext>
            </a:extLst>
          </p:cNvPr>
          <p:cNvSpPr/>
          <p:nvPr/>
        </p:nvSpPr>
        <p:spPr>
          <a:xfrm>
            <a:off x="451475" y="1415703"/>
            <a:ext cx="2978257" cy="743537"/>
          </a:xfrm>
          <a:prstGeom prst="wedgeRectCallout">
            <a:avLst>
              <a:gd name="adj1" fmla="val 63525"/>
              <a:gd name="adj2" fmla="val 25466"/>
            </a:avLst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r>
              <a:rPr lang="nb-NO" sz="1058" i="1" dirty="0"/>
              <a:t>Strømforsyningen er en </a:t>
            </a:r>
            <a:r>
              <a:rPr lang="nb-NO" sz="1058" b="1" i="1" dirty="0"/>
              <a:t>samfunnskritisk infrastruktur. </a:t>
            </a:r>
            <a:r>
              <a:rPr lang="nb-NO" sz="1058" i="1" dirty="0"/>
              <a:t>Uten nettet stopper husholdningene, all infrastruktur og </a:t>
            </a:r>
            <a:r>
              <a:rPr lang="nb-NO" sz="1058" i="1" dirty="0" err="1"/>
              <a:t>næringvirksomhet</a:t>
            </a:r>
            <a:r>
              <a:rPr lang="nb-NO" sz="1058" i="1" dirty="0"/>
              <a:t> opp.</a:t>
            </a:r>
          </a:p>
        </p:txBody>
      </p:sp>
      <p:sp>
        <p:nvSpPr>
          <p:cNvPr id="34" name="Rectangular Callout 13">
            <a:extLst>
              <a:ext uri="{FF2B5EF4-FFF2-40B4-BE49-F238E27FC236}">
                <a16:creationId xmlns:a16="http://schemas.microsoft.com/office/drawing/2014/main" id="{1FBEC0C7-315C-4AD8-AFB8-C8A53465E45B}"/>
              </a:ext>
            </a:extLst>
          </p:cNvPr>
          <p:cNvSpPr/>
          <p:nvPr/>
        </p:nvSpPr>
        <p:spPr>
          <a:xfrm>
            <a:off x="467072" y="2701191"/>
            <a:ext cx="1489217" cy="1557542"/>
          </a:xfrm>
          <a:prstGeom prst="wedgeRectCallout">
            <a:avLst>
              <a:gd name="adj1" fmla="val 68703"/>
              <a:gd name="adj2" fmla="val 11465"/>
            </a:avLst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r>
              <a:rPr lang="nb-NO" sz="1058" b="1" i="1" dirty="0"/>
              <a:t>Det grønne skiftet krever et sterkt nett</a:t>
            </a:r>
            <a:r>
              <a:rPr lang="nb-NO" sz="1058" i="1" dirty="0"/>
              <a:t>:</a:t>
            </a:r>
          </a:p>
          <a:p>
            <a:pPr marL="137999" indent="-137999">
              <a:buFont typeface="Arial" panose="020B0604020202020204" pitchFamily="34" charset="0"/>
              <a:buChar char="•"/>
            </a:pPr>
            <a:r>
              <a:rPr lang="nb-NO" sz="1058" i="1" dirty="0"/>
              <a:t>Elektrifisering av transport (vei og sjø)</a:t>
            </a:r>
          </a:p>
          <a:p>
            <a:pPr marL="137999" indent="-137999">
              <a:buFont typeface="Arial" panose="020B0604020202020204" pitchFamily="34" charset="0"/>
              <a:buChar char="•"/>
            </a:pPr>
            <a:r>
              <a:rPr lang="nb-NO" sz="1058" i="1" dirty="0"/>
              <a:t>Elektrifisering av industri</a:t>
            </a:r>
          </a:p>
          <a:p>
            <a:pPr marL="137999" indent="-137999">
              <a:buFont typeface="Arial" panose="020B0604020202020204" pitchFamily="34" charset="0"/>
              <a:buChar char="•"/>
            </a:pPr>
            <a:r>
              <a:rPr lang="nb-NO" sz="1058" i="1" dirty="0"/>
              <a:t>Ny fornybar kraftproduksjon</a:t>
            </a:r>
          </a:p>
        </p:txBody>
      </p:sp>
      <p:sp>
        <p:nvSpPr>
          <p:cNvPr id="35" name="Rectangular Callout 12">
            <a:extLst>
              <a:ext uri="{FF2B5EF4-FFF2-40B4-BE49-F238E27FC236}">
                <a16:creationId xmlns:a16="http://schemas.microsoft.com/office/drawing/2014/main" id="{65443392-8BD7-4B07-A5A3-CAC7B3362227}"/>
              </a:ext>
            </a:extLst>
          </p:cNvPr>
          <p:cNvSpPr/>
          <p:nvPr/>
        </p:nvSpPr>
        <p:spPr>
          <a:xfrm>
            <a:off x="7271464" y="2058895"/>
            <a:ext cx="1587168" cy="2208746"/>
          </a:xfrm>
          <a:prstGeom prst="wedgeRectCallout">
            <a:avLst>
              <a:gd name="adj1" fmla="val -67715"/>
              <a:gd name="adj2" fmla="val 17158"/>
            </a:avLst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r>
              <a:rPr lang="nb-NO" sz="1058" b="1" i="1" dirty="0"/>
              <a:t>Ny næring </a:t>
            </a:r>
            <a:r>
              <a:rPr lang="nb-NO" sz="1058" i="1" dirty="0"/>
              <a:t>har behov for et sterkt nett:</a:t>
            </a:r>
          </a:p>
          <a:p>
            <a:pPr marL="137999" indent="-137999">
              <a:buFont typeface="Arial" panose="020B0604020202020204" pitchFamily="34" charset="0"/>
              <a:buChar char="•"/>
            </a:pPr>
            <a:r>
              <a:rPr lang="nb-NO" sz="1058" i="1" dirty="0"/>
              <a:t>Datasenter</a:t>
            </a:r>
          </a:p>
          <a:p>
            <a:pPr marL="137999" indent="-137999">
              <a:buFont typeface="Arial" panose="020B0604020202020204" pitchFamily="34" charset="0"/>
              <a:buChar char="•"/>
            </a:pPr>
            <a:r>
              <a:rPr lang="nb-NO" sz="1058" i="1" dirty="0"/>
              <a:t>Ny industri</a:t>
            </a:r>
          </a:p>
          <a:p>
            <a:pPr marL="137999" indent="-137999">
              <a:buFont typeface="Arial" panose="020B0604020202020204" pitchFamily="34" charset="0"/>
              <a:buChar char="•"/>
            </a:pPr>
            <a:r>
              <a:rPr lang="nb-NO" sz="1058" i="1" dirty="0"/>
              <a:t>Ny fornybar kraftproduksjon</a:t>
            </a:r>
          </a:p>
          <a:p>
            <a:endParaRPr lang="nb-NO" sz="1058" i="1" dirty="0"/>
          </a:p>
          <a:p>
            <a:r>
              <a:rPr lang="nb-NO" sz="1058" i="1" dirty="0"/>
              <a:t>Det er også viktig at kraftforsyningen skjer med </a:t>
            </a:r>
            <a:r>
              <a:rPr lang="nb-NO" sz="1058" b="1" i="1" dirty="0"/>
              <a:t>høy kvalitet til en lav kostnad</a:t>
            </a:r>
            <a:r>
              <a:rPr lang="nb-NO" sz="1058" i="1" dirty="0"/>
              <a:t>! Lavest mulig nettleie er et viktig mål.</a:t>
            </a:r>
          </a:p>
        </p:txBody>
      </p:sp>
    </p:spTree>
    <p:extLst>
      <p:ext uri="{BB962C8B-B14F-4D97-AF65-F5344CB8AC3E}">
        <p14:creationId xmlns:p14="http://schemas.microsoft.com/office/powerpoint/2010/main" val="1542306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28944E-C96E-46A7-B5FD-8A916C486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575304"/>
            <a:ext cx="7775258" cy="492443"/>
          </a:xfrm>
        </p:spPr>
        <p:txBody>
          <a:bodyPr/>
          <a:lstStyle/>
          <a:p>
            <a:r>
              <a:rPr lang="nb-NO" dirty="0"/>
              <a:t>Agenda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31D4D73-03CC-4C8A-A53B-3C0DD83B2F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1409" y="1542632"/>
            <a:ext cx="5836018" cy="282061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dirty="0"/>
              <a:t>Om nettselskapets rolle</a:t>
            </a:r>
          </a:p>
          <a:p>
            <a:pPr>
              <a:lnSpc>
                <a:spcPct val="150000"/>
              </a:lnSpc>
            </a:pPr>
            <a:r>
              <a:rPr lang="nb-NO" dirty="0"/>
              <a:t>Om strøm og strømregningen</a:t>
            </a:r>
          </a:p>
          <a:p>
            <a:pPr>
              <a:lnSpc>
                <a:spcPct val="150000"/>
              </a:lnSpc>
            </a:pPr>
            <a:r>
              <a:rPr lang="nb-NO" dirty="0"/>
              <a:t>Utforming av nettleien</a:t>
            </a:r>
          </a:p>
          <a:p>
            <a:pPr>
              <a:lnSpc>
                <a:spcPct val="150000"/>
              </a:lnSpc>
            </a:pPr>
            <a:r>
              <a:rPr lang="nb-NO" dirty="0"/>
              <a:t>Hva påvirker nettleien?</a:t>
            </a:r>
          </a:p>
          <a:p>
            <a:pPr marL="0" indent="0">
              <a:buNone/>
            </a:pPr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89EE49A0-FA4E-4183-A98A-F8F4C752EE59}"/>
              </a:ext>
            </a:extLst>
          </p:cNvPr>
          <p:cNvSpPr/>
          <p:nvPr/>
        </p:nvSpPr>
        <p:spPr>
          <a:xfrm>
            <a:off x="793832" y="2006780"/>
            <a:ext cx="4059694" cy="58560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3669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07DEDE88-A225-493D-8E33-894FA9118C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81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3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8295E3B-7652-40D3-8659-5BCAC552D7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543" y="175099"/>
            <a:ext cx="8709869" cy="369332"/>
          </a:xfrm>
        </p:spPr>
        <p:txBody>
          <a:bodyPr/>
          <a:lstStyle/>
          <a:p>
            <a:r>
              <a:rPr lang="nb-NO" sz="2400" dirty="0"/>
              <a:t>Nettleie er én av tre komponenter i strømregningen</a:t>
            </a: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9A05346C-9A17-4401-AA6B-C2BBCDDDA19C}"/>
              </a:ext>
            </a:extLst>
          </p:cNvPr>
          <p:cNvGrpSpPr/>
          <p:nvPr/>
        </p:nvGrpSpPr>
        <p:grpSpPr>
          <a:xfrm>
            <a:off x="584244" y="1147351"/>
            <a:ext cx="8269670" cy="3342204"/>
            <a:chOff x="584244" y="1073610"/>
            <a:chExt cx="8269670" cy="3342204"/>
          </a:xfrm>
        </p:grpSpPr>
        <p:sp>
          <p:nvSpPr>
            <p:cNvPr id="7" name="Rectangle 6"/>
            <p:cNvSpPr/>
            <p:nvPr/>
          </p:nvSpPr>
          <p:spPr>
            <a:xfrm>
              <a:off x="584244" y="1073610"/>
              <a:ext cx="978683" cy="978683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359" b="1" dirty="0">
                  <a:solidFill>
                    <a:schemeClr val="bg1"/>
                  </a:solidFill>
                </a:rPr>
                <a:t>Strøm-leveranse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584244" y="2269778"/>
              <a:ext cx="978683" cy="978683"/>
            </a:xfrm>
            <a:prstGeom prst="rect">
              <a:avLst/>
            </a:prstGeom>
            <a:solidFill>
              <a:schemeClr val="accent2"/>
            </a:solidFill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359" b="1" dirty="0"/>
                <a:t>Nettleie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584244" y="3411575"/>
              <a:ext cx="978683" cy="978683"/>
            </a:xfrm>
            <a:prstGeom prst="rect">
              <a:avLst/>
            </a:prstGeom>
            <a:solidFill>
              <a:schemeClr val="accent3"/>
            </a:solidFill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359" b="1" dirty="0">
                  <a:solidFill>
                    <a:schemeClr val="bg1"/>
                  </a:solidFill>
                </a:rPr>
                <a:t>Offentlige avgifter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71670" y="3411575"/>
              <a:ext cx="6742040" cy="978683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671670" y="2269778"/>
              <a:ext cx="6742040" cy="978683"/>
            </a:xfrm>
            <a:prstGeom prst="rect">
              <a:avLst/>
            </a:prstGeom>
            <a:noFill/>
            <a:ln w="12700">
              <a:solidFill>
                <a:schemeClr val="tx2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671670" y="1073610"/>
              <a:ext cx="6742040" cy="978683"/>
            </a:xfrm>
            <a:prstGeom prst="rect">
              <a:avLst/>
            </a:prstGeom>
            <a:noFill/>
            <a:ln w="12700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/>
            </a:p>
          </p:txBody>
        </p:sp>
        <p:sp>
          <p:nvSpPr>
            <p:cNvPr id="10" name="Curved Left Arrow 9"/>
            <p:cNvSpPr/>
            <p:nvPr/>
          </p:nvSpPr>
          <p:spPr>
            <a:xfrm>
              <a:off x="8522451" y="1606453"/>
              <a:ext cx="331462" cy="1152667"/>
            </a:xfrm>
            <a:prstGeom prst="curvedLeftArrow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Plus 17"/>
            <p:cNvSpPr/>
            <p:nvPr/>
          </p:nvSpPr>
          <p:spPr>
            <a:xfrm>
              <a:off x="8522452" y="2062067"/>
              <a:ext cx="220102" cy="271856"/>
            </a:xfrm>
            <a:prstGeom prst="mathPlus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 err="1"/>
            </a:p>
          </p:txBody>
        </p:sp>
        <p:sp>
          <p:nvSpPr>
            <p:cNvPr id="19" name="Curved Left Arrow 18"/>
            <p:cNvSpPr/>
            <p:nvPr/>
          </p:nvSpPr>
          <p:spPr>
            <a:xfrm>
              <a:off x="8522452" y="3051443"/>
              <a:ext cx="331462" cy="1164568"/>
            </a:xfrm>
            <a:prstGeom prst="curvedLeftArrow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Plus 19"/>
            <p:cNvSpPr/>
            <p:nvPr/>
          </p:nvSpPr>
          <p:spPr>
            <a:xfrm>
              <a:off x="8524472" y="3495464"/>
              <a:ext cx="220102" cy="271856"/>
            </a:xfrm>
            <a:prstGeom prst="mathPlus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9" dirty="0" err="1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613306" y="1733699"/>
              <a:ext cx="1910047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/>
                <a:t>Elektrisitetsproduksjon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516301" y="1733699"/>
              <a:ext cx="2127532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/>
                <a:t>Kjøp og salg av elektrisitet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802018" y="1727089"/>
              <a:ext cx="2611691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/>
                <a:t>Markedsføring og kundeservice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172857" y="2982134"/>
              <a:ext cx="1910047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/>
                <a:t>Transport av elektrisitet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5599069" y="2280239"/>
              <a:ext cx="598793" cy="676805"/>
              <a:chOff x="6292016" y="2853411"/>
              <a:chExt cx="793026" cy="896344"/>
            </a:xfrm>
          </p:grpSpPr>
          <p:pic>
            <p:nvPicPr>
              <p:cNvPr id="32" name="Picture 6" descr="https://cdn0.iconfinder.com/data/icons/huge-business-icons/512/Excavator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89070" y="3053782"/>
                <a:ext cx="695972" cy="6959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" name="Rectangle 32"/>
              <p:cNvSpPr/>
              <p:nvPr/>
            </p:nvSpPr>
            <p:spPr>
              <a:xfrm>
                <a:off x="6292016" y="2853411"/>
                <a:ext cx="695972" cy="2520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9044" tIns="34522" rIns="69044" bIns="34522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nb-NO" sz="604" b="1" dirty="0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4492225" y="2982705"/>
              <a:ext cx="3707737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/>
                <a:t>Utbygging, drift og vedlikehold av strømnettet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889156" y="4137404"/>
              <a:ext cx="869940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/>
                <a:t>Elavgift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979384" y="4137404"/>
              <a:ext cx="1359282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/>
                <a:t>Merverdiavgift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054483" y="4137404"/>
              <a:ext cx="1902995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209" b="1" dirty="0" err="1"/>
                <a:t>Enova</a:t>
              </a:r>
              <a:r>
                <a:rPr lang="nb-NO" sz="1209" b="1" dirty="0"/>
                <a:t>-avgift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286784" y="4137404"/>
              <a:ext cx="1119133" cy="278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9" b="1" dirty="0" err="1"/>
                <a:t>Elsertifikater</a:t>
              </a:r>
              <a:endParaRPr lang="nb-NO" sz="1209" b="1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558128" y="3687291"/>
              <a:ext cx="964120" cy="301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359" b="1" dirty="0">
                  <a:solidFill>
                    <a:srgbClr val="C00000"/>
                  </a:solidFill>
                </a:rPr>
                <a:t>25 %</a:t>
              </a: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6323" y="2375389"/>
              <a:ext cx="620942" cy="620942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1B291694-1DEB-4798-A228-78BA0045C4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72857" y="1238551"/>
            <a:ext cx="488267" cy="57826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8EE3C94E-17C3-40BB-9190-1CA1FA59F3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24887" y="1300191"/>
            <a:ext cx="484489" cy="47981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3DBF8FE-D6B3-45EF-8447-6C9E1031402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67097" y="1247394"/>
            <a:ext cx="589553" cy="5746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50AADB3-D260-4375-B17C-9892000D622C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22548"/>
          <a:stretch/>
        </p:blipFill>
        <p:spPr>
          <a:xfrm>
            <a:off x="6739397" y="1254975"/>
            <a:ext cx="631144" cy="6171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C1C13F2-5CFD-41E8-B59A-9760AED58EE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71144" y="2490465"/>
            <a:ext cx="525510" cy="5796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E1F6B2B-74DB-4C00-9EF8-47E65ED199C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14395" y="3634771"/>
            <a:ext cx="488156" cy="58040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29C6783-102F-4719-B10B-C0EA625CCDB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611095" y="3686059"/>
            <a:ext cx="656002" cy="52978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ECA3F6B-BAF6-47B2-994C-2EACF02A6D3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85365" y="3606652"/>
            <a:ext cx="656002" cy="68859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C37F84F-D564-413D-9B31-77FD91DB00A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599069" y="3606652"/>
            <a:ext cx="495095" cy="63251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84794C1D-2FE1-4DC8-8293-99D607744C2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694058" y="1276178"/>
            <a:ext cx="605626" cy="50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0569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F066D9C-96B5-4139-8EBD-28B729E426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57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2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F066D9C-96B5-4139-8EBD-28B729E42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885075B-7B4D-4390-A496-D41210D14B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0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11267" name="Rectangle 4"/>
          <p:cNvSpPr>
            <a:spLocks noChangeArrowheads="1"/>
          </p:cNvSpPr>
          <p:nvPr/>
        </p:nvSpPr>
        <p:spPr bwMode="auto">
          <a:xfrm>
            <a:off x="1151930" y="1288985"/>
            <a:ext cx="184731" cy="30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F2971A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2D426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nb-NO" altLang="nb-NO" sz="1361"/>
          </a:p>
        </p:txBody>
      </p:sp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742541" y="1248048"/>
            <a:ext cx="2067473" cy="46166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nb-NO" sz="1200" b="1" dirty="0">
                <a:latin typeface="Cambria"/>
                <a:ea typeface="ヒラギノ角ゴ Pro W3" charset="-128"/>
                <a:cs typeface="Cambria"/>
              </a:rPr>
              <a:t>Nettselskapet:</a:t>
            </a:r>
            <a:br>
              <a:rPr lang="nb-NO" sz="1200">
                <a:latin typeface="Cambria"/>
                <a:ea typeface="ヒラギノ角ゴ Pro W3" charset="-128"/>
                <a:cs typeface="Cambria"/>
              </a:rPr>
            </a:br>
            <a:r>
              <a:rPr lang="nb-NO" sz="1200">
                <a:latin typeface="Cambria"/>
                <a:ea typeface="ヒラギノ角ゴ Pro W3" charset="-128"/>
                <a:cs typeface="Cambria"/>
              </a:rPr>
              <a:t>29,5 </a:t>
            </a:r>
            <a:r>
              <a:rPr lang="nb-NO" sz="1200" dirty="0">
                <a:latin typeface="Cambria"/>
                <a:ea typeface="ヒラギノ角ゴ Pro W3" charset="-128"/>
                <a:cs typeface="Cambria"/>
              </a:rPr>
              <a:t>øre/kWh – </a:t>
            </a:r>
            <a:r>
              <a:rPr lang="nb-NO" sz="1200">
                <a:latin typeface="Cambria"/>
                <a:ea typeface="ヒラギノ角ゴ Pro W3" charset="-128"/>
                <a:cs typeface="Cambria"/>
              </a:rPr>
              <a:t>kr 5970,-</a:t>
            </a:r>
            <a:endParaRPr lang="nb-NO" sz="1200" dirty="0">
              <a:latin typeface="Cambria"/>
              <a:ea typeface="ヒラギノ角ゴ Pro W3" charset="-128"/>
              <a:cs typeface="Cambria"/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1412314" y="4104296"/>
            <a:ext cx="2231864" cy="46166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nb-NO" sz="1200" b="1" dirty="0">
                <a:latin typeface="Cambria"/>
                <a:ea typeface="ヒラギノ角ゴ Pro W3" charset="-128"/>
                <a:cs typeface="Cambria"/>
              </a:rPr>
              <a:t>Kraftleverandør:</a:t>
            </a:r>
            <a:br>
              <a:rPr lang="nb-NO" sz="1200">
                <a:latin typeface="Cambria"/>
                <a:ea typeface="ヒラギノ角ゴ Pro W3" charset="-128"/>
                <a:cs typeface="Cambria"/>
              </a:rPr>
            </a:br>
            <a:r>
              <a:rPr lang="nb-NO" sz="1200">
                <a:latin typeface="Cambria"/>
                <a:ea typeface="ヒラギノ角ゴ Pro W3" charset="-128"/>
                <a:cs typeface="Cambria"/>
              </a:rPr>
              <a:t>26,5 </a:t>
            </a:r>
            <a:r>
              <a:rPr lang="nb-NO" sz="1200" dirty="0">
                <a:latin typeface="Cambria"/>
                <a:ea typeface="ヒラギノ角ゴ Pro W3" charset="-128"/>
                <a:cs typeface="Cambria"/>
              </a:rPr>
              <a:t>øre/kWh – </a:t>
            </a:r>
            <a:r>
              <a:rPr lang="nb-NO" sz="1200">
                <a:latin typeface="Cambria"/>
                <a:ea typeface="ヒラギノ角ゴ Pro W3" charset="-128"/>
                <a:cs typeface="Cambria"/>
              </a:rPr>
              <a:t>kr 5300</a:t>
            </a:r>
            <a:endParaRPr lang="nb-NO" sz="1200" dirty="0">
              <a:latin typeface="Cambria"/>
              <a:ea typeface="ヒラギノ角ゴ Pro W3" charset="-128"/>
              <a:cs typeface="Cambria"/>
            </a:endParaRPr>
          </a:p>
        </p:txBody>
      </p:sp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3424642" y="1166507"/>
            <a:ext cx="2067473" cy="46166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nb-NO" sz="1200" b="1" dirty="0">
                <a:solidFill>
                  <a:schemeClr val="bg1"/>
                </a:solidFill>
                <a:latin typeface="Cambria"/>
                <a:ea typeface="ヒラギノ角ゴ Pro W3" charset="-128"/>
                <a:cs typeface="Cambria"/>
              </a:rPr>
              <a:t>Avgifter:</a:t>
            </a:r>
            <a:br>
              <a:rPr lang="nb-NO" sz="1200" dirty="0">
                <a:solidFill>
                  <a:schemeClr val="bg1"/>
                </a:solidFill>
                <a:latin typeface="Cambria"/>
                <a:ea typeface="ヒラギノ角ゴ Pro W3" charset="-128"/>
                <a:cs typeface="Cambria"/>
              </a:rPr>
            </a:br>
            <a:r>
              <a:rPr lang="nb-NO" sz="1200" dirty="0">
                <a:solidFill>
                  <a:schemeClr val="bg1"/>
                </a:solidFill>
                <a:latin typeface="Cambria"/>
                <a:ea typeface="ヒラギノ角ゴ Pro W3" charset="-128"/>
                <a:cs typeface="Cambria"/>
              </a:rPr>
              <a:t>35,9 øre/kWh - </a:t>
            </a:r>
            <a:r>
              <a:rPr lang="nb-NO" sz="1200">
                <a:solidFill>
                  <a:schemeClr val="bg1"/>
                </a:solidFill>
                <a:latin typeface="Cambria"/>
                <a:ea typeface="ヒラギノ角ゴ Pro W3" charset="-128"/>
                <a:cs typeface="Cambria"/>
              </a:rPr>
              <a:t>kr 7185,-</a:t>
            </a:r>
            <a:endParaRPr lang="nb-NO" sz="1200" dirty="0">
              <a:solidFill>
                <a:schemeClr val="bg1"/>
              </a:solidFill>
              <a:latin typeface="Cambria"/>
              <a:ea typeface="ヒラギノ角ゴ Pro W3" charset="-128"/>
              <a:cs typeface="Cambria"/>
            </a:endParaRPr>
          </a:p>
        </p:txBody>
      </p:sp>
      <p:cxnSp>
        <p:nvCxnSpPr>
          <p:cNvPr id="11271" name="AutoShape 8"/>
          <p:cNvCxnSpPr>
            <a:cxnSpLocks noChangeShapeType="1"/>
          </p:cNvCxnSpPr>
          <p:nvPr/>
        </p:nvCxnSpPr>
        <p:spPr bwMode="auto">
          <a:xfrm>
            <a:off x="2125874" y="1846090"/>
            <a:ext cx="188389" cy="415175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2" name="AutoShape 9"/>
          <p:cNvCxnSpPr>
            <a:cxnSpLocks noChangeShapeType="1"/>
            <a:stCxn id="3078" idx="0"/>
          </p:cNvCxnSpPr>
          <p:nvPr/>
        </p:nvCxnSpPr>
        <p:spPr bwMode="auto">
          <a:xfrm flipV="1">
            <a:off x="2528246" y="3833114"/>
            <a:ext cx="167990" cy="271182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3" name="AutoShape 10"/>
          <p:cNvCxnSpPr>
            <a:cxnSpLocks noChangeShapeType="1"/>
          </p:cNvCxnSpPr>
          <p:nvPr/>
        </p:nvCxnSpPr>
        <p:spPr bwMode="auto">
          <a:xfrm flipH="1">
            <a:off x="3885209" y="1726044"/>
            <a:ext cx="297144" cy="529543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1274" name="Picture 14" descr="2007-08-17"/>
          <p:cNvPicPr>
            <a:picLocks noGrp="1" noChangeAspect="1" noChangeArrowheads="1"/>
          </p:cNvPicPr>
          <p:nvPr>
            <p:ph sz="half" idx="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25431" y="1994225"/>
            <a:ext cx="3265000" cy="2354256"/>
          </a:xfrm>
        </p:spPr>
      </p:pic>
      <p:sp>
        <p:nvSpPr>
          <p:cNvPr id="11275" name="Text Box 15"/>
          <p:cNvSpPr txBox="1">
            <a:spLocks noChangeArrowheads="1"/>
          </p:cNvSpPr>
          <p:nvPr/>
        </p:nvSpPr>
        <p:spPr bwMode="auto">
          <a:xfrm rot="273961">
            <a:off x="5041755" y="2171956"/>
            <a:ext cx="2311059" cy="3250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2971A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2D426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nb-NO" altLang="nb-NO" sz="1512" b="1" dirty="0"/>
              <a:t>STRØMREGNINGEN</a:t>
            </a:r>
          </a:p>
        </p:txBody>
      </p:sp>
      <p:sp>
        <p:nvSpPr>
          <p:cNvPr id="11276" name="Text Box 16"/>
          <p:cNvSpPr txBox="1">
            <a:spLocks noChangeArrowheads="1"/>
          </p:cNvSpPr>
          <p:nvPr/>
        </p:nvSpPr>
        <p:spPr bwMode="auto">
          <a:xfrm rot="273961">
            <a:off x="5291678" y="3117787"/>
            <a:ext cx="953942" cy="23192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2971A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2D426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nb-NO" altLang="nb-NO" sz="907" b="1"/>
              <a:t>92 </a:t>
            </a:r>
            <a:r>
              <a:rPr lang="nb-NO" altLang="nb-NO" sz="907" b="1" dirty="0"/>
              <a:t>øre/kWh</a:t>
            </a:r>
          </a:p>
        </p:txBody>
      </p:sp>
      <p:sp>
        <p:nvSpPr>
          <p:cNvPr id="11277" name="Text Box 17"/>
          <p:cNvSpPr txBox="1">
            <a:spLocks noChangeArrowheads="1"/>
          </p:cNvSpPr>
          <p:nvPr/>
        </p:nvSpPr>
        <p:spPr bwMode="auto">
          <a:xfrm rot="273961">
            <a:off x="6014033" y="3940936"/>
            <a:ext cx="955142" cy="23192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2971A"/>
              </a:buClr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2D426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nb-NO" altLang="nb-NO" sz="907" b="1"/>
              <a:t>18 455,-</a:t>
            </a:r>
            <a:endParaRPr lang="nb-NO" altLang="nb-NO" sz="907" b="1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452" y="1131784"/>
            <a:ext cx="594260" cy="594260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7D8DE078-E8B1-4F24-A87C-CC1360FA3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80" y="139307"/>
            <a:ext cx="9697697" cy="677108"/>
          </a:xfrm>
        </p:spPr>
        <p:txBody>
          <a:bodyPr/>
          <a:lstStyle/>
          <a:p>
            <a:r>
              <a:rPr lang="nb-NO" sz="2400" dirty="0"/>
              <a:t>Nettleien utgjør i snitt rundt 1/3 av strømregningen</a:t>
            </a:r>
            <a:br>
              <a:rPr lang="nb-NO" sz="2400" dirty="0"/>
            </a:br>
            <a:r>
              <a:rPr lang="nb-NO" sz="2000" dirty="0"/>
              <a:t>- regneeksempel for en husholdning med forbruk på 20 000 KWh</a:t>
            </a:r>
            <a:endParaRPr lang="nb-NO" sz="2900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AE29414E-6514-437F-8392-6BB9702F6D02}"/>
              </a:ext>
            </a:extLst>
          </p:cNvPr>
          <p:cNvSpPr txBox="1"/>
          <p:nvPr/>
        </p:nvSpPr>
        <p:spPr>
          <a:xfrm>
            <a:off x="281640" y="4785775"/>
            <a:ext cx="68811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>
                <a:solidFill>
                  <a:schemeClr val="tx2"/>
                </a:solidFill>
              </a:rPr>
              <a:t>Kilde</a:t>
            </a:r>
            <a:r>
              <a:rPr lang="nb-NO" sz="1050">
                <a:solidFill>
                  <a:schemeClr val="tx2"/>
                </a:solidFill>
              </a:rPr>
              <a:t>: Kraftpris: Forwardpris 2020, Montel.no, Nettleie: nve.no, avgifter: Statsbudsjettet og THEMA (estimert elsertifikatpris 2020) </a:t>
            </a:r>
            <a:endParaRPr lang="nb-NO" sz="1050" dirty="0">
              <a:solidFill>
                <a:schemeClr val="tx2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35F79E1-AF60-4886-A626-BA6309F7257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8535" y="3940971"/>
            <a:ext cx="557390" cy="66012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562A1B6-80B2-45FE-9913-59B99DA0055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69944" y="1068080"/>
            <a:ext cx="488156" cy="580406"/>
          </a:xfrm>
          <a:prstGeom prst="rect">
            <a:avLst/>
          </a:prstGeom>
        </p:spPr>
      </p:pic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FCC11D71-D104-4091-B85B-4382487B45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5179364"/>
              </p:ext>
            </p:extLst>
          </p:nvPr>
        </p:nvGraphicFramePr>
        <p:xfrm>
          <a:off x="664712" y="155693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886060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90EFF2-CA72-447E-A4BB-49C241D136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32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8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163D5F-78B5-4AAB-BF4B-FA46F2C0EE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914685" y="1122126"/>
            <a:ext cx="3048664" cy="3317296"/>
          </a:xfrm>
        </p:spPr>
        <p:txBody>
          <a:bodyPr anchor="ctr"/>
          <a:lstStyle/>
          <a:p>
            <a:r>
              <a:rPr lang="nb-NO" sz="1400" dirty="0"/>
              <a:t>Siden 2010 har vi opplevd en nedgang i kraftprisene med laveste punkt i 2015, før </a:t>
            </a:r>
            <a:r>
              <a:rPr lang="nb-NO" sz="1400"/>
              <a:t>de var </a:t>
            </a:r>
            <a:r>
              <a:rPr lang="nb-NO" sz="1400" dirty="0"/>
              <a:t>tilbake på samme nivå igjen i 2019</a:t>
            </a:r>
          </a:p>
          <a:p>
            <a:r>
              <a:rPr lang="nb-NO" sz="1400"/>
              <a:t>I 2020 ser kraftprisen ut til å bli svært lav, noe som gir en samlet pris lavere enn det vi har sett på nesten 20 år</a:t>
            </a:r>
            <a:endParaRPr lang="nb-NO" sz="1400" dirty="0"/>
          </a:p>
          <a:p>
            <a:r>
              <a:rPr lang="nb-NO" sz="1400" dirty="0"/>
              <a:t>Mellom 2010-2015 økte elavgiften med 2.9 øre/kWh mens økningen mellom 2015-2019 var på 1.93 øre/kWh</a:t>
            </a:r>
            <a:br>
              <a:rPr lang="nb-NO" sz="1400" dirty="0"/>
            </a:br>
            <a:endParaRPr lang="en-US" sz="140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253481" y="1134112"/>
            <a:ext cx="5661204" cy="3305310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 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53588" y="1196382"/>
            <a:ext cx="5894331" cy="466794"/>
          </a:xfrm>
        </p:spPr>
        <p:txBody>
          <a:bodyPr/>
          <a:lstStyle/>
          <a:p>
            <a:r>
              <a:rPr lang="nb-NO" sz="1000" i="1" dirty="0">
                <a:solidFill>
                  <a:schemeClr val="tx2"/>
                </a:solidFill>
              </a:rPr>
              <a:t>Utvikling i sluttbrukerprisen fordelt på komponenter i løpende priser og KPI-justert sluttbrukerpris i 2019 kr</a:t>
            </a:r>
            <a:r>
              <a:rPr lang="nb-NO" sz="1000" i="1">
                <a:solidFill>
                  <a:schemeClr val="tx2"/>
                </a:solidFill>
              </a:rPr>
              <a:t>. 1993-2020. </a:t>
            </a:r>
            <a:r>
              <a:rPr lang="nb-NO" sz="1000" i="1" dirty="0">
                <a:solidFill>
                  <a:schemeClr val="tx2"/>
                </a:solidFill>
              </a:rPr>
              <a:t>øre/kWh</a:t>
            </a:r>
            <a:endParaRPr lang="en-US" sz="1000" i="1" dirty="0">
              <a:solidFill>
                <a:schemeClr val="tx2"/>
              </a:solidFill>
            </a:endParaRPr>
          </a:p>
          <a:p>
            <a:endParaRPr lang="en-US" sz="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480" y="204593"/>
            <a:ext cx="8608369" cy="738664"/>
          </a:xfrm>
        </p:spPr>
        <p:txBody>
          <a:bodyPr/>
          <a:lstStyle/>
          <a:p>
            <a:r>
              <a:rPr lang="nb-NO" sz="2400"/>
              <a:t>Årlige variasjoner i kraftpris etter 2003, og noe høyere kraftpris, avgifter og nettleie enn før 2000</a:t>
            </a:r>
            <a:endParaRPr lang="en-US" sz="240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443891" y="4755535"/>
            <a:ext cx="8376013" cy="328305"/>
          </a:xfrm>
        </p:spPr>
        <p:txBody>
          <a:bodyPr/>
          <a:lstStyle/>
          <a:p>
            <a:r>
              <a:rPr lang="nb-NO" spc="3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Kilde: Energimeldingen (2016), SSB, Statsbudsjettet 2019, 2002, 2000, Los</a:t>
            </a:r>
            <a:r>
              <a:rPr lang="nb-NO" spc="3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, Montel, Skatteetaten</a:t>
            </a:r>
            <a:endParaRPr lang="en-US" spc="30" dirty="0">
              <a:solidFill>
                <a:srgbClr val="40404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67BFA41-F1F6-46DC-B414-8AA87D913D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9266916"/>
              </p:ext>
            </p:extLst>
          </p:nvPr>
        </p:nvGraphicFramePr>
        <p:xfrm>
          <a:off x="-158574" y="1604453"/>
          <a:ext cx="6049190" cy="2924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24056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49e5f4cb-71ea-4dbe-8ca6-481b167f9278"/>
  <p:tag name="THINKCELLPRESENTATIONDONOTDELETE" val="&lt;?xml version=&quot;1.0&quot; encoding=&quot;UTF-16&quot; standalone=&quot;yes&quot;?&gt;&lt;root reqver=&quot;25060&quot;&gt;&lt;version val=&quot;282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iVXoWjlF4Eo3xSHKB2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JPeskv9.HvAr59hJCg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.5rWYHRzlBW8qi.30Y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eFH3a0zWjO9vaytGS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.vRppQ6uQ0nqK61JfU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0LUhe5lA02Wq5vM8L_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pBzEZiNrQNVqi5iyFh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deFH3a0zWjO9vaytGS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iLg44ETImyg6aeYzIz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Rob283zng.zu2NcW8B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O6962PTaGFeNUYhR.m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OkXXEUr5t5JY5Fce3Wf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bJcQoJTK67zhhw7Ckw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LCELmT8OOTFPOjDpn9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MSfztbQkC4RYl_XN0b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.0ECexkdwtF9afPfBb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T7XgD2r0JbHKgi154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uLscXTDMMk5ckUhzFl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fAkGhXIIv5m0LHnVGa3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ax8OSjPwe1s0ribDVN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aVxAMEcK.GWVMQG5Nr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wqlni583VSILyAl4mP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Zmz4eNzkITT1k8N2JX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xrDJ7QQE36jeNcVKit5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yC0t3orAtxWwyI5E3X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sSJcLIf7NwIS_W7LaM4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QyiZM20MZJubTqMq.j7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1"/>
  <p:tag name="EE4P_MAPWIZARD" val="Finnmark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1"/>
  <p:tag name="EE4P_MAPWIZARD" val="Nordlan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1"/>
  <p:tag name="EE4P_MAPWIZARD" val="Trom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1"/>
  <p:tag name="EE4P_MAPWIZARD" val="Møre og Romsda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1"/>
  <p:tag name="EE4P_MAPWIZARD" val="Sør-Trøndel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A"/>
  <p:tag name="EE4P_MAPWIZARD_HEADINGS" val="Admin 1"/>
  <p:tag name="EE4P_MAPWIZARD" val="Aust-Agd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O"/>
  <p:tag name="EE4P_MAPWIZARD_HEADINGS" val="Admin 1"/>
  <p:tag name="EE4P_MAPWIZARD" val="Hordalan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1"/>
  <p:tag name="EE4P_MAPWIZARD" val="Rogalan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F"/>
  <p:tag name="EE4P_MAPWIZARD_HEADINGS" val="Admin 1"/>
  <p:tag name="EE4P_MAPWIZARD" val="Sogn og Fjorda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FiN1M3KO3WndtwQOMKq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1"/>
  <p:tag name="EE4P_MAPWIZARD" val="Vest-Agd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K"/>
  <p:tag name="EE4P_MAPWIZARD_HEADINGS" val="Admin 1"/>
  <p:tag name="EE4P_MAPWIZARD" val="Akershu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U"/>
  <p:tag name="EE4P_MAPWIZARD_HEADINGS" val="Admin 1"/>
  <p:tag name="EE4P_MAPWIZARD" val="Buskeru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E"/>
  <p:tag name="EE4P_MAPWIZARD_HEADINGS" val="Admin 1"/>
  <p:tag name="EE4P_MAPWIZARD" val="Hedmark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P"/>
  <p:tag name="EE4P_MAPWIZARD_HEADINGS" val="Admin 1"/>
  <p:tag name="EE4P_MAPWIZARD" val="Opplan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S"/>
  <p:tag name="EE4P_MAPWIZARD_HEADINGS" val="Admin 1"/>
  <p:tag name="EE4P_MAPWIZARD" val="Osl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E"/>
  <p:tag name="EE4P_MAPWIZARD_HEADINGS" val="Admin 1"/>
  <p:tag name="EE4P_MAPWIZARD" val="Telemark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F"/>
  <p:tag name="EE4P_MAPWIZARD_HEADINGS" val="Admin 1"/>
  <p:tag name="EE4P_MAPWIZARD" val="Vestf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F"/>
  <p:tag name="EE4P_MAPWIZARD_HEADINGS" val="Admin 1"/>
  <p:tag name="EE4P_MAPWIZARD" val="Østf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T"/>
  <p:tag name="EE4P_MAPWIZARD_HEADINGS" val="Admin 1"/>
  <p:tag name="EE4P_MAPWIZARD" val="Nord-Trøndel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esIqenoYWHlh2Aayy2_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0zLzC0unOz_3pZZATR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Ux6wVBd8HAzvOapEZD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n.LPD4ON60yAs1n3pW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pdOqgVfLdgBnlSzFP0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FiN1M3KO3WndtwQOMK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03E5B"/>
      </a:dk2>
      <a:lt2>
        <a:srgbClr val="00A0CD"/>
      </a:lt2>
      <a:accent1>
        <a:srgbClr val="003E5B"/>
      </a:accent1>
      <a:accent2>
        <a:srgbClr val="00A0CD"/>
      </a:accent2>
      <a:accent3>
        <a:srgbClr val="71A110"/>
      </a:accent3>
      <a:accent4>
        <a:srgbClr val="4F6C7A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Egendefinert 7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ergi Norge PP-mal NOR.potx" id="{4AE0E3A2-0A1D-4129-BB40-F3B309B33EAF}" vid="{D7CFE558-E2CE-4360-9FC3-D116570ED79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F4C07CE04A16438AD776A82A53397E" ma:contentTypeVersion="15" ma:contentTypeDescription="Create a new document." ma:contentTypeScope="" ma:versionID="ccf1afcd73e2a774f4297df9a56df633">
  <xsd:schema xmlns:xsd="http://www.w3.org/2001/XMLSchema" xmlns:xs="http://www.w3.org/2001/XMLSchema" xmlns:p="http://schemas.microsoft.com/office/2006/metadata/properties" xmlns:ns3="62ace71d-a098-40c6-8297-0808675e6cd8" xmlns:ns4="57e9622e-5672-406a-9cb5-84a2e110edc4" targetNamespace="http://schemas.microsoft.com/office/2006/metadata/properties" ma:root="true" ma:fieldsID="4550b98c4a71d1c8b21bb73c0abe67d4" ns3:_="" ns4:_="">
    <xsd:import namespace="62ace71d-a098-40c6-8297-0808675e6cd8"/>
    <xsd:import namespace="57e9622e-5672-406a-9cb5-84a2e110edc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ace71d-a098-40c6-8297-0808675e6c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e9622e-5672-406a-9cb5-84a2e110edc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9119b49b-2cc3-444e-b755-8692f4554da6" ContentTypeId="0x0101" PreviousValue="false"/>
</file>

<file path=customXml/itemProps1.xml><?xml version="1.0" encoding="utf-8"?>
<ds:datastoreItem xmlns:ds="http://schemas.openxmlformats.org/officeDocument/2006/customXml" ds:itemID="{EF8DE457-AA7C-46E8-A377-98E027AFA222}">
  <ds:schemaRefs>
    <ds:schemaRef ds:uri="http://purl.org/dc/elements/1.1/"/>
    <ds:schemaRef ds:uri="http://schemas.microsoft.com/office/2006/metadata/properties"/>
    <ds:schemaRef ds:uri="57e9622e-5672-406a-9cb5-84a2e110edc4"/>
    <ds:schemaRef ds:uri="http://purl.org/dc/terms/"/>
    <ds:schemaRef ds:uri="http://schemas.openxmlformats.org/package/2006/metadata/core-properties"/>
    <ds:schemaRef ds:uri="62ace71d-a098-40c6-8297-0808675e6cd8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D198297-AF9A-4231-8D64-2C3952A907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E8E4BC-5B96-4AFC-BFE4-70A4C1808E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ace71d-a098-40c6-8297-0808675e6cd8"/>
    <ds:schemaRef ds:uri="57e9622e-5672-406a-9cb5-84a2e110ed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CDCB213-3F89-4FD3-8643-29E2868C484B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ergi Norge PP-mal NOR</Template>
  <TotalTime>17516</TotalTime>
  <Words>2967</Words>
  <Application>Microsoft Office PowerPoint</Application>
  <PresentationFormat>Egendefinert</PresentationFormat>
  <Paragraphs>468</Paragraphs>
  <Slides>34</Slides>
  <Notes>19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4</vt:i4>
      </vt:variant>
    </vt:vector>
  </HeadingPairs>
  <TitlesOfParts>
    <vt:vector size="42" baseType="lpstr">
      <vt:lpstr>Arial</vt:lpstr>
      <vt:lpstr>Calibri</vt:lpstr>
      <vt:lpstr>Cambria</vt:lpstr>
      <vt:lpstr>Segoe UI</vt:lpstr>
      <vt:lpstr>Segoe UI Light</vt:lpstr>
      <vt:lpstr>Wingdings</vt:lpstr>
      <vt:lpstr>Office-tema</vt:lpstr>
      <vt:lpstr>think-cell Slide</vt:lpstr>
      <vt:lpstr>Hva er egentlig nettleie og hva påvirker den?</vt:lpstr>
      <vt:lpstr>Agenda</vt:lpstr>
      <vt:lpstr>Strømnettet binder sammen produksjon og forbruk</vt:lpstr>
      <vt:lpstr>Dekarbonisering er lik elektrifisering</vt:lpstr>
      <vt:lpstr>Strømnettet skal gi sikker strømforsyning, bidra til det grønne skiftet og er viktig for all verdiskaping. </vt:lpstr>
      <vt:lpstr>Agenda</vt:lpstr>
      <vt:lpstr>Nettleie er én av tre komponenter i strømregningen</vt:lpstr>
      <vt:lpstr>Nettleien utgjør i snitt rundt 1/3 av strømregningen - regneeksempel for en husholdning med forbruk på 20 000 KWh</vt:lpstr>
      <vt:lpstr>Årlige variasjoner i kraftpris etter 2003, og noe høyere kraftpris, avgifter og nettleie enn før 2000</vt:lpstr>
      <vt:lpstr>De fleste offentlige avgifter legges på nettleien</vt:lpstr>
      <vt:lpstr>Avgiftsendringer virker inn på nettleien (elavgift, energifondavgift, merverdiavgift) (nominelle priser)</vt:lpstr>
      <vt:lpstr>Samlet strømpris varierer mellom fylker på grunn av ulik nettleie og avgifter</vt:lpstr>
      <vt:lpstr>Agenda</vt:lpstr>
      <vt:lpstr>Elektrifiseringen vil trolig ikke øke nettleien på lang sikt</vt:lpstr>
      <vt:lpstr>Nettet er et naturlig monopol der kostnadene dekkes av kundene</vt:lpstr>
      <vt:lpstr>Vi kan sammenligne strømnettet med veinettet</vt:lpstr>
      <vt:lpstr>For flere tjenester betaler vi både for tilgang og forbruk</vt:lpstr>
      <vt:lpstr>Nettleien for husholdninger består ofte av to ledd</vt:lpstr>
      <vt:lpstr>Nettleien for næringskunder består ofte av tre ledd</vt:lpstr>
      <vt:lpstr>Produksjon og innmatingstariff til s-nett</vt:lpstr>
      <vt:lpstr>Elektrifisering gjør at mange trenger mer strøm</vt:lpstr>
      <vt:lpstr>For å unngå at nettkostnadene blir unødvendig høye, vil utforming av nettleien endres framover</vt:lpstr>
      <vt:lpstr>Agenda</vt:lpstr>
      <vt:lpstr>Nettleien for husholdninger varierer mellom fylkene</vt:lpstr>
      <vt:lpstr>Nettleien for næringskunder varierer mellom fylkene</vt:lpstr>
      <vt:lpstr>Myndighetene legger rammene for hva nettselskapene kan tjene og størrelse på nettleie </vt:lpstr>
      <vt:lpstr>Krevende klima og topografi øker kostnadene ved å bygge og drive nett</vt:lpstr>
      <vt:lpstr>Spredt bosetting krever mer nett, kostnaden per kunde øker med få kunder</vt:lpstr>
      <vt:lpstr>Effektiv nettdrift bidrar til lavere nettleie OG høyere avkastning til nettselskapet</vt:lpstr>
      <vt:lpstr>Kunder i lokalnett dekker også sin andel av kostnader i overliggende nett</vt:lpstr>
      <vt:lpstr>Kommunene fastsetter eiendomsskatt som legges på nettleien</vt:lpstr>
      <vt:lpstr>Eiendomsskatten utgjør i gjennomsnitt 1,9 prosent av nettleien i lokalt distribusjonsnett</vt:lpstr>
      <vt:lpstr>Et eventuelt overskudd i nettselskapene vil føres tilbake til innbyggern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va er egentlig nettleie og hvorfor øker den?</dc:title>
  <dc:creator>Linn Tabita Milde</dc:creator>
  <cp:lastModifiedBy>Vassdokken Lene</cp:lastModifiedBy>
  <cp:revision>215</cp:revision>
  <dcterms:created xsi:type="dcterms:W3CDTF">2019-10-30T11:15:27Z</dcterms:created>
  <dcterms:modified xsi:type="dcterms:W3CDTF">2020-10-26T13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F4C07CE04A16438AD776A82A53397E</vt:lpwstr>
  </property>
</Properties>
</file>